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slides/slide11.xml" ContentType="application/vnd.openxmlformats-officedocument.presentationml.slide+xml"/>
  <Override PartName="/ppt/diagrams/data1.xml" ContentType="application/vnd.openxmlformats-officedocument.drawingml.diagramData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presentation.xml" ContentType="application/vnd.openxmlformats-officedocument.presentationml.presentation.main+xml"/>
  <Override PartName="/ppt/slides/slide10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8.xml" ContentType="application/vnd.openxmlformats-officedocument.presentationml.slide+xml"/>
  <Override PartName="/ppt/slides/slide1.xml" ContentType="application/vnd.openxmlformats-officedocument.presentationml.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slides/slide6.xml" ContentType="application/vnd.openxmlformats-officedocument.presentationml.slide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notesSlides/notesSlide8.xml" ContentType="application/vnd.openxmlformats-officedocument.presentationml.notesSlide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notesSlides/notesSlide7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3.xml" ContentType="application/vnd.openxmlformats-officedocument.presentationml.notesSlide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109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217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0.xml" ContentType="application/vnd.openxmlformats-officedocument.theme+xml"/>
  <Override PartName="/ppt/charts/chart1.xml" ContentType="application/vnd.openxmlformats-officedocument.drawingml.chart+xml"/>
  <Override PartName="/ppt/notesMasters/notesMaster1.xml" ContentType="application/vnd.openxmlformats-officedocument.presentationml.notesMaster+xml"/>
  <Override PartName="/ppt/theme/theme9.xml" ContentType="application/vnd.openxmlformats-officedocument.theme+xml"/>
  <Override PartName="/ppt/theme/theme6.xml" ContentType="application/vnd.openxmlformats-officedocument.theme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charts/chart2.xml" ContentType="application/vnd.openxmlformats-officedocument.drawingml.chart+xml"/>
  <Override PartName="/ppt/theme/theme1.xml" ContentType="application/vnd.openxmlformats-officedocument.theme+xml"/>
  <Override PartName="/ppt/theme/theme7.xml" ContentType="application/vnd.openxmlformats-officedocument.theme+xml"/>
  <Override PartName="/ppt/theme/theme4.xml" ContentType="application/vnd.openxmlformats-officedocument.theme+xml"/>
  <Override PartName="/ppt/theme/theme8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5.xml" ContentType="application/vnd.openxmlformats-officedocument.theme+xml"/>
  <Override PartName="/ppt/charts/chart3.xml" ContentType="application/vnd.openxmlformats-officedocument.drawingml.chart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26.xml" ContentType="application/vnd.openxmlformats-officedocument.presentationml.tags+xml"/>
  <Override PartName="/ppt/tags/tag255.xml" ContentType="application/vnd.openxmlformats-officedocument.presentationml.tags+xml"/>
  <Override PartName="/ppt/tags/tag128.xml" ContentType="application/vnd.openxmlformats-officedocument.presentationml.tags+xml"/>
  <Override PartName="/ppt/tags/tag125.xml" ContentType="application/vnd.openxmlformats-officedocument.presentationml.tags+xml"/>
  <Override PartName="/ppt/tags/tag127.xml" ContentType="application/vnd.openxmlformats-officedocument.presentationml.tags+xml"/>
  <Override PartName="/ppt/tags/tag129.xml" ContentType="application/vnd.openxmlformats-officedocument.presentationml.tags+xml"/>
  <Override PartName="/ppt/tags/tag123.xml" ContentType="application/vnd.openxmlformats-officedocument.presentationml.tags+xml"/>
  <Override PartName="/ppt/tags/tag122.xml" ContentType="application/vnd.openxmlformats-officedocument.presentationml.tags+xml"/>
  <Override PartName="/ppt/tags/tag121.xml" ContentType="application/vnd.openxmlformats-officedocument.presentationml.tags+xml"/>
  <Override PartName="/ppt/tags/tag120.xml" ContentType="application/vnd.openxmlformats-officedocument.presentationml.tags+xml"/>
  <Override PartName="/ppt/tags/tag124.xml" ContentType="application/vnd.openxmlformats-officedocument.presentationml.tags+xml"/>
  <Override PartName="/ppt/tags/tag133.xml" ContentType="application/vnd.openxmlformats-officedocument.presentationml.tags+xml"/>
  <Override PartName="/ppt/tags/tag131.xml" ContentType="application/vnd.openxmlformats-officedocument.presentationml.tags+xml"/>
  <Override PartName="/ppt/tags/tag140.xml" ContentType="application/vnd.openxmlformats-officedocument.presentationml.tags+xml"/>
  <Override PartName="/ppt/tags/tag139.xml" ContentType="application/vnd.openxmlformats-officedocument.presentationml.tags+xml"/>
  <Override PartName="/ppt/tags/tag138.xml" ContentType="application/vnd.openxmlformats-officedocument.presentationml.tags+xml"/>
  <Override PartName="/ppt/tags/tag137.xml" ContentType="application/vnd.openxmlformats-officedocument.presentationml.tags+xml"/>
  <Override PartName="/ppt/tags/tag136.xml" ContentType="application/vnd.openxmlformats-officedocument.presentationml.tags+xml"/>
  <Override PartName="/ppt/tags/tag135.xml" ContentType="application/vnd.openxmlformats-officedocument.presentationml.tags+xml"/>
  <Override PartName="/ppt/tags/tag134.xml" ContentType="application/vnd.openxmlformats-officedocument.presentationml.tags+xml"/>
  <Override PartName="/ppt/tags/tag119.xml" ContentType="application/vnd.openxmlformats-officedocument.presentationml.tags+xml"/>
  <Override PartName="/ppt/tags/tag132.xml" ContentType="application/vnd.openxmlformats-officedocument.presentationml.tags+xml"/>
  <Override PartName="/ppt/tags/tag130.xml" ContentType="application/vnd.openxmlformats-officedocument.presentationml.tags+xml"/>
  <Override PartName="/ppt/tags/tag115.xml" ContentType="application/vnd.openxmlformats-officedocument.presentationml.tags+xml"/>
  <Override PartName="/ppt/tags/tag117.xml" ContentType="application/vnd.openxmlformats-officedocument.presentationml.tags+xml"/>
  <Override PartName="/ppt/tags/tag104.xml" ContentType="application/vnd.openxmlformats-officedocument.presentationml.tags+xml"/>
  <Override PartName="/ppt/tags/tag103.xml" ContentType="application/vnd.openxmlformats-officedocument.presentationml.tags+xml"/>
  <Override PartName="/ppt/tags/tag102.xml" ContentType="application/vnd.openxmlformats-officedocument.presentationml.tags+xml"/>
  <Override PartName="/ppt/tags/tag101.xml" ContentType="application/vnd.openxmlformats-officedocument.presentationml.tags+xml"/>
  <Override PartName="/ppt/tags/tag100.xml" ContentType="application/vnd.openxmlformats-officedocument.presentationml.tags+xml"/>
  <Override PartName="/ppt/tags/tag99.xml" ContentType="application/vnd.openxmlformats-officedocument.presentationml.tags+xml"/>
  <Override PartName="/ppt/tags/tag98.xml" ContentType="application/vnd.openxmlformats-officedocument.presentationml.tags+xml"/>
  <Override PartName="/ppt/tags/tag97.xml" ContentType="application/vnd.openxmlformats-officedocument.presentationml.tags+xml"/>
  <Override PartName="/ppt/tags/tag96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16.xml" ContentType="application/vnd.openxmlformats-officedocument.presentationml.tags+xml"/>
  <Override PartName="/ppt/tags/tag141.xml" ContentType="application/vnd.openxmlformats-officedocument.presentationml.tags+xml"/>
  <Override PartName="/ppt/tags/tag114.xml" ContentType="application/vnd.openxmlformats-officedocument.presentationml.tags+xml"/>
  <Override PartName="/ppt/tags/tag113.xml" ContentType="application/vnd.openxmlformats-officedocument.presentationml.tags+xml"/>
  <Override PartName="/ppt/tags/tag112.xml" ContentType="application/vnd.openxmlformats-officedocument.presentationml.tags+xml"/>
  <Override PartName="/ppt/tags/tag111.xml" ContentType="application/vnd.openxmlformats-officedocument.presentationml.tags+xml"/>
  <Override PartName="/ppt/tags/tag110.xml" ContentType="application/vnd.openxmlformats-officedocument.presentationml.tags+xml"/>
  <Override PartName="/ppt/tags/tag109.xml" ContentType="application/vnd.openxmlformats-officedocument.presentationml.tags+xml"/>
  <Override PartName="/ppt/tags/tag108.xml" ContentType="application/vnd.openxmlformats-officedocument.presentationml.tags+xml"/>
  <Override PartName="/ppt/tags/tag118.xml" ContentType="application/vnd.openxmlformats-officedocument.presentationml.tags+xml"/>
  <Override PartName="/ppt/tags/tag144.xml" ContentType="application/vnd.openxmlformats-officedocument.presentationml.tags+xml"/>
  <Override PartName="/ppt/tags/tag143.xml" ContentType="application/vnd.openxmlformats-officedocument.presentationml.tags+xml"/>
  <Override PartName="/ppt/tags/tag175.xml" ContentType="application/vnd.openxmlformats-officedocument.presentationml.tags+xml"/>
  <Override PartName="/ppt/tags/tag174.xml" ContentType="application/vnd.openxmlformats-officedocument.presentationml.tags+xml"/>
  <Override PartName="/ppt/tags/tag173.xml" ContentType="application/vnd.openxmlformats-officedocument.presentationml.tags+xml"/>
  <Override PartName="/ppt/tags/tag172.xml" ContentType="application/vnd.openxmlformats-officedocument.presentationml.tags+xml"/>
  <Override PartName="/ppt/tags/tag171.xml" ContentType="application/vnd.openxmlformats-officedocument.presentationml.tags+xml"/>
  <Override PartName="/ppt/tags/tag170.xml" ContentType="application/vnd.openxmlformats-officedocument.presentationml.tags+xml"/>
  <Override PartName="/ppt/tags/tag169.xml" ContentType="application/vnd.openxmlformats-officedocument.presentationml.tags+xml"/>
  <Override PartName="/ppt/tags/tag168.xml" ContentType="application/vnd.openxmlformats-officedocument.presentationml.tags+xml"/>
  <Override PartName="/ppt/tags/tag167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87.xml" ContentType="application/vnd.openxmlformats-officedocument.presentationml.tags+xml"/>
  <Override PartName="/ppt/tags/tag186.xml" ContentType="application/vnd.openxmlformats-officedocument.presentationml.tags+xml"/>
  <Override PartName="/ppt/tags/tag185.xml" ContentType="application/vnd.openxmlformats-officedocument.presentationml.tags+xml"/>
  <Override PartName="/ppt/tags/tag184.xml" ContentType="application/vnd.openxmlformats-officedocument.presentationml.tags+xml"/>
  <Override PartName="/ppt/tags/tag183.xml" ContentType="application/vnd.openxmlformats-officedocument.presentationml.tags+xml"/>
  <Override PartName="/ppt/tags/tag182.xml" ContentType="application/vnd.openxmlformats-officedocument.presentationml.tags+xml"/>
  <Override PartName="/ppt/tags/tag181.xml" ContentType="application/vnd.openxmlformats-officedocument.presentationml.tags+xml"/>
  <Override PartName="/ppt/tags/tag180.xml" ContentType="application/vnd.openxmlformats-officedocument.presentationml.tags+xml"/>
  <Override PartName="/ppt/tags/tag179.xml" ContentType="application/vnd.openxmlformats-officedocument.presentationml.tags+xml"/>
  <Override PartName="/ppt/tags/tag166.xml" ContentType="application/vnd.openxmlformats-officedocument.presentationml.tags+xml"/>
  <Override PartName="/ppt/tags/tag165.xml" ContentType="application/vnd.openxmlformats-officedocument.presentationml.tags+xml"/>
  <Override PartName="/ppt/tags/tag164.xml" ContentType="application/vnd.openxmlformats-officedocument.presentationml.tags+xml"/>
  <Override PartName="/ppt/tags/tag152.xml" ContentType="application/vnd.openxmlformats-officedocument.presentationml.tags+xml"/>
  <Override PartName="/ppt/tags/tag151.xml" ContentType="application/vnd.openxmlformats-officedocument.presentationml.tags+xml"/>
  <Override PartName="/ppt/tags/tag150.xml" ContentType="application/vnd.openxmlformats-officedocument.presentationml.tags+xml"/>
  <Override PartName="/ppt/tags/tag149.xml" ContentType="application/vnd.openxmlformats-officedocument.presentationml.tags+xml"/>
  <Override PartName="/ppt/tags/tag148.xml" ContentType="application/vnd.openxmlformats-officedocument.presentationml.tags+xml"/>
  <Override PartName="/ppt/tags/tag147.xml" ContentType="application/vnd.openxmlformats-officedocument.presentationml.tags+xml"/>
  <Override PartName="/ppt/tags/tag146.xml" ContentType="application/vnd.openxmlformats-officedocument.presentationml.tags+xml"/>
  <Override PartName="/ppt/tags/tag145.xml" ContentType="application/vnd.openxmlformats-officedocument.presentationml.tags+xml"/>
  <Override PartName="/ppt/tags/tag95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63.xml" ContentType="application/vnd.openxmlformats-officedocument.presentationml.tags+xml"/>
  <Override PartName="/ppt/tags/tag162.xml" ContentType="application/vnd.openxmlformats-officedocument.presentationml.tags+xml"/>
  <Override PartName="/ppt/tags/tag161.xml" ContentType="application/vnd.openxmlformats-officedocument.presentationml.tags+xml"/>
  <Override PartName="/ppt/tags/tag160.xml" ContentType="application/vnd.openxmlformats-officedocument.presentationml.tags+xml"/>
  <Override PartName="/ppt/tags/tag159.xml" ContentType="application/vnd.openxmlformats-officedocument.presentationml.tags+xml"/>
  <Override PartName="/ppt/tags/tag158.xml" ContentType="application/vnd.openxmlformats-officedocument.presentationml.tags+xml"/>
  <Override PartName="/ppt/tags/tag157.xml" ContentType="application/vnd.openxmlformats-officedocument.presentationml.tags+xml"/>
  <Override PartName="/ppt/tags/tag156.xml" ContentType="application/vnd.openxmlformats-officedocument.presentationml.tags+xml"/>
  <Override PartName="/ppt/tags/tag142.xml" ContentType="application/vnd.openxmlformats-officedocument.presentationml.tags+xml"/>
  <Override PartName="/ppt/tags/tag91.xml" ContentType="application/vnd.openxmlformats-officedocument.presentationml.tags+xml"/>
  <Override PartName="/ppt/tags/tag93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80.xml" ContentType="application/vnd.openxmlformats-officedocument.presentationml.tags+xml"/>
  <Override PartName="/ppt/tags/tag79.xml" ContentType="application/vnd.openxmlformats-officedocument.presentationml.tags+xml"/>
  <Override PartName="/ppt/tags/tag78.xml" ContentType="application/vnd.openxmlformats-officedocument.presentationml.tags+xml"/>
  <Override PartName="/ppt/tags/tag77.xml" ContentType="application/vnd.openxmlformats-officedocument.presentationml.tags+xml"/>
  <Override PartName="/ppt/tags/tag76.xml" ContentType="application/vnd.openxmlformats-officedocument.presentationml.tags+xml"/>
  <Override PartName="/ppt/tags/tag75.xml" ContentType="application/vnd.openxmlformats-officedocument.presentationml.tags+xml"/>
  <Override PartName="/ppt/tags/tag74.xml" ContentType="application/vnd.openxmlformats-officedocument.presentationml.tags+xml"/>
  <Override PartName="/ppt/tags/tag73.xml" ContentType="application/vnd.openxmlformats-officedocument.presentationml.tags+xml"/>
  <Override PartName="/ppt/tags/tag72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92.xml" ContentType="application/vnd.openxmlformats-officedocument.presentationml.tags+xml"/>
  <Override PartName="/ppt/tags/tag188.xml" ContentType="application/vnd.openxmlformats-officedocument.presentationml.tags+xml"/>
  <Override PartName="/ppt/tags/tag90.xml" ContentType="application/vnd.openxmlformats-officedocument.presentationml.tags+xml"/>
  <Override PartName="/ppt/tags/tag89.xml" ContentType="application/vnd.openxmlformats-officedocument.presentationml.tags+xml"/>
  <Override PartName="/ppt/tags/tag88.xml" ContentType="application/vnd.openxmlformats-officedocument.presentationml.tags+xml"/>
  <Override PartName="/ppt/tags/tag87.xml" ContentType="application/vnd.openxmlformats-officedocument.presentationml.tags+xml"/>
  <Override PartName="/ppt/tags/tag86.xml" ContentType="application/vnd.openxmlformats-officedocument.presentationml.tags+xml"/>
  <Override PartName="/ppt/tags/tag85.xml" ContentType="application/vnd.openxmlformats-officedocument.presentationml.tags+xml"/>
  <Override PartName="/ppt/tags/tag84.xml" ContentType="application/vnd.openxmlformats-officedocument.presentationml.tags+xml"/>
  <Override PartName="/ppt/tags/tag71.xml" ContentType="application/vnd.openxmlformats-officedocument.presentationml.tags+xml"/>
  <Override PartName="/ppt/tags/tag70.xml" ContentType="application/vnd.openxmlformats-officedocument.presentationml.tags+xml"/>
  <Override PartName="/ppt/tags/tag69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51.xml" ContentType="application/vnd.openxmlformats-officedocument.presentationml.tags+xml"/>
  <Override PartName="/ppt/tags/tag50.xml" ContentType="application/vnd.openxmlformats-officedocument.presentationml.tags+xml"/>
  <Override PartName="/ppt/tags/tag49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tags/tag63.xml" ContentType="application/vnd.openxmlformats-officedocument.presentationml.tags+xml"/>
  <Override PartName="/ppt/tags/tag62.xml" ContentType="application/vnd.openxmlformats-officedocument.presentationml.tags+xml"/>
  <Override PartName="/ppt/tags/tag61.xml" ContentType="application/vnd.openxmlformats-officedocument.presentationml.tags+xml"/>
  <Override PartName="/ppt/tags/tag94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319.xml" ContentType="application/vnd.openxmlformats-officedocument.presentationml.tags+xml"/>
  <Override PartName="/ppt/tags/tag318.xml" ContentType="application/vnd.openxmlformats-officedocument.presentationml.tags+xml"/>
  <Override PartName="/ppt/tags/tag317.xml" ContentType="application/vnd.openxmlformats-officedocument.presentationml.tags+xml"/>
  <Override PartName="/ppt/tags/tag316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15.xml" ContentType="application/vnd.openxmlformats-officedocument.presentationml.tags+xml"/>
  <Override PartName="/ppt/tags/tag314.xml" ContentType="application/vnd.openxmlformats-officedocument.presentationml.tags+xml"/>
  <Override PartName="/ppt/tags/tag31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40.xml" ContentType="application/vnd.openxmlformats-officedocument.presentationml.tags+xml"/>
  <Override PartName="/ppt/tags/tag339.xml" ContentType="application/vnd.openxmlformats-officedocument.presentationml.tags+xml"/>
  <Override PartName="/ppt/tags/tag33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03.xml" ContentType="application/vnd.openxmlformats-officedocument.presentationml.tags+xml"/>
  <Override PartName="/ppt/tags/tag302.xml" ContentType="application/vnd.openxmlformats-officedocument.presentationml.tags+xml"/>
  <Override PartName="/ppt/tags/tag301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67.xml" ContentType="application/vnd.openxmlformats-officedocument.presentationml.tags+xml"/>
  <Override PartName="/ppt/tags/tag266.xml" ContentType="application/vnd.openxmlformats-officedocument.presentationml.tags+xml"/>
  <Override PartName="/ppt/tags/tag26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291.xml" ContentType="application/vnd.openxmlformats-officedocument.presentationml.tags+xml"/>
  <Override PartName="/ppt/tags/tag290.xml" ContentType="application/vnd.openxmlformats-officedocument.presentationml.tags+xml"/>
  <Override PartName="/ppt/tags/tag28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0.xml" ContentType="application/vnd.openxmlformats-officedocument.presentationml.tags+xml"/>
  <Override PartName="/ppt/tags/tag219.xml" ContentType="application/vnd.openxmlformats-officedocument.presentationml.tags+xml"/>
  <Override PartName="/ppt/tags/tag218.xml" ContentType="application/vnd.openxmlformats-officedocument.presentationml.tags+xml"/>
  <Override PartName="/ppt/tags/tag217.xml" ContentType="application/vnd.openxmlformats-officedocument.presentationml.tags+xml"/>
  <Override PartName="/ppt/tags/tag216.xml" ContentType="application/vnd.openxmlformats-officedocument.presentationml.tags+xml"/>
  <Override PartName="/ppt/tags/tag215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36.xml" ContentType="application/vnd.openxmlformats-officedocument.presentationml.tags+xml"/>
  <Override PartName="/ppt/tags/tag235.xml" ContentType="application/vnd.openxmlformats-officedocument.presentationml.tags+xml"/>
  <Override PartName="/ppt/tags/tag234.xml" ContentType="application/vnd.openxmlformats-officedocument.presentationml.tags+xml"/>
  <Override PartName="/ppt/tags/tag233.xml" ContentType="application/vnd.openxmlformats-officedocument.presentationml.tags+xml"/>
  <Override PartName="/ppt/tags/tag232.xml" ContentType="application/vnd.openxmlformats-officedocument.presentationml.tags+xml"/>
  <Override PartName="/ppt/tags/tag231.xml" ContentType="application/vnd.openxmlformats-officedocument.presentationml.tags+xml"/>
  <Override PartName="/ppt/tags/tag230.xml" ContentType="application/vnd.openxmlformats-officedocument.presentationml.tags+xml"/>
  <Override PartName="/ppt/tags/tag229.xml" ContentType="application/vnd.openxmlformats-officedocument.presentationml.tags+xml"/>
  <Override PartName="/ppt/tags/tag228.xml" ContentType="application/vnd.openxmlformats-officedocument.presentationml.tags+xml"/>
  <Override PartName="/ppt/tags/tag214.xml" ContentType="application/vnd.openxmlformats-officedocument.presentationml.tags+xml"/>
  <Override PartName="/ppt/tags/tag213.xml" ContentType="application/vnd.openxmlformats-officedocument.presentationml.tags+xml"/>
  <Override PartName="/ppt/tags/tag212.xml" ContentType="application/vnd.openxmlformats-officedocument.presentationml.tags+xml"/>
  <Override PartName="/ppt/tags/tag199.xml" ContentType="application/vnd.openxmlformats-officedocument.presentationml.tags+xml"/>
  <Override PartName="/ppt/tags/tag198.xml" ContentType="application/vnd.openxmlformats-officedocument.presentationml.tags+xml"/>
  <Override PartName="/ppt/tags/tag197.xml" ContentType="application/vnd.openxmlformats-officedocument.presentationml.tags+xml"/>
  <Override PartName="/ppt/tags/tag196.xml" ContentType="application/vnd.openxmlformats-officedocument.presentationml.tags+xml"/>
  <Override PartName="/ppt/tags/tag195.xml" ContentType="application/vnd.openxmlformats-officedocument.presentationml.tags+xml"/>
  <Override PartName="/ppt/tags/tag194.xml" ContentType="application/vnd.openxmlformats-officedocument.presentationml.tags+xml"/>
  <Override PartName="/ppt/tags/tag193.xml" ContentType="application/vnd.openxmlformats-officedocument.presentationml.tags+xml"/>
  <Override PartName="/ppt/tags/tag192.xml" ContentType="application/vnd.openxmlformats-officedocument.presentationml.tags+xml"/>
  <Override PartName="/ppt/tags/tag191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11.xml" ContentType="application/vnd.openxmlformats-officedocument.presentationml.tags+xml"/>
  <Override PartName="/ppt/tags/tag210.xml" ContentType="application/vnd.openxmlformats-officedocument.presentationml.tags+xml"/>
  <Override PartName="/ppt/tags/tag209.xml" ContentType="application/vnd.openxmlformats-officedocument.presentationml.tags+xml"/>
  <Override PartName="/ppt/tags/tag208.xml" ContentType="application/vnd.openxmlformats-officedocument.presentationml.tags+xml"/>
  <Override PartName="/ppt/tags/tag207.xml" ContentType="application/vnd.openxmlformats-officedocument.presentationml.tags+xml"/>
  <Override PartName="/ppt/tags/tag206.xml" ContentType="application/vnd.openxmlformats-officedocument.presentationml.tags+xml"/>
  <Override PartName="/ppt/tags/tag205.xml" ContentType="application/vnd.openxmlformats-officedocument.presentationml.tags+xml"/>
  <Override PartName="/ppt/tags/tag204.xml" ContentType="application/vnd.openxmlformats-officedocument.presentationml.tags+xml"/>
  <Override PartName="/ppt/tags/tag203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64.xml" ContentType="application/vnd.openxmlformats-officedocument.presentationml.tags+xml"/>
  <Override PartName="/ppt/tags/tag363.xml" ContentType="application/vnd.openxmlformats-officedocument.presentationml.tags+xml"/>
  <Override PartName="/ppt/tags/tag36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248.xml" ContentType="application/vnd.openxmlformats-officedocument.presentationml.tags+xml"/>
  <Override PartName="/ppt/tags/tag247.xml" ContentType="application/vnd.openxmlformats-officedocument.presentationml.tags+xml"/>
  <Override PartName="/ppt/tags/tag246.xml" ContentType="application/vnd.openxmlformats-officedocument.presentationml.tags+xml"/>
  <Override PartName="/ppt/tags/tag245.xml" ContentType="application/vnd.openxmlformats-officedocument.presentationml.tags+xml"/>
  <Override PartName="/ppt/tags/tag244.xml" ContentType="application/vnd.openxmlformats-officedocument.presentationml.tags+xml"/>
  <Override PartName="/ppt/tags/tag243.xml" ContentType="application/vnd.openxmlformats-officedocument.presentationml.tags+xml"/>
  <Override PartName="/ppt/tags/tag242.xml" ContentType="application/vnd.openxmlformats-officedocument.presentationml.tags+xml"/>
  <Override PartName="/ppt/tags/tag241.xml" ContentType="application/vnd.openxmlformats-officedocument.presentationml.tags+xml"/>
  <Override PartName="/ppt/tags/tag240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253.xml" ContentType="application/vnd.openxmlformats-officedocument.presentationml.tags+xml"/>
  <Override PartName="/ppt/tags/tag25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54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1"/>
    <p:sldMasterId id="2147484682" r:id="rId2"/>
    <p:sldMasterId id="2147484708" r:id="rId3"/>
    <p:sldMasterId id="2147484734" r:id="rId4"/>
    <p:sldMasterId id="2147484760" r:id="rId5"/>
    <p:sldMasterId id="2147484799" r:id="rId6"/>
    <p:sldMasterId id="2147484825" r:id="rId7"/>
    <p:sldMasterId id="2147484860" r:id="rId8"/>
    <p:sldMasterId id="2147485860" r:id="rId9"/>
  </p:sldMasterIdLst>
  <p:notesMasterIdLst>
    <p:notesMasterId r:id="rId23"/>
  </p:notesMasterIdLst>
  <p:sldIdLst>
    <p:sldId id="384" r:id="rId10"/>
    <p:sldId id="385" r:id="rId11"/>
    <p:sldId id="386" r:id="rId12"/>
    <p:sldId id="387" r:id="rId13"/>
    <p:sldId id="389" r:id="rId14"/>
    <p:sldId id="390" r:id="rId15"/>
    <p:sldId id="391" r:id="rId16"/>
    <p:sldId id="392" r:id="rId17"/>
    <p:sldId id="393" r:id="rId18"/>
    <p:sldId id="394" r:id="rId19"/>
    <p:sldId id="370" r:id="rId20"/>
    <p:sldId id="368" r:id="rId21"/>
    <p:sldId id="396" r:id="rId22"/>
  </p:sldIdLst>
  <p:sldSz cx="9906000" cy="6858000" type="A4"/>
  <p:notesSz cx="6858000" cy="9144000"/>
  <p:defaultTextStyle>
    <a:defPPr>
      <a:defRPr lang="de-DE"/>
    </a:defPPr>
    <a:lvl1pPr algn="ctr" rtl="0" fontAlgn="base">
      <a:spcBef>
        <a:spcPct val="5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5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5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5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5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C0EB"/>
    <a:srgbClr val="92BA14"/>
    <a:srgbClr val="B8D266"/>
    <a:srgbClr val="D9D9D9"/>
    <a:srgbClr val="E66397"/>
    <a:srgbClr val="A19BB8"/>
    <a:srgbClr val="665C8C"/>
    <a:srgbClr val="F99E00"/>
    <a:srgbClr val="009E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77" autoAdjust="0"/>
    <p:restoredTop sz="96714" autoAdjust="0"/>
  </p:normalViewPr>
  <p:slideViewPr>
    <p:cSldViewPr snapToGrid="0" snapToObjects="1">
      <p:cViewPr>
        <p:scale>
          <a:sx n="100" d="100"/>
          <a:sy n="100" d="100"/>
        </p:scale>
        <p:origin x="-845" y="-58"/>
      </p:cViewPr>
      <p:guideLst>
        <p:guide orient="horz" pos="2262"/>
        <p:guide orient="horz" pos="1218"/>
        <p:guide orient="horz" pos="1728"/>
        <p:guide orient="horz" pos="2820"/>
        <p:guide pos="3654"/>
        <p:guide pos="234"/>
        <p:guide pos="6012"/>
        <p:guide pos="166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notesMaster" Target="notesMasters/notesMaster1.xml"/><Relationship Id="rId28" Type="http://schemas.openxmlformats.org/officeDocument/2006/relationships/customXml" Target="../customXml/item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tableStyles" Target="tableStyles.xml"/><Relationship Id="rId30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902334616864997E-2"/>
          <c:y val="4.6283219409570427E-2"/>
          <c:w val="0.93086392240802185"/>
          <c:h val="0.8501074865641794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.7320</c:v>
                </c:pt>
              </c:strCache>
            </c:strRef>
          </c:tx>
          <c:marker>
            <c:symbol val="none"/>
          </c:marker>
          <c:cat>
            <c:numRef>
              <c:f>Sheet1!$A$1:$A$5001</c:f>
              <c:numCache>
                <c:formatCode>m/d/yyyy</c:formatCode>
                <c:ptCount val="5001"/>
                <c:pt idx="0">
                  <c:v>34535</c:v>
                </c:pt>
                <c:pt idx="1">
                  <c:v>34536</c:v>
                </c:pt>
                <c:pt idx="2">
                  <c:v>34537</c:v>
                </c:pt>
                <c:pt idx="3">
                  <c:v>34540</c:v>
                </c:pt>
                <c:pt idx="4">
                  <c:v>34541</c:v>
                </c:pt>
                <c:pt idx="5">
                  <c:v>34542</c:v>
                </c:pt>
                <c:pt idx="6">
                  <c:v>34543</c:v>
                </c:pt>
                <c:pt idx="7">
                  <c:v>34544</c:v>
                </c:pt>
                <c:pt idx="8">
                  <c:v>34547</c:v>
                </c:pt>
                <c:pt idx="9">
                  <c:v>34548</c:v>
                </c:pt>
                <c:pt idx="10">
                  <c:v>34549</c:v>
                </c:pt>
                <c:pt idx="11">
                  <c:v>34550</c:v>
                </c:pt>
                <c:pt idx="12">
                  <c:v>34551</c:v>
                </c:pt>
                <c:pt idx="13">
                  <c:v>34554</c:v>
                </c:pt>
                <c:pt idx="14">
                  <c:v>34555</c:v>
                </c:pt>
                <c:pt idx="15">
                  <c:v>34556</c:v>
                </c:pt>
                <c:pt idx="16">
                  <c:v>34557</c:v>
                </c:pt>
                <c:pt idx="17">
                  <c:v>34558</c:v>
                </c:pt>
                <c:pt idx="18">
                  <c:v>34562</c:v>
                </c:pt>
                <c:pt idx="19">
                  <c:v>34563</c:v>
                </c:pt>
                <c:pt idx="20">
                  <c:v>34564</c:v>
                </c:pt>
                <c:pt idx="21">
                  <c:v>34565</c:v>
                </c:pt>
                <c:pt idx="22">
                  <c:v>34568</c:v>
                </c:pt>
                <c:pt idx="23">
                  <c:v>34569</c:v>
                </c:pt>
                <c:pt idx="24">
                  <c:v>34570</c:v>
                </c:pt>
                <c:pt idx="25">
                  <c:v>34571</c:v>
                </c:pt>
                <c:pt idx="26">
                  <c:v>34572</c:v>
                </c:pt>
                <c:pt idx="27">
                  <c:v>34575</c:v>
                </c:pt>
                <c:pt idx="28">
                  <c:v>34576</c:v>
                </c:pt>
                <c:pt idx="29">
                  <c:v>34577</c:v>
                </c:pt>
                <c:pt idx="30">
                  <c:v>34578</c:v>
                </c:pt>
                <c:pt idx="31">
                  <c:v>34579</c:v>
                </c:pt>
                <c:pt idx="32">
                  <c:v>34582</c:v>
                </c:pt>
                <c:pt idx="33">
                  <c:v>34583</c:v>
                </c:pt>
                <c:pt idx="34">
                  <c:v>34584</c:v>
                </c:pt>
                <c:pt idx="35">
                  <c:v>34585</c:v>
                </c:pt>
                <c:pt idx="36">
                  <c:v>34586</c:v>
                </c:pt>
                <c:pt idx="37">
                  <c:v>34589</c:v>
                </c:pt>
                <c:pt idx="38">
                  <c:v>34590</c:v>
                </c:pt>
                <c:pt idx="39">
                  <c:v>34591</c:v>
                </c:pt>
                <c:pt idx="40">
                  <c:v>34592</c:v>
                </c:pt>
                <c:pt idx="41">
                  <c:v>34593</c:v>
                </c:pt>
                <c:pt idx="42">
                  <c:v>34596</c:v>
                </c:pt>
                <c:pt idx="43">
                  <c:v>34597</c:v>
                </c:pt>
                <c:pt idx="44">
                  <c:v>34598</c:v>
                </c:pt>
                <c:pt idx="45">
                  <c:v>34599</c:v>
                </c:pt>
                <c:pt idx="46">
                  <c:v>34600</c:v>
                </c:pt>
                <c:pt idx="47">
                  <c:v>34603</c:v>
                </c:pt>
                <c:pt idx="48">
                  <c:v>34604</c:v>
                </c:pt>
                <c:pt idx="49">
                  <c:v>34605</c:v>
                </c:pt>
                <c:pt idx="50">
                  <c:v>34606</c:v>
                </c:pt>
                <c:pt idx="51">
                  <c:v>34607</c:v>
                </c:pt>
                <c:pt idx="52">
                  <c:v>34610</c:v>
                </c:pt>
                <c:pt idx="53">
                  <c:v>34611</c:v>
                </c:pt>
                <c:pt idx="54">
                  <c:v>34612</c:v>
                </c:pt>
                <c:pt idx="55">
                  <c:v>34613</c:v>
                </c:pt>
                <c:pt idx="56">
                  <c:v>34614</c:v>
                </c:pt>
                <c:pt idx="57">
                  <c:v>34617</c:v>
                </c:pt>
                <c:pt idx="58">
                  <c:v>34618</c:v>
                </c:pt>
                <c:pt idx="59">
                  <c:v>34619</c:v>
                </c:pt>
                <c:pt idx="60">
                  <c:v>34620</c:v>
                </c:pt>
                <c:pt idx="61">
                  <c:v>34621</c:v>
                </c:pt>
                <c:pt idx="62">
                  <c:v>34624</c:v>
                </c:pt>
                <c:pt idx="63">
                  <c:v>34625</c:v>
                </c:pt>
                <c:pt idx="64">
                  <c:v>34626</c:v>
                </c:pt>
                <c:pt idx="65">
                  <c:v>34627</c:v>
                </c:pt>
                <c:pt idx="66">
                  <c:v>34628</c:v>
                </c:pt>
                <c:pt idx="67">
                  <c:v>34631</c:v>
                </c:pt>
                <c:pt idx="68">
                  <c:v>34632</c:v>
                </c:pt>
                <c:pt idx="69">
                  <c:v>34633</c:v>
                </c:pt>
                <c:pt idx="70">
                  <c:v>34634</c:v>
                </c:pt>
                <c:pt idx="71">
                  <c:v>34635</c:v>
                </c:pt>
                <c:pt idx="72">
                  <c:v>34638</c:v>
                </c:pt>
                <c:pt idx="73">
                  <c:v>34639</c:v>
                </c:pt>
                <c:pt idx="74">
                  <c:v>34640</c:v>
                </c:pt>
                <c:pt idx="75">
                  <c:v>34641</c:v>
                </c:pt>
                <c:pt idx="76">
                  <c:v>34642</c:v>
                </c:pt>
                <c:pt idx="77">
                  <c:v>34645</c:v>
                </c:pt>
                <c:pt idx="78">
                  <c:v>34646</c:v>
                </c:pt>
                <c:pt idx="79">
                  <c:v>34647</c:v>
                </c:pt>
                <c:pt idx="80">
                  <c:v>34648</c:v>
                </c:pt>
                <c:pt idx="81">
                  <c:v>34649</c:v>
                </c:pt>
                <c:pt idx="82">
                  <c:v>34652</c:v>
                </c:pt>
                <c:pt idx="83">
                  <c:v>34653</c:v>
                </c:pt>
                <c:pt idx="84">
                  <c:v>34654</c:v>
                </c:pt>
                <c:pt idx="85">
                  <c:v>34655</c:v>
                </c:pt>
                <c:pt idx="86">
                  <c:v>34656</c:v>
                </c:pt>
                <c:pt idx="87">
                  <c:v>34659</c:v>
                </c:pt>
                <c:pt idx="88">
                  <c:v>34660</c:v>
                </c:pt>
                <c:pt idx="89">
                  <c:v>34661</c:v>
                </c:pt>
                <c:pt idx="90">
                  <c:v>34662</c:v>
                </c:pt>
                <c:pt idx="91">
                  <c:v>34663</c:v>
                </c:pt>
                <c:pt idx="92">
                  <c:v>34666</c:v>
                </c:pt>
                <c:pt idx="93">
                  <c:v>34667</c:v>
                </c:pt>
                <c:pt idx="94">
                  <c:v>34668</c:v>
                </c:pt>
                <c:pt idx="95">
                  <c:v>34669</c:v>
                </c:pt>
                <c:pt idx="96">
                  <c:v>34670</c:v>
                </c:pt>
                <c:pt idx="97">
                  <c:v>34673</c:v>
                </c:pt>
                <c:pt idx="98">
                  <c:v>34674</c:v>
                </c:pt>
                <c:pt idx="99">
                  <c:v>34675</c:v>
                </c:pt>
                <c:pt idx="100">
                  <c:v>34676</c:v>
                </c:pt>
                <c:pt idx="101">
                  <c:v>34677</c:v>
                </c:pt>
                <c:pt idx="102">
                  <c:v>34680</c:v>
                </c:pt>
                <c:pt idx="103">
                  <c:v>34681</c:v>
                </c:pt>
                <c:pt idx="104">
                  <c:v>34682</c:v>
                </c:pt>
                <c:pt idx="105">
                  <c:v>34683</c:v>
                </c:pt>
                <c:pt idx="106">
                  <c:v>34684</c:v>
                </c:pt>
                <c:pt idx="107">
                  <c:v>34687</c:v>
                </c:pt>
                <c:pt idx="108">
                  <c:v>34688</c:v>
                </c:pt>
                <c:pt idx="109">
                  <c:v>34689</c:v>
                </c:pt>
                <c:pt idx="110">
                  <c:v>34690</c:v>
                </c:pt>
                <c:pt idx="111">
                  <c:v>34691</c:v>
                </c:pt>
                <c:pt idx="112">
                  <c:v>34696</c:v>
                </c:pt>
                <c:pt idx="113">
                  <c:v>34697</c:v>
                </c:pt>
                <c:pt idx="114">
                  <c:v>34698</c:v>
                </c:pt>
                <c:pt idx="115">
                  <c:v>34702</c:v>
                </c:pt>
                <c:pt idx="116">
                  <c:v>34703</c:v>
                </c:pt>
                <c:pt idx="117">
                  <c:v>34704</c:v>
                </c:pt>
                <c:pt idx="118">
                  <c:v>34705</c:v>
                </c:pt>
                <c:pt idx="119">
                  <c:v>34708</c:v>
                </c:pt>
                <c:pt idx="120">
                  <c:v>34709</c:v>
                </c:pt>
                <c:pt idx="121">
                  <c:v>34710</c:v>
                </c:pt>
                <c:pt idx="122">
                  <c:v>34711</c:v>
                </c:pt>
                <c:pt idx="123">
                  <c:v>34712</c:v>
                </c:pt>
                <c:pt idx="124">
                  <c:v>34715</c:v>
                </c:pt>
                <c:pt idx="125">
                  <c:v>34716</c:v>
                </c:pt>
                <c:pt idx="126">
                  <c:v>34717</c:v>
                </c:pt>
                <c:pt idx="127">
                  <c:v>34718</c:v>
                </c:pt>
                <c:pt idx="128">
                  <c:v>34719</c:v>
                </c:pt>
                <c:pt idx="129">
                  <c:v>34722</c:v>
                </c:pt>
                <c:pt idx="130">
                  <c:v>34723</c:v>
                </c:pt>
                <c:pt idx="131">
                  <c:v>34724</c:v>
                </c:pt>
                <c:pt idx="132">
                  <c:v>34725</c:v>
                </c:pt>
                <c:pt idx="133">
                  <c:v>34726</c:v>
                </c:pt>
                <c:pt idx="134">
                  <c:v>34729</c:v>
                </c:pt>
                <c:pt idx="135">
                  <c:v>34730</c:v>
                </c:pt>
                <c:pt idx="136">
                  <c:v>34731</c:v>
                </c:pt>
                <c:pt idx="137">
                  <c:v>34732</c:v>
                </c:pt>
                <c:pt idx="138">
                  <c:v>34733</c:v>
                </c:pt>
                <c:pt idx="139">
                  <c:v>34736</c:v>
                </c:pt>
                <c:pt idx="140">
                  <c:v>34737</c:v>
                </c:pt>
                <c:pt idx="141">
                  <c:v>34738</c:v>
                </c:pt>
                <c:pt idx="142">
                  <c:v>34739</c:v>
                </c:pt>
                <c:pt idx="143">
                  <c:v>34740</c:v>
                </c:pt>
                <c:pt idx="144">
                  <c:v>34743</c:v>
                </c:pt>
                <c:pt idx="145">
                  <c:v>34744</c:v>
                </c:pt>
                <c:pt idx="146">
                  <c:v>34745</c:v>
                </c:pt>
                <c:pt idx="147">
                  <c:v>34746</c:v>
                </c:pt>
                <c:pt idx="148">
                  <c:v>34747</c:v>
                </c:pt>
                <c:pt idx="149">
                  <c:v>34750</c:v>
                </c:pt>
                <c:pt idx="150">
                  <c:v>34751</c:v>
                </c:pt>
                <c:pt idx="151">
                  <c:v>34752</c:v>
                </c:pt>
                <c:pt idx="152">
                  <c:v>34753</c:v>
                </c:pt>
                <c:pt idx="153">
                  <c:v>34754</c:v>
                </c:pt>
                <c:pt idx="154">
                  <c:v>34757</c:v>
                </c:pt>
                <c:pt idx="155">
                  <c:v>34758</c:v>
                </c:pt>
                <c:pt idx="156">
                  <c:v>34759</c:v>
                </c:pt>
                <c:pt idx="157">
                  <c:v>34760</c:v>
                </c:pt>
                <c:pt idx="158">
                  <c:v>34761</c:v>
                </c:pt>
                <c:pt idx="159">
                  <c:v>34764</c:v>
                </c:pt>
                <c:pt idx="160">
                  <c:v>34765</c:v>
                </c:pt>
                <c:pt idx="161">
                  <c:v>34766</c:v>
                </c:pt>
                <c:pt idx="162">
                  <c:v>34767</c:v>
                </c:pt>
                <c:pt idx="163">
                  <c:v>34768</c:v>
                </c:pt>
                <c:pt idx="164">
                  <c:v>34771</c:v>
                </c:pt>
                <c:pt idx="165">
                  <c:v>34772</c:v>
                </c:pt>
                <c:pt idx="166">
                  <c:v>34773</c:v>
                </c:pt>
                <c:pt idx="167">
                  <c:v>34774</c:v>
                </c:pt>
                <c:pt idx="168">
                  <c:v>34775</c:v>
                </c:pt>
                <c:pt idx="169">
                  <c:v>34778</c:v>
                </c:pt>
                <c:pt idx="170">
                  <c:v>34779</c:v>
                </c:pt>
                <c:pt idx="171">
                  <c:v>34780</c:v>
                </c:pt>
                <c:pt idx="172">
                  <c:v>34781</c:v>
                </c:pt>
                <c:pt idx="173">
                  <c:v>34782</c:v>
                </c:pt>
                <c:pt idx="174">
                  <c:v>34785</c:v>
                </c:pt>
                <c:pt idx="175">
                  <c:v>34786</c:v>
                </c:pt>
                <c:pt idx="176">
                  <c:v>34787</c:v>
                </c:pt>
                <c:pt idx="177">
                  <c:v>34788</c:v>
                </c:pt>
                <c:pt idx="178">
                  <c:v>34789</c:v>
                </c:pt>
                <c:pt idx="179">
                  <c:v>34792</c:v>
                </c:pt>
                <c:pt idx="180">
                  <c:v>34793</c:v>
                </c:pt>
                <c:pt idx="181">
                  <c:v>34794</c:v>
                </c:pt>
                <c:pt idx="182">
                  <c:v>34795</c:v>
                </c:pt>
                <c:pt idx="183">
                  <c:v>34796</c:v>
                </c:pt>
                <c:pt idx="184">
                  <c:v>34799</c:v>
                </c:pt>
                <c:pt idx="185">
                  <c:v>34800</c:v>
                </c:pt>
                <c:pt idx="186">
                  <c:v>34801</c:v>
                </c:pt>
                <c:pt idx="187">
                  <c:v>34802</c:v>
                </c:pt>
                <c:pt idx="188">
                  <c:v>34807</c:v>
                </c:pt>
                <c:pt idx="189">
                  <c:v>34808</c:v>
                </c:pt>
                <c:pt idx="190">
                  <c:v>34809</c:v>
                </c:pt>
                <c:pt idx="191">
                  <c:v>34810</c:v>
                </c:pt>
                <c:pt idx="192">
                  <c:v>34813</c:v>
                </c:pt>
                <c:pt idx="193">
                  <c:v>34814</c:v>
                </c:pt>
                <c:pt idx="194">
                  <c:v>34815</c:v>
                </c:pt>
                <c:pt idx="195">
                  <c:v>34816</c:v>
                </c:pt>
                <c:pt idx="196">
                  <c:v>34817</c:v>
                </c:pt>
                <c:pt idx="197">
                  <c:v>34821</c:v>
                </c:pt>
                <c:pt idx="198">
                  <c:v>34822</c:v>
                </c:pt>
                <c:pt idx="199">
                  <c:v>34823</c:v>
                </c:pt>
                <c:pt idx="200">
                  <c:v>34824</c:v>
                </c:pt>
                <c:pt idx="201">
                  <c:v>34827</c:v>
                </c:pt>
                <c:pt idx="202">
                  <c:v>34828</c:v>
                </c:pt>
                <c:pt idx="203">
                  <c:v>34829</c:v>
                </c:pt>
                <c:pt idx="204">
                  <c:v>34830</c:v>
                </c:pt>
                <c:pt idx="205">
                  <c:v>34831</c:v>
                </c:pt>
                <c:pt idx="206">
                  <c:v>34834</c:v>
                </c:pt>
                <c:pt idx="207">
                  <c:v>34835</c:v>
                </c:pt>
                <c:pt idx="208">
                  <c:v>34836</c:v>
                </c:pt>
                <c:pt idx="209">
                  <c:v>34837</c:v>
                </c:pt>
                <c:pt idx="210">
                  <c:v>34838</c:v>
                </c:pt>
                <c:pt idx="211">
                  <c:v>34841</c:v>
                </c:pt>
                <c:pt idx="212">
                  <c:v>34842</c:v>
                </c:pt>
                <c:pt idx="213">
                  <c:v>34843</c:v>
                </c:pt>
                <c:pt idx="214">
                  <c:v>34845</c:v>
                </c:pt>
                <c:pt idx="215">
                  <c:v>34848</c:v>
                </c:pt>
                <c:pt idx="216">
                  <c:v>34849</c:v>
                </c:pt>
                <c:pt idx="217">
                  <c:v>34850</c:v>
                </c:pt>
                <c:pt idx="218">
                  <c:v>34851</c:v>
                </c:pt>
                <c:pt idx="219">
                  <c:v>34852</c:v>
                </c:pt>
                <c:pt idx="220">
                  <c:v>34856</c:v>
                </c:pt>
                <c:pt idx="221">
                  <c:v>34857</c:v>
                </c:pt>
                <c:pt idx="222">
                  <c:v>34858</c:v>
                </c:pt>
                <c:pt idx="223">
                  <c:v>34859</c:v>
                </c:pt>
                <c:pt idx="224">
                  <c:v>34862</c:v>
                </c:pt>
                <c:pt idx="225">
                  <c:v>34863</c:v>
                </c:pt>
                <c:pt idx="226">
                  <c:v>34864</c:v>
                </c:pt>
                <c:pt idx="227">
                  <c:v>34865</c:v>
                </c:pt>
                <c:pt idx="228">
                  <c:v>34866</c:v>
                </c:pt>
                <c:pt idx="229">
                  <c:v>34869</c:v>
                </c:pt>
                <c:pt idx="230">
                  <c:v>34870</c:v>
                </c:pt>
                <c:pt idx="231">
                  <c:v>34871</c:v>
                </c:pt>
                <c:pt idx="232">
                  <c:v>34872</c:v>
                </c:pt>
                <c:pt idx="233">
                  <c:v>34873</c:v>
                </c:pt>
                <c:pt idx="234">
                  <c:v>34876</c:v>
                </c:pt>
                <c:pt idx="235">
                  <c:v>34877</c:v>
                </c:pt>
                <c:pt idx="236">
                  <c:v>34878</c:v>
                </c:pt>
                <c:pt idx="237">
                  <c:v>34879</c:v>
                </c:pt>
                <c:pt idx="238">
                  <c:v>34880</c:v>
                </c:pt>
                <c:pt idx="239">
                  <c:v>34883</c:v>
                </c:pt>
                <c:pt idx="240">
                  <c:v>34884</c:v>
                </c:pt>
                <c:pt idx="241">
                  <c:v>34885</c:v>
                </c:pt>
                <c:pt idx="242">
                  <c:v>34886</c:v>
                </c:pt>
                <c:pt idx="243">
                  <c:v>34887</c:v>
                </c:pt>
                <c:pt idx="244">
                  <c:v>34890</c:v>
                </c:pt>
                <c:pt idx="245">
                  <c:v>34891</c:v>
                </c:pt>
                <c:pt idx="246">
                  <c:v>34892</c:v>
                </c:pt>
                <c:pt idx="247">
                  <c:v>34893</c:v>
                </c:pt>
                <c:pt idx="248">
                  <c:v>34894</c:v>
                </c:pt>
                <c:pt idx="249">
                  <c:v>34897</c:v>
                </c:pt>
                <c:pt idx="250">
                  <c:v>34898</c:v>
                </c:pt>
                <c:pt idx="251">
                  <c:v>34899</c:v>
                </c:pt>
                <c:pt idx="252">
                  <c:v>34900</c:v>
                </c:pt>
                <c:pt idx="253">
                  <c:v>34901</c:v>
                </c:pt>
                <c:pt idx="254">
                  <c:v>34904</c:v>
                </c:pt>
                <c:pt idx="255">
                  <c:v>34905</c:v>
                </c:pt>
                <c:pt idx="256">
                  <c:v>34906</c:v>
                </c:pt>
                <c:pt idx="257">
                  <c:v>34907</c:v>
                </c:pt>
                <c:pt idx="258">
                  <c:v>34908</c:v>
                </c:pt>
                <c:pt idx="259">
                  <c:v>34911</c:v>
                </c:pt>
                <c:pt idx="260">
                  <c:v>34912</c:v>
                </c:pt>
                <c:pt idx="261">
                  <c:v>34913</c:v>
                </c:pt>
                <c:pt idx="262">
                  <c:v>34914</c:v>
                </c:pt>
                <c:pt idx="263">
                  <c:v>34915</c:v>
                </c:pt>
                <c:pt idx="264">
                  <c:v>34918</c:v>
                </c:pt>
                <c:pt idx="265">
                  <c:v>34919</c:v>
                </c:pt>
                <c:pt idx="266">
                  <c:v>34920</c:v>
                </c:pt>
                <c:pt idx="267">
                  <c:v>34921</c:v>
                </c:pt>
                <c:pt idx="268">
                  <c:v>34922</c:v>
                </c:pt>
                <c:pt idx="269">
                  <c:v>34925</c:v>
                </c:pt>
                <c:pt idx="270">
                  <c:v>34926</c:v>
                </c:pt>
                <c:pt idx="271">
                  <c:v>34927</c:v>
                </c:pt>
                <c:pt idx="272">
                  <c:v>34928</c:v>
                </c:pt>
                <c:pt idx="273">
                  <c:v>34929</c:v>
                </c:pt>
                <c:pt idx="274">
                  <c:v>34932</c:v>
                </c:pt>
                <c:pt idx="275">
                  <c:v>34933</c:v>
                </c:pt>
                <c:pt idx="276">
                  <c:v>34934</c:v>
                </c:pt>
                <c:pt idx="277">
                  <c:v>34935</c:v>
                </c:pt>
                <c:pt idx="278">
                  <c:v>34936</c:v>
                </c:pt>
                <c:pt idx="279">
                  <c:v>34939</c:v>
                </c:pt>
                <c:pt idx="280">
                  <c:v>34940</c:v>
                </c:pt>
                <c:pt idx="281">
                  <c:v>34941</c:v>
                </c:pt>
                <c:pt idx="282">
                  <c:v>34942</c:v>
                </c:pt>
                <c:pt idx="283">
                  <c:v>34943</c:v>
                </c:pt>
                <c:pt idx="284">
                  <c:v>34946</c:v>
                </c:pt>
                <c:pt idx="285">
                  <c:v>34947</c:v>
                </c:pt>
                <c:pt idx="286">
                  <c:v>34948</c:v>
                </c:pt>
                <c:pt idx="287">
                  <c:v>34949</c:v>
                </c:pt>
                <c:pt idx="288">
                  <c:v>34950</c:v>
                </c:pt>
                <c:pt idx="289">
                  <c:v>34953</c:v>
                </c:pt>
                <c:pt idx="290">
                  <c:v>34954</c:v>
                </c:pt>
                <c:pt idx="291">
                  <c:v>34955</c:v>
                </c:pt>
                <c:pt idx="292">
                  <c:v>34956</c:v>
                </c:pt>
                <c:pt idx="293">
                  <c:v>34957</c:v>
                </c:pt>
                <c:pt idx="294">
                  <c:v>34960</c:v>
                </c:pt>
                <c:pt idx="295">
                  <c:v>34961</c:v>
                </c:pt>
                <c:pt idx="296">
                  <c:v>34962</c:v>
                </c:pt>
                <c:pt idx="297">
                  <c:v>34963</c:v>
                </c:pt>
                <c:pt idx="298">
                  <c:v>34964</c:v>
                </c:pt>
                <c:pt idx="299">
                  <c:v>34967</c:v>
                </c:pt>
                <c:pt idx="300">
                  <c:v>34968</c:v>
                </c:pt>
                <c:pt idx="301">
                  <c:v>34969</c:v>
                </c:pt>
                <c:pt idx="302">
                  <c:v>34970</c:v>
                </c:pt>
                <c:pt idx="303">
                  <c:v>34971</c:v>
                </c:pt>
                <c:pt idx="304">
                  <c:v>34974</c:v>
                </c:pt>
                <c:pt idx="305">
                  <c:v>34975</c:v>
                </c:pt>
                <c:pt idx="306">
                  <c:v>34976</c:v>
                </c:pt>
                <c:pt idx="307">
                  <c:v>34977</c:v>
                </c:pt>
                <c:pt idx="308">
                  <c:v>34978</c:v>
                </c:pt>
                <c:pt idx="309">
                  <c:v>34981</c:v>
                </c:pt>
                <c:pt idx="310">
                  <c:v>34982</c:v>
                </c:pt>
                <c:pt idx="311">
                  <c:v>34983</c:v>
                </c:pt>
                <c:pt idx="312">
                  <c:v>34984</c:v>
                </c:pt>
                <c:pt idx="313">
                  <c:v>34985</c:v>
                </c:pt>
                <c:pt idx="314">
                  <c:v>34988</c:v>
                </c:pt>
                <c:pt idx="315">
                  <c:v>34989</c:v>
                </c:pt>
                <c:pt idx="316">
                  <c:v>34990</c:v>
                </c:pt>
                <c:pt idx="317">
                  <c:v>34991</c:v>
                </c:pt>
                <c:pt idx="318">
                  <c:v>34992</c:v>
                </c:pt>
                <c:pt idx="319">
                  <c:v>34995</c:v>
                </c:pt>
                <c:pt idx="320">
                  <c:v>34996</c:v>
                </c:pt>
                <c:pt idx="321">
                  <c:v>34997</c:v>
                </c:pt>
                <c:pt idx="322">
                  <c:v>34998</c:v>
                </c:pt>
                <c:pt idx="323">
                  <c:v>34999</c:v>
                </c:pt>
                <c:pt idx="324">
                  <c:v>35002</c:v>
                </c:pt>
                <c:pt idx="325">
                  <c:v>35003</c:v>
                </c:pt>
                <c:pt idx="326">
                  <c:v>35004</c:v>
                </c:pt>
                <c:pt idx="327">
                  <c:v>35005</c:v>
                </c:pt>
                <c:pt idx="328">
                  <c:v>35006</c:v>
                </c:pt>
                <c:pt idx="329">
                  <c:v>35009</c:v>
                </c:pt>
                <c:pt idx="330">
                  <c:v>35010</c:v>
                </c:pt>
                <c:pt idx="331">
                  <c:v>35011</c:v>
                </c:pt>
                <c:pt idx="332">
                  <c:v>35012</c:v>
                </c:pt>
                <c:pt idx="333">
                  <c:v>35013</c:v>
                </c:pt>
                <c:pt idx="334">
                  <c:v>35016</c:v>
                </c:pt>
                <c:pt idx="335">
                  <c:v>35017</c:v>
                </c:pt>
                <c:pt idx="336">
                  <c:v>35018</c:v>
                </c:pt>
                <c:pt idx="337">
                  <c:v>35019</c:v>
                </c:pt>
                <c:pt idx="338">
                  <c:v>35020</c:v>
                </c:pt>
                <c:pt idx="339">
                  <c:v>35023</c:v>
                </c:pt>
                <c:pt idx="340">
                  <c:v>35024</c:v>
                </c:pt>
                <c:pt idx="341">
                  <c:v>35025</c:v>
                </c:pt>
                <c:pt idx="342">
                  <c:v>35026</c:v>
                </c:pt>
                <c:pt idx="343">
                  <c:v>35027</c:v>
                </c:pt>
                <c:pt idx="344">
                  <c:v>35030</c:v>
                </c:pt>
                <c:pt idx="345">
                  <c:v>35031</c:v>
                </c:pt>
                <c:pt idx="346">
                  <c:v>35032</c:v>
                </c:pt>
                <c:pt idx="347">
                  <c:v>35033</c:v>
                </c:pt>
                <c:pt idx="348">
                  <c:v>35034</c:v>
                </c:pt>
                <c:pt idx="349">
                  <c:v>35037</c:v>
                </c:pt>
                <c:pt idx="350">
                  <c:v>35038</c:v>
                </c:pt>
                <c:pt idx="351">
                  <c:v>35039</c:v>
                </c:pt>
                <c:pt idx="352">
                  <c:v>35040</c:v>
                </c:pt>
                <c:pt idx="353">
                  <c:v>35041</c:v>
                </c:pt>
                <c:pt idx="354">
                  <c:v>35044</c:v>
                </c:pt>
                <c:pt idx="355">
                  <c:v>35045</c:v>
                </c:pt>
                <c:pt idx="356">
                  <c:v>35046</c:v>
                </c:pt>
                <c:pt idx="357">
                  <c:v>35047</c:v>
                </c:pt>
                <c:pt idx="358">
                  <c:v>35048</c:v>
                </c:pt>
                <c:pt idx="359">
                  <c:v>35051</c:v>
                </c:pt>
                <c:pt idx="360">
                  <c:v>35052</c:v>
                </c:pt>
                <c:pt idx="361">
                  <c:v>35053</c:v>
                </c:pt>
                <c:pt idx="362">
                  <c:v>35054</c:v>
                </c:pt>
                <c:pt idx="363">
                  <c:v>35055</c:v>
                </c:pt>
                <c:pt idx="364">
                  <c:v>35060</c:v>
                </c:pt>
                <c:pt idx="365">
                  <c:v>35061</c:v>
                </c:pt>
                <c:pt idx="366">
                  <c:v>35062</c:v>
                </c:pt>
                <c:pt idx="367">
                  <c:v>35066</c:v>
                </c:pt>
                <c:pt idx="368">
                  <c:v>35067</c:v>
                </c:pt>
                <c:pt idx="369">
                  <c:v>35068</c:v>
                </c:pt>
                <c:pt idx="370">
                  <c:v>35069</c:v>
                </c:pt>
                <c:pt idx="371">
                  <c:v>35072</c:v>
                </c:pt>
                <c:pt idx="372">
                  <c:v>35073</c:v>
                </c:pt>
                <c:pt idx="373">
                  <c:v>35074</c:v>
                </c:pt>
                <c:pt idx="374">
                  <c:v>35075</c:v>
                </c:pt>
                <c:pt idx="375">
                  <c:v>35076</c:v>
                </c:pt>
                <c:pt idx="376">
                  <c:v>35079</c:v>
                </c:pt>
                <c:pt idx="377">
                  <c:v>35080</c:v>
                </c:pt>
                <c:pt idx="378">
                  <c:v>35081</c:v>
                </c:pt>
                <c:pt idx="379">
                  <c:v>35082</c:v>
                </c:pt>
                <c:pt idx="380">
                  <c:v>35083</c:v>
                </c:pt>
                <c:pt idx="381">
                  <c:v>35086</c:v>
                </c:pt>
                <c:pt idx="382">
                  <c:v>35087</c:v>
                </c:pt>
                <c:pt idx="383">
                  <c:v>35088</c:v>
                </c:pt>
                <c:pt idx="384">
                  <c:v>35089</c:v>
                </c:pt>
                <c:pt idx="385">
                  <c:v>35090</c:v>
                </c:pt>
                <c:pt idx="386">
                  <c:v>35093</c:v>
                </c:pt>
                <c:pt idx="387">
                  <c:v>35094</c:v>
                </c:pt>
                <c:pt idx="388">
                  <c:v>35095</c:v>
                </c:pt>
                <c:pt idx="389">
                  <c:v>35096</c:v>
                </c:pt>
                <c:pt idx="390">
                  <c:v>35097</c:v>
                </c:pt>
                <c:pt idx="391">
                  <c:v>35100</c:v>
                </c:pt>
                <c:pt idx="392">
                  <c:v>35101</c:v>
                </c:pt>
                <c:pt idx="393">
                  <c:v>35102</c:v>
                </c:pt>
                <c:pt idx="394">
                  <c:v>35103</c:v>
                </c:pt>
                <c:pt idx="395">
                  <c:v>35104</c:v>
                </c:pt>
                <c:pt idx="396">
                  <c:v>35107</c:v>
                </c:pt>
                <c:pt idx="397">
                  <c:v>35108</c:v>
                </c:pt>
                <c:pt idx="398">
                  <c:v>35109</c:v>
                </c:pt>
                <c:pt idx="399">
                  <c:v>35110</c:v>
                </c:pt>
                <c:pt idx="400">
                  <c:v>35111</c:v>
                </c:pt>
                <c:pt idx="401">
                  <c:v>35114</c:v>
                </c:pt>
                <c:pt idx="402">
                  <c:v>35115</c:v>
                </c:pt>
                <c:pt idx="403">
                  <c:v>35116</c:v>
                </c:pt>
                <c:pt idx="404">
                  <c:v>35117</c:v>
                </c:pt>
                <c:pt idx="405">
                  <c:v>35118</c:v>
                </c:pt>
                <c:pt idx="406">
                  <c:v>35121</c:v>
                </c:pt>
                <c:pt idx="407">
                  <c:v>35122</c:v>
                </c:pt>
                <c:pt idx="408">
                  <c:v>35123</c:v>
                </c:pt>
                <c:pt idx="409">
                  <c:v>35124</c:v>
                </c:pt>
                <c:pt idx="410">
                  <c:v>35125</c:v>
                </c:pt>
                <c:pt idx="411">
                  <c:v>35128</c:v>
                </c:pt>
                <c:pt idx="412">
                  <c:v>35129</c:v>
                </c:pt>
                <c:pt idx="413">
                  <c:v>35130</c:v>
                </c:pt>
                <c:pt idx="414">
                  <c:v>35131</c:v>
                </c:pt>
                <c:pt idx="415">
                  <c:v>35132</c:v>
                </c:pt>
                <c:pt idx="416">
                  <c:v>35135</c:v>
                </c:pt>
                <c:pt idx="417">
                  <c:v>35136</c:v>
                </c:pt>
                <c:pt idx="418">
                  <c:v>35137</c:v>
                </c:pt>
                <c:pt idx="419">
                  <c:v>35138</c:v>
                </c:pt>
                <c:pt idx="420">
                  <c:v>35139</c:v>
                </c:pt>
                <c:pt idx="421">
                  <c:v>35142</c:v>
                </c:pt>
                <c:pt idx="422">
                  <c:v>35143</c:v>
                </c:pt>
                <c:pt idx="423">
                  <c:v>35144</c:v>
                </c:pt>
                <c:pt idx="424">
                  <c:v>35145</c:v>
                </c:pt>
                <c:pt idx="425">
                  <c:v>35146</c:v>
                </c:pt>
                <c:pt idx="426">
                  <c:v>35149</c:v>
                </c:pt>
                <c:pt idx="427">
                  <c:v>35150</c:v>
                </c:pt>
                <c:pt idx="428">
                  <c:v>35151</c:v>
                </c:pt>
                <c:pt idx="429">
                  <c:v>35152</c:v>
                </c:pt>
                <c:pt idx="430">
                  <c:v>35153</c:v>
                </c:pt>
                <c:pt idx="431">
                  <c:v>35156</c:v>
                </c:pt>
                <c:pt idx="432">
                  <c:v>35157</c:v>
                </c:pt>
                <c:pt idx="433">
                  <c:v>35158</c:v>
                </c:pt>
                <c:pt idx="434">
                  <c:v>35159</c:v>
                </c:pt>
                <c:pt idx="435">
                  <c:v>35164</c:v>
                </c:pt>
                <c:pt idx="436">
                  <c:v>35165</c:v>
                </c:pt>
                <c:pt idx="437">
                  <c:v>35166</c:v>
                </c:pt>
                <c:pt idx="438">
                  <c:v>35167</c:v>
                </c:pt>
                <c:pt idx="439">
                  <c:v>35170</c:v>
                </c:pt>
                <c:pt idx="440">
                  <c:v>35171</c:v>
                </c:pt>
                <c:pt idx="441">
                  <c:v>35172</c:v>
                </c:pt>
                <c:pt idx="442">
                  <c:v>35173</c:v>
                </c:pt>
                <c:pt idx="443">
                  <c:v>35174</c:v>
                </c:pt>
                <c:pt idx="444">
                  <c:v>35177</c:v>
                </c:pt>
                <c:pt idx="445">
                  <c:v>35178</c:v>
                </c:pt>
                <c:pt idx="446">
                  <c:v>35179</c:v>
                </c:pt>
                <c:pt idx="447">
                  <c:v>35180</c:v>
                </c:pt>
                <c:pt idx="448">
                  <c:v>35181</c:v>
                </c:pt>
                <c:pt idx="449">
                  <c:v>35184</c:v>
                </c:pt>
                <c:pt idx="450">
                  <c:v>35185</c:v>
                </c:pt>
                <c:pt idx="451">
                  <c:v>35187</c:v>
                </c:pt>
                <c:pt idx="452">
                  <c:v>35188</c:v>
                </c:pt>
                <c:pt idx="453">
                  <c:v>35191</c:v>
                </c:pt>
                <c:pt idx="454">
                  <c:v>35192</c:v>
                </c:pt>
                <c:pt idx="455">
                  <c:v>35194</c:v>
                </c:pt>
                <c:pt idx="456">
                  <c:v>35195</c:v>
                </c:pt>
                <c:pt idx="457">
                  <c:v>35198</c:v>
                </c:pt>
                <c:pt idx="458">
                  <c:v>35199</c:v>
                </c:pt>
                <c:pt idx="459">
                  <c:v>35200</c:v>
                </c:pt>
                <c:pt idx="460">
                  <c:v>35202</c:v>
                </c:pt>
                <c:pt idx="461">
                  <c:v>35205</c:v>
                </c:pt>
                <c:pt idx="462">
                  <c:v>35206</c:v>
                </c:pt>
                <c:pt idx="463">
                  <c:v>35207</c:v>
                </c:pt>
                <c:pt idx="464">
                  <c:v>35208</c:v>
                </c:pt>
                <c:pt idx="465">
                  <c:v>35209</c:v>
                </c:pt>
                <c:pt idx="466">
                  <c:v>35213</c:v>
                </c:pt>
                <c:pt idx="467">
                  <c:v>35214</c:v>
                </c:pt>
                <c:pt idx="468">
                  <c:v>35215</c:v>
                </c:pt>
                <c:pt idx="469">
                  <c:v>35216</c:v>
                </c:pt>
                <c:pt idx="470">
                  <c:v>35219</c:v>
                </c:pt>
                <c:pt idx="471">
                  <c:v>35220</c:v>
                </c:pt>
                <c:pt idx="472">
                  <c:v>35221</c:v>
                </c:pt>
                <c:pt idx="473">
                  <c:v>35222</c:v>
                </c:pt>
                <c:pt idx="474">
                  <c:v>35223</c:v>
                </c:pt>
                <c:pt idx="475">
                  <c:v>35226</c:v>
                </c:pt>
                <c:pt idx="476">
                  <c:v>35227</c:v>
                </c:pt>
                <c:pt idx="477">
                  <c:v>35228</c:v>
                </c:pt>
                <c:pt idx="478">
                  <c:v>35229</c:v>
                </c:pt>
                <c:pt idx="479">
                  <c:v>35230</c:v>
                </c:pt>
                <c:pt idx="480">
                  <c:v>35233</c:v>
                </c:pt>
                <c:pt idx="481">
                  <c:v>35234</c:v>
                </c:pt>
                <c:pt idx="482">
                  <c:v>35235</c:v>
                </c:pt>
                <c:pt idx="483">
                  <c:v>35236</c:v>
                </c:pt>
                <c:pt idx="484">
                  <c:v>35237</c:v>
                </c:pt>
                <c:pt idx="485">
                  <c:v>35240</c:v>
                </c:pt>
                <c:pt idx="486">
                  <c:v>35241</c:v>
                </c:pt>
                <c:pt idx="487">
                  <c:v>35242</c:v>
                </c:pt>
                <c:pt idx="488">
                  <c:v>35243</c:v>
                </c:pt>
                <c:pt idx="489">
                  <c:v>35244</c:v>
                </c:pt>
                <c:pt idx="490">
                  <c:v>35247</c:v>
                </c:pt>
                <c:pt idx="491">
                  <c:v>35248</c:v>
                </c:pt>
                <c:pt idx="492">
                  <c:v>35249</c:v>
                </c:pt>
                <c:pt idx="493">
                  <c:v>35250</c:v>
                </c:pt>
                <c:pt idx="494">
                  <c:v>35251</c:v>
                </c:pt>
                <c:pt idx="495">
                  <c:v>35254</c:v>
                </c:pt>
                <c:pt idx="496">
                  <c:v>35255</c:v>
                </c:pt>
                <c:pt idx="497">
                  <c:v>35256</c:v>
                </c:pt>
                <c:pt idx="498">
                  <c:v>35257</c:v>
                </c:pt>
                <c:pt idx="499">
                  <c:v>35258</c:v>
                </c:pt>
                <c:pt idx="500">
                  <c:v>35261</c:v>
                </c:pt>
                <c:pt idx="501">
                  <c:v>35262</c:v>
                </c:pt>
                <c:pt idx="502">
                  <c:v>35263</c:v>
                </c:pt>
                <c:pt idx="503">
                  <c:v>35264</c:v>
                </c:pt>
                <c:pt idx="504">
                  <c:v>35265</c:v>
                </c:pt>
                <c:pt idx="505">
                  <c:v>35268</c:v>
                </c:pt>
                <c:pt idx="506">
                  <c:v>35269</c:v>
                </c:pt>
                <c:pt idx="507">
                  <c:v>35270</c:v>
                </c:pt>
                <c:pt idx="508">
                  <c:v>35271</c:v>
                </c:pt>
                <c:pt idx="509">
                  <c:v>35272</c:v>
                </c:pt>
                <c:pt idx="510">
                  <c:v>35275</c:v>
                </c:pt>
                <c:pt idx="511">
                  <c:v>35276</c:v>
                </c:pt>
                <c:pt idx="512">
                  <c:v>35277</c:v>
                </c:pt>
                <c:pt idx="513">
                  <c:v>35278</c:v>
                </c:pt>
                <c:pt idx="514">
                  <c:v>35279</c:v>
                </c:pt>
                <c:pt idx="515">
                  <c:v>35282</c:v>
                </c:pt>
                <c:pt idx="516">
                  <c:v>35283</c:v>
                </c:pt>
                <c:pt idx="517">
                  <c:v>35284</c:v>
                </c:pt>
                <c:pt idx="518">
                  <c:v>35285</c:v>
                </c:pt>
                <c:pt idx="519">
                  <c:v>35286</c:v>
                </c:pt>
                <c:pt idx="520">
                  <c:v>35289</c:v>
                </c:pt>
                <c:pt idx="521">
                  <c:v>35290</c:v>
                </c:pt>
                <c:pt idx="522">
                  <c:v>35291</c:v>
                </c:pt>
                <c:pt idx="523">
                  <c:v>35293</c:v>
                </c:pt>
                <c:pt idx="524">
                  <c:v>35296</c:v>
                </c:pt>
                <c:pt idx="525">
                  <c:v>35297</c:v>
                </c:pt>
                <c:pt idx="526">
                  <c:v>35298</c:v>
                </c:pt>
                <c:pt idx="527">
                  <c:v>35299</c:v>
                </c:pt>
                <c:pt idx="528">
                  <c:v>35300</c:v>
                </c:pt>
                <c:pt idx="529">
                  <c:v>35303</c:v>
                </c:pt>
                <c:pt idx="530">
                  <c:v>35304</c:v>
                </c:pt>
                <c:pt idx="531">
                  <c:v>35305</c:v>
                </c:pt>
                <c:pt idx="532">
                  <c:v>35306</c:v>
                </c:pt>
                <c:pt idx="533">
                  <c:v>35307</c:v>
                </c:pt>
                <c:pt idx="534">
                  <c:v>35310</c:v>
                </c:pt>
                <c:pt idx="535">
                  <c:v>35311</c:v>
                </c:pt>
                <c:pt idx="536">
                  <c:v>35312</c:v>
                </c:pt>
                <c:pt idx="537">
                  <c:v>35313</c:v>
                </c:pt>
                <c:pt idx="538">
                  <c:v>35314</c:v>
                </c:pt>
                <c:pt idx="539">
                  <c:v>35317</c:v>
                </c:pt>
                <c:pt idx="540">
                  <c:v>35318</c:v>
                </c:pt>
                <c:pt idx="541">
                  <c:v>35319</c:v>
                </c:pt>
                <c:pt idx="542">
                  <c:v>35320</c:v>
                </c:pt>
                <c:pt idx="543">
                  <c:v>35321</c:v>
                </c:pt>
                <c:pt idx="544">
                  <c:v>35324</c:v>
                </c:pt>
                <c:pt idx="545">
                  <c:v>35325</c:v>
                </c:pt>
                <c:pt idx="546">
                  <c:v>35326</c:v>
                </c:pt>
                <c:pt idx="547">
                  <c:v>35327</c:v>
                </c:pt>
                <c:pt idx="548">
                  <c:v>35328</c:v>
                </c:pt>
                <c:pt idx="549">
                  <c:v>35331</c:v>
                </c:pt>
                <c:pt idx="550">
                  <c:v>35332</c:v>
                </c:pt>
                <c:pt idx="551">
                  <c:v>35333</c:v>
                </c:pt>
                <c:pt idx="552">
                  <c:v>35334</c:v>
                </c:pt>
                <c:pt idx="553">
                  <c:v>35335</c:v>
                </c:pt>
                <c:pt idx="554">
                  <c:v>35338</c:v>
                </c:pt>
                <c:pt idx="555">
                  <c:v>35339</c:v>
                </c:pt>
                <c:pt idx="556">
                  <c:v>35340</c:v>
                </c:pt>
                <c:pt idx="557">
                  <c:v>35341</c:v>
                </c:pt>
                <c:pt idx="558">
                  <c:v>35342</c:v>
                </c:pt>
                <c:pt idx="559">
                  <c:v>35345</c:v>
                </c:pt>
                <c:pt idx="560">
                  <c:v>35346</c:v>
                </c:pt>
                <c:pt idx="561">
                  <c:v>35347</c:v>
                </c:pt>
                <c:pt idx="562">
                  <c:v>35348</c:v>
                </c:pt>
                <c:pt idx="563">
                  <c:v>35349</c:v>
                </c:pt>
                <c:pt idx="564">
                  <c:v>35352</c:v>
                </c:pt>
                <c:pt idx="565">
                  <c:v>35353</c:v>
                </c:pt>
                <c:pt idx="566">
                  <c:v>35354</c:v>
                </c:pt>
                <c:pt idx="567">
                  <c:v>35355</c:v>
                </c:pt>
                <c:pt idx="568">
                  <c:v>35356</c:v>
                </c:pt>
                <c:pt idx="569">
                  <c:v>35359</c:v>
                </c:pt>
                <c:pt idx="570">
                  <c:v>35360</c:v>
                </c:pt>
                <c:pt idx="571">
                  <c:v>35361</c:v>
                </c:pt>
                <c:pt idx="572">
                  <c:v>35362</c:v>
                </c:pt>
                <c:pt idx="573">
                  <c:v>35363</c:v>
                </c:pt>
                <c:pt idx="574">
                  <c:v>35366</c:v>
                </c:pt>
                <c:pt idx="575">
                  <c:v>35367</c:v>
                </c:pt>
                <c:pt idx="576">
                  <c:v>35368</c:v>
                </c:pt>
                <c:pt idx="577">
                  <c:v>35369</c:v>
                </c:pt>
                <c:pt idx="578">
                  <c:v>35373</c:v>
                </c:pt>
                <c:pt idx="579">
                  <c:v>35374</c:v>
                </c:pt>
                <c:pt idx="580">
                  <c:v>35375</c:v>
                </c:pt>
                <c:pt idx="581">
                  <c:v>35376</c:v>
                </c:pt>
                <c:pt idx="582">
                  <c:v>35377</c:v>
                </c:pt>
                <c:pt idx="583">
                  <c:v>35381</c:v>
                </c:pt>
                <c:pt idx="584">
                  <c:v>35382</c:v>
                </c:pt>
                <c:pt idx="585">
                  <c:v>35383</c:v>
                </c:pt>
                <c:pt idx="586">
                  <c:v>35384</c:v>
                </c:pt>
                <c:pt idx="587">
                  <c:v>35387</c:v>
                </c:pt>
                <c:pt idx="588">
                  <c:v>35388</c:v>
                </c:pt>
                <c:pt idx="589">
                  <c:v>35389</c:v>
                </c:pt>
                <c:pt idx="590">
                  <c:v>35390</c:v>
                </c:pt>
                <c:pt idx="591">
                  <c:v>35391</c:v>
                </c:pt>
                <c:pt idx="592">
                  <c:v>35394</c:v>
                </c:pt>
                <c:pt idx="593">
                  <c:v>35395</c:v>
                </c:pt>
                <c:pt idx="594">
                  <c:v>35396</c:v>
                </c:pt>
                <c:pt idx="595">
                  <c:v>35397</c:v>
                </c:pt>
                <c:pt idx="596">
                  <c:v>35398</c:v>
                </c:pt>
                <c:pt idx="597">
                  <c:v>35401</c:v>
                </c:pt>
                <c:pt idx="598">
                  <c:v>35402</c:v>
                </c:pt>
                <c:pt idx="599">
                  <c:v>35403</c:v>
                </c:pt>
                <c:pt idx="600">
                  <c:v>35404</c:v>
                </c:pt>
                <c:pt idx="601">
                  <c:v>35405</c:v>
                </c:pt>
                <c:pt idx="602">
                  <c:v>35408</c:v>
                </c:pt>
                <c:pt idx="603">
                  <c:v>35409</c:v>
                </c:pt>
                <c:pt idx="604">
                  <c:v>35410</c:v>
                </c:pt>
                <c:pt idx="605">
                  <c:v>35411</c:v>
                </c:pt>
                <c:pt idx="606">
                  <c:v>35412</c:v>
                </c:pt>
                <c:pt idx="607">
                  <c:v>35415</c:v>
                </c:pt>
                <c:pt idx="608">
                  <c:v>35416</c:v>
                </c:pt>
                <c:pt idx="609">
                  <c:v>35417</c:v>
                </c:pt>
                <c:pt idx="610">
                  <c:v>35418</c:v>
                </c:pt>
                <c:pt idx="611">
                  <c:v>35419</c:v>
                </c:pt>
                <c:pt idx="612">
                  <c:v>35422</c:v>
                </c:pt>
                <c:pt idx="613">
                  <c:v>35423</c:v>
                </c:pt>
                <c:pt idx="614">
                  <c:v>35426</c:v>
                </c:pt>
                <c:pt idx="615">
                  <c:v>35429</c:v>
                </c:pt>
                <c:pt idx="616">
                  <c:v>35432</c:v>
                </c:pt>
                <c:pt idx="617">
                  <c:v>35433</c:v>
                </c:pt>
                <c:pt idx="618">
                  <c:v>35436</c:v>
                </c:pt>
                <c:pt idx="619">
                  <c:v>35437</c:v>
                </c:pt>
                <c:pt idx="620">
                  <c:v>35438</c:v>
                </c:pt>
                <c:pt idx="621">
                  <c:v>35439</c:v>
                </c:pt>
                <c:pt idx="622">
                  <c:v>35440</c:v>
                </c:pt>
                <c:pt idx="623">
                  <c:v>35443</c:v>
                </c:pt>
                <c:pt idx="624">
                  <c:v>35444</c:v>
                </c:pt>
                <c:pt idx="625">
                  <c:v>35445</c:v>
                </c:pt>
                <c:pt idx="626">
                  <c:v>35446</c:v>
                </c:pt>
                <c:pt idx="627">
                  <c:v>35447</c:v>
                </c:pt>
                <c:pt idx="628">
                  <c:v>35450</c:v>
                </c:pt>
                <c:pt idx="629">
                  <c:v>35451</c:v>
                </c:pt>
                <c:pt idx="630">
                  <c:v>35452</c:v>
                </c:pt>
                <c:pt idx="631">
                  <c:v>35453</c:v>
                </c:pt>
                <c:pt idx="632">
                  <c:v>35454</c:v>
                </c:pt>
                <c:pt idx="633">
                  <c:v>35457</c:v>
                </c:pt>
                <c:pt idx="634">
                  <c:v>35458</c:v>
                </c:pt>
                <c:pt idx="635">
                  <c:v>35459</c:v>
                </c:pt>
                <c:pt idx="636">
                  <c:v>35460</c:v>
                </c:pt>
                <c:pt idx="637">
                  <c:v>35461</c:v>
                </c:pt>
                <c:pt idx="638">
                  <c:v>35464</c:v>
                </c:pt>
                <c:pt idx="639">
                  <c:v>35465</c:v>
                </c:pt>
                <c:pt idx="640">
                  <c:v>35466</c:v>
                </c:pt>
                <c:pt idx="641">
                  <c:v>35467</c:v>
                </c:pt>
                <c:pt idx="642">
                  <c:v>35468</c:v>
                </c:pt>
                <c:pt idx="643">
                  <c:v>35471</c:v>
                </c:pt>
                <c:pt idx="644">
                  <c:v>35472</c:v>
                </c:pt>
                <c:pt idx="645">
                  <c:v>35473</c:v>
                </c:pt>
                <c:pt idx="646">
                  <c:v>35474</c:v>
                </c:pt>
                <c:pt idx="647">
                  <c:v>35475</c:v>
                </c:pt>
                <c:pt idx="648">
                  <c:v>35478</c:v>
                </c:pt>
                <c:pt idx="649">
                  <c:v>35479</c:v>
                </c:pt>
                <c:pt idx="650">
                  <c:v>35480</c:v>
                </c:pt>
                <c:pt idx="651">
                  <c:v>35481</c:v>
                </c:pt>
                <c:pt idx="652">
                  <c:v>35482</c:v>
                </c:pt>
                <c:pt idx="653">
                  <c:v>35485</c:v>
                </c:pt>
                <c:pt idx="654">
                  <c:v>35486</c:v>
                </c:pt>
                <c:pt idx="655">
                  <c:v>35487</c:v>
                </c:pt>
                <c:pt idx="656">
                  <c:v>35488</c:v>
                </c:pt>
                <c:pt idx="657">
                  <c:v>35489</c:v>
                </c:pt>
                <c:pt idx="658">
                  <c:v>35492</c:v>
                </c:pt>
                <c:pt idx="659">
                  <c:v>35493</c:v>
                </c:pt>
                <c:pt idx="660">
                  <c:v>35494</c:v>
                </c:pt>
                <c:pt idx="661">
                  <c:v>35495</c:v>
                </c:pt>
                <c:pt idx="662">
                  <c:v>35496</c:v>
                </c:pt>
                <c:pt idx="663">
                  <c:v>35499</c:v>
                </c:pt>
                <c:pt idx="664">
                  <c:v>35500</c:v>
                </c:pt>
                <c:pt idx="665">
                  <c:v>35501</c:v>
                </c:pt>
                <c:pt idx="666">
                  <c:v>35502</c:v>
                </c:pt>
                <c:pt idx="667">
                  <c:v>35503</c:v>
                </c:pt>
                <c:pt idx="668">
                  <c:v>35506</c:v>
                </c:pt>
                <c:pt idx="669">
                  <c:v>35507</c:v>
                </c:pt>
                <c:pt idx="670">
                  <c:v>35508</c:v>
                </c:pt>
                <c:pt idx="671">
                  <c:v>35509</c:v>
                </c:pt>
                <c:pt idx="672">
                  <c:v>35510</c:v>
                </c:pt>
                <c:pt idx="673">
                  <c:v>35513</c:v>
                </c:pt>
                <c:pt idx="674">
                  <c:v>35514</c:v>
                </c:pt>
                <c:pt idx="675">
                  <c:v>35515</c:v>
                </c:pt>
                <c:pt idx="676">
                  <c:v>35516</c:v>
                </c:pt>
                <c:pt idx="677">
                  <c:v>35521</c:v>
                </c:pt>
                <c:pt idx="678">
                  <c:v>35522</c:v>
                </c:pt>
                <c:pt idx="679">
                  <c:v>35523</c:v>
                </c:pt>
                <c:pt idx="680">
                  <c:v>35524</c:v>
                </c:pt>
                <c:pt idx="681">
                  <c:v>35527</c:v>
                </c:pt>
                <c:pt idx="682">
                  <c:v>35528</c:v>
                </c:pt>
                <c:pt idx="683">
                  <c:v>35529</c:v>
                </c:pt>
                <c:pt idx="684">
                  <c:v>35530</c:v>
                </c:pt>
                <c:pt idx="685">
                  <c:v>35531</c:v>
                </c:pt>
                <c:pt idx="686">
                  <c:v>35534</c:v>
                </c:pt>
                <c:pt idx="687">
                  <c:v>35535</c:v>
                </c:pt>
                <c:pt idx="688">
                  <c:v>35536</c:v>
                </c:pt>
                <c:pt idx="689">
                  <c:v>35537</c:v>
                </c:pt>
                <c:pt idx="690">
                  <c:v>35538</c:v>
                </c:pt>
                <c:pt idx="691">
                  <c:v>35541</c:v>
                </c:pt>
                <c:pt idx="692">
                  <c:v>35542</c:v>
                </c:pt>
                <c:pt idx="693">
                  <c:v>35543</c:v>
                </c:pt>
                <c:pt idx="694">
                  <c:v>35544</c:v>
                </c:pt>
                <c:pt idx="695">
                  <c:v>35545</c:v>
                </c:pt>
                <c:pt idx="696">
                  <c:v>35548</c:v>
                </c:pt>
                <c:pt idx="697">
                  <c:v>35549</c:v>
                </c:pt>
                <c:pt idx="698">
                  <c:v>35550</c:v>
                </c:pt>
                <c:pt idx="699">
                  <c:v>35552</c:v>
                </c:pt>
                <c:pt idx="700">
                  <c:v>35555</c:v>
                </c:pt>
                <c:pt idx="701">
                  <c:v>35556</c:v>
                </c:pt>
                <c:pt idx="702">
                  <c:v>35557</c:v>
                </c:pt>
                <c:pt idx="703">
                  <c:v>35559</c:v>
                </c:pt>
                <c:pt idx="704">
                  <c:v>35562</c:v>
                </c:pt>
                <c:pt idx="705">
                  <c:v>35563</c:v>
                </c:pt>
                <c:pt idx="706">
                  <c:v>35564</c:v>
                </c:pt>
                <c:pt idx="707">
                  <c:v>35565</c:v>
                </c:pt>
                <c:pt idx="708">
                  <c:v>35566</c:v>
                </c:pt>
                <c:pt idx="709">
                  <c:v>35570</c:v>
                </c:pt>
                <c:pt idx="710">
                  <c:v>35571</c:v>
                </c:pt>
                <c:pt idx="711">
                  <c:v>35572</c:v>
                </c:pt>
                <c:pt idx="712">
                  <c:v>35573</c:v>
                </c:pt>
                <c:pt idx="713">
                  <c:v>35576</c:v>
                </c:pt>
                <c:pt idx="714">
                  <c:v>35577</c:v>
                </c:pt>
                <c:pt idx="715">
                  <c:v>35578</c:v>
                </c:pt>
                <c:pt idx="716">
                  <c:v>35579</c:v>
                </c:pt>
                <c:pt idx="717">
                  <c:v>35580</c:v>
                </c:pt>
                <c:pt idx="718">
                  <c:v>35583</c:v>
                </c:pt>
                <c:pt idx="719">
                  <c:v>35584</c:v>
                </c:pt>
                <c:pt idx="720">
                  <c:v>35585</c:v>
                </c:pt>
                <c:pt idx="721">
                  <c:v>35586</c:v>
                </c:pt>
                <c:pt idx="722">
                  <c:v>35587</c:v>
                </c:pt>
                <c:pt idx="723">
                  <c:v>35590</c:v>
                </c:pt>
                <c:pt idx="724">
                  <c:v>35591</c:v>
                </c:pt>
                <c:pt idx="725">
                  <c:v>35592</c:v>
                </c:pt>
                <c:pt idx="726">
                  <c:v>35593</c:v>
                </c:pt>
                <c:pt idx="727">
                  <c:v>35594</c:v>
                </c:pt>
                <c:pt idx="728">
                  <c:v>35597</c:v>
                </c:pt>
                <c:pt idx="729">
                  <c:v>35598</c:v>
                </c:pt>
                <c:pt idx="730">
                  <c:v>35599</c:v>
                </c:pt>
                <c:pt idx="731">
                  <c:v>35600</c:v>
                </c:pt>
                <c:pt idx="732">
                  <c:v>35601</c:v>
                </c:pt>
                <c:pt idx="733">
                  <c:v>35604</c:v>
                </c:pt>
                <c:pt idx="734">
                  <c:v>35605</c:v>
                </c:pt>
                <c:pt idx="735">
                  <c:v>35606</c:v>
                </c:pt>
                <c:pt idx="736">
                  <c:v>35607</c:v>
                </c:pt>
                <c:pt idx="737">
                  <c:v>35608</c:v>
                </c:pt>
                <c:pt idx="738">
                  <c:v>35611</c:v>
                </c:pt>
                <c:pt idx="739">
                  <c:v>35612</c:v>
                </c:pt>
                <c:pt idx="740">
                  <c:v>35613</c:v>
                </c:pt>
                <c:pt idx="741">
                  <c:v>35614</c:v>
                </c:pt>
                <c:pt idx="742">
                  <c:v>35615</c:v>
                </c:pt>
                <c:pt idx="743">
                  <c:v>35618</c:v>
                </c:pt>
                <c:pt idx="744">
                  <c:v>35619</c:v>
                </c:pt>
                <c:pt idx="745">
                  <c:v>35620</c:v>
                </c:pt>
                <c:pt idx="746">
                  <c:v>35621</c:v>
                </c:pt>
                <c:pt idx="747">
                  <c:v>35622</c:v>
                </c:pt>
                <c:pt idx="748">
                  <c:v>35625</c:v>
                </c:pt>
                <c:pt idx="749">
                  <c:v>35626</c:v>
                </c:pt>
                <c:pt idx="750">
                  <c:v>35627</c:v>
                </c:pt>
                <c:pt idx="751">
                  <c:v>35628</c:v>
                </c:pt>
                <c:pt idx="752">
                  <c:v>35629</c:v>
                </c:pt>
                <c:pt idx="753">
                  <c:v>35632</c:v>
                </c:pt>
                <c:pt idx="754">
                  <c:v>35633</c:v>
                </c:pt>
                <c:pt idx="755">
                  <c:v>35634</c:v>
                </c:pt>
                <c:pt idx="756">
                  <c:v>35635</c:v>
                </c:pt>
                <c:pt idx="757">
                  <c:v>35636</c:v>
                </c:pt>
                <c:pt idx="758">
                  <c:v>35639</c:v>
                </c:pt>
                <c:pt idx="759">
                  <c:v>35640</c:v>
                </c:pt>
                <c:pt idx="760">
                  <c:v>35641</c:v>
                </c:pt>
                <c:pt idx="761">
                  <c:v>35642</c:v>
                </c:pt>
                <c:pt idx="762">
                  <c:v>35643</c:v>
                </c:pt>
                <c:pt idx="763">
                  <c:v>35646</c:v>
                </c:pt>
                <c:pt idx="764">
                  <c:v>35647</c:v>
                </c:pt>
                <c:pt idx="765">
                  <c:v>35648</c:v>
                </c:pt>
                <c:pt idx="766">
                  <c:v>35649</c:v>
                </c:pt>
                <c:pt idx="767">
                  <c:v>35650</c:v>
                </c:pt>
                <c:pt idx="768">
                  <c:v>35653</c:v>
                </c:pt>
                <c:pt idx="769">
                  <c:v>35654</c:v>
                </c:pt>
                <c:pt idx="770">
                  <c:v>35655</c:v>
                </c:pt>
                <c:pt idx="771">
                  <c:v>35656</c:v>
                </c:pt>
                <c:pt idx="772">
                  <c:v>35657</c:v>
                </c:pt>
                <c:pt idx="773">
                  <c:v>35660</c:v>
                </c:pt>
                <c:pt idx="774">
                  <c:v>35661</c:v>
                </c:pt>
                <c:pt idx="775">
                  <c:v>35662</c:v>
                </c:pt>
                <c:pt idx="776">
                  <c:v>35663</c:v>
                </c:pt>
                <c:pt idx="777">
                  <c:v>35664</c:v>
                </c:pt>
                <c:pt idx="778">
                  <c:v>35667</c:v>
                </c:pt>
                <c:pt idx="779">
                  <c:v>35668</c:v>
                </c:pt>
                <c:pt idx="780">
                  <c:v>35669</c:v>
                </c:pt>
                <c:pt idx="781">
                  <c:v>35670</c:v>
                </c:pt>
                <c:pt idx="782">
                  <c:v>35671</c:v>
                </c:pt>
                <c:pt idx="783">
                  <c:v>35674</c:v>
                </c:pt>
                <c:pt idx="784">
                  <c:v>35675</c:v>
                </c:pt>
                <c:pt idx="785">
                  <c:v>35676</c:v>
                </c:pt>
                <c:pt idx="786">
                  <c:v>35677</c:v>
                </c:pt>
                <c:pt idx="787">
                  <c:v>35678</c:v>
                </c:pt>
                <c:pt idx="788">
                  <c:v>35681</c:v>
                </c:pt>
                <c:pt idx="789">
                  <c:v>35682</c:v>
                </c:pt>
                <c:pt idx="790">
                  <c:v>35683</c:v>
                </c:pt>
                <c:pt idx="791">
                  <c:v>35684</c:v>
                </c:pt>
                <c:pt idx="792">
                  <c:v>35685</c:v>
                </c:pt>
                <c:pt idx="793">
                  <c:v>35688</c:v>
                </c:pt>
                <c:pt idx="794">
                  <c:v>35689</c:v>
                </c:pt>
                <c:pt idx="795">
                  <c:v>35690</c:v>
                </c:pt>
                <c:pt idx="796">
                  <c:v>35691</c:v>
                </c:pt>
                <c:pt idx="797">
                  <c:v>35692</c:v>
                </c:pt>
                <c:pt idx="798">
                  <c:v>35695</c:v>
                </c:pt>
                <c:pt idx="799">
                  <c:v>35696</c:v>
                </c:pt>
                <c:pt idx="800">
                  <c:v>35697</c:v>
                </c:pt>
                <c:pt idx="801">
                  <c:v>35698</c:v>
                </c:pt>
                <c:pt idx="802">
                  <c:v>35699</c:v>
                </c:pt>
                <c:pt idx="803">
                  <c:v>35702</c:v>
                </c:pt>
                <c:pt idx="804">
                  <c:v>35703</c:v>
                </c:pt>
                <c:pt idx="805">
                  <c:v>35704</c:v>
                </c:pt>
                <c:pt idx="806">
                  <c:v>35705</c:v>
                </c:pt>
                <c:pt idx="807">
                  <c:v>35706</c:v>
                </c:pt>
                <c:pt idx="808">
                  <c:v>35709</c:v>
                </c:pt>
                <c:pt idx="809">
                  <c:v>35710</c:v>
                </c:pt>
                <c:pt idx="810">
                  <c:v>35711</c:v>
                </c:pt>
                <c:pt idx="811">
                  <c:v>35712</c:v>
                </c:pt>
                <c:pt idx="812">
                  <c:v>35713</c:v>
                </c:pt>
                <c:pt idx="813">
                  <c:v>35716</c:v>
                </c:pt>
                <c:pt idx="814">
                  <c:v>35717</c:v>
                </c:pt>
                <c:pt idx="815">
                  <c:v>35718</c:v>
                </c:pt>
                <c:pt idx="816">
                  <c:v>35719</c:v>
                </c:pt>
                <c:pt idx="817">
                  <c:v>35720</c:v>
                </c:pt>
                <c:pt idx="818">
                  <c:v>35723</c:v>
                </c:pt>
                <c:pt idx="819">
                  <c:v>35724</c:v>
                </c:pt>
                <c:pt idx="820">
                  <c:v>35725</c:v>
                </c:pt>
                <c:pt idx="821">
                  <c:v>35726</c:v>
                </c:pt>
                <c:pt idx="822">
                  <c:v>35727</c:v>
                </c:pt>
                <c:pt idx="823">
                  <c:v>35730</c:v>
                </c:pt>
                <c:pt idx="824">
                  <c:v>35731</c:v>
                </c:pt>
                <c:pt idx="825">
                  <c:v>35732</c:v>
                </c:pt>
                <c:pt idx="826">
                  <c:v>35733</c:v>
                </c:pt>
                <c:pt idx="827">
                  <c:v>35734</c:v>
                </c:pt>
                <c:pt idx="828">
                  <c:v>35737</c:v>
                </c:pt>
                <c:pt idx="829">
                  <c:v>35738</c:v>
                </c:pt>
                <c:pt idx="830">
                  <c:v>35739</c:v>
                </c:pt>
                <c:pt idx="831">
                  <c:v>35740</c:v>
                </c:pt>
                <c:pt idx="832">
                  <c:v>35741</c:v>
                </c:pt>
                <c:pt idx="833">
                  <c:v>35744</c:v>
                </c:pt>
                <c:pt idx="834">
                  <c:v>35746</c:v>
                </c:pt>
                <c:pt idx="835">
                  <c:v>35747</c:v>
                </c:pt>
                <c:pt idx="836">
                  <c:v>35748</c:v>
                </c:pt>
                <c:pt idx="837">
                  <c:v>35751</c:v>
                </c:pt>
                <c:pt idx="838">
                  <c:v>35752</c:v>
                </c:pt>
                <c:pt idx="839">
                  <c:v>35753</c:v>
                </c:pt>
                <c:pt idx="840">
                  <c:v>35754</c:v>
                </c:pt>
                <c:pt idx="841">
                  <c:v>35755</c:v>
                </c:pt>
                <c:pt idx="842">
                  <c:v>35758</c:v>
                </c:pt>
                <c:pt idx="843">
                  <c:v>35759</c:v>
                </c:pt>
                <c:pt idx="844">
                  <c:v>35760</c:v>
                </c:pt>
                <c:pt idx="845">
                  <c:v>35761</c:v>
                </c:pt>
                <c:pt idx="846">
                  <c:v>35762</c:v>
                </c:pt>
                <c:pt idx="847">
                  <c:v>35765</c:v>
                </c:pt>
                <c:pt idx="848">
                  <c:v>35766</c:v>
                </c:pt>
                <c:pt idx="849">
                  <c:v>35767</c:v>
                </c:pt>
                <c:pt idx="850">
                  <c:v>35768</c:v>
                </c:pt>
                <c:pt idx="851">
                  <c:v>35769</c:v>
                </c:pt>
                <c:pt idx="852">
                  <c:v>35772</c:v>
                </c:pt>
                <c:pt idx="853">
                  <c:v>35773</c:v>
                </c:pt>
                <c:pt idx="854">
                  <c:v>35774</c:v>
                </c:pt>
                <c:pt idx="855">
                  <c:v>35775</c:v>
                </c:pt>
                <c:pt idx="856">
                  <c:v>35776</c:v>
                </c:pt>
                <c:pt idx="857">
                  <c:v>35779</c:v>
                </c:pt>
                <c:pt idx="858">
                  <c:v>35780</c:v>
                </c:pt>
                <c:pt idx="859">
                  <c:v>35781</c:v>
                </c:pt>
                <c:pt idx="860">
                  <c:v>35782</c:v>
                </c:pt>
                <c:pt idx="861">
                  <c:v>35783</c:v>
                </c:pt>
                <c:pt idx="862">
                  <c:v>35786</c:v>
                </c:pt>
                <c:pt idx="863">
                  <c:v>35787</c:v>
                </c:pt>
                <c:pt idx="864">
                  <c:v>35793</c:v>
                </c:pt>
                <c:pt idx="865">
                  <c:v>35794</c:v>
                </c:pt>
                <c:pt idx="866">
                  <c:v>35797</c:v>
                </c:pt>
                <c:pt idx="867">
                  <c:v>35800</c:v>
                </c:pt>
                <c:pt idx="868">
                  <c:v>35801</c:v>
                </c:pt>
                <c:pt idx="869">
                  <c:v>35802</c:v>
                </c:pt>
                <c:pt idx="870">
                  <c:v>35803</c:v>
                </c:pt>
                <c:pt idx="871">
                  <c:v>35804</c:v>
                </c:pt>
                <c:pt idx="872">
                  <c:v>35807</c:v>
                </c:pt>
                <c:pt idx="873">
                  <c:v>35808</c:v>
                </c:pt>
                <c:pt idx="874">
                  <c:v>35809</c:v>
                </c:pt>
                <c:pt idx="875">
                  <c:v>35810</c:v>
                </c:pt>
                <c:pt idx="876">
                  <c:v>35811</c:v>
                </c:pt>
                <c:pt idx="877">
                  <c:v>35814</c:v>
                </c:pt>
                <c:pt idx="878">
                  <c:v>35815</c:v>
                </c:pt>
                <c:pt idx="879">
                  <c:v>35816</c:v>
                </c:pt>
                <c:pt idx="880">
                  <c:v>35817</c:v>
                </c:pt>
                <c:pt idx="881">
                  <c:v>35818</c:v>
                </c:pt>
                <c:pt idx="882">
                  <c:v>35821</c:v>
                </c:pt>
                <c:pt idx="883">
                  <c:v>35822</c:v>
                </c:pt>
                <c:pt idx="884">
                  <c:v>35823</c:v>
                </c:pt>
                <c:pt idx="885">
                  <c:v>35824</c:v>
                </c:pt>
                <c:pt idx="886">
                  <c:v>35825</c:v>
                </c:pt>
                <c:pt idx="887">
                  <c:v>35828</c:v>
                </c:pt>
                <c:pt idx="888">
                  <c:v>35829</c:v>
                </c:pt>
                <c:pt idx="889">
                  <c:v>35830</c:v>
                </c:pt>
                <c:pt idx="890">
                  <c:v>35831</c:v>
                </c:pt>
                <c:pt idx="891">
                  <c:v>35832</c:v>
                </c:pt>
                <c:pt idx="892">
                  <c:v>35835</c:v>
                </c:pt>
                <c:pt idx="893">
                  <c:v>35836</c:v>
                </c:pt>
                <c:pt idx="894">
                  <c:v>35837</c:v>
                </c:pt>
                <c:pt idx="895">
                  <c:v>35838</c:v>
                </c:pt>
                <c:pt idx="896">
                  <c:v>35839</c:v>
                </c:pt>
                <c:pt idx="897">
                  <c:v>35842</c:v>
                </c:pt>
                <c:pt idx="898">
                  <c:v>35843</c:v>
                </c:pt>
                <c:pt idx="899">
                  <c:v>35844</c:v>
                </c:pt>
                <c:pt idx="900">
                  <c:v>35845</c:v>
                </c:pt>
                <c:pt idx="901">
                  <c:v>35846</c:v>
                </c:pt>
                <c:pt idx="902">
                  <c:v>35849</c:v>
                </c:pt>
                <c:pt idx="903">
                  <c:v>35850</c:v>
                </c:pt>
                <c:pt idx="904">
                  <c:v>35851</c:v>
                </c:pt>
                <c:pt idx="905">
                  <c:v>35852</c:v>
                </c:pt>
                <c:pt idx="906">
                  <c:v>35853</c:v>
                </c:pt>
                <c:pt idx="907">
                  <c:v>35856</c:v>
                </c:pt>
                <c:pt idx="908">
                  <c:v>35857</c:v>
                </c:pt>
                <c:pt idx="909">
                  <c:v>35858</c:v>
                </c:pt>
                <c:pt idx="910">
                  <c:v>35859</c:v>
                </c:pt>
                <c:pt idx="911">
                  <c:v>35860</c:v>
                </c:pt>
                <c:pt idx="912">
                  <c:v>35863</c:v>
                </c:pt>
                <c:pt idx="913">
                  <c:v>35864</c:v>
                </c:pt>
                <c:pt idx="914">
                  <c:v>35865</c:v>
                </c:pt>
                <c:pt idx="915">
                  <c:v>35866</c:v>
                </c:pt>
                <c:pt idx="916">
                  <c:v>35867</c:v>
                </c:pt>
                <c:pt idx="917">
                  <c:v>35870</c:v>
                </c:pt>
                <c:pt idx="918">
                  <c:v>35871</c:v>
                </c:pt>
                <c:pt idx="919">
                  <c:v>35872</c:v>
                </c:pt>
                <c:pt idx="920">
                  <c:v>35873</c:v>
                </c:pt>
                <c:pt idx="921">
                  <c:v>35874</c:v>
                </c:pt>
                <c:pt idx="922">
                  <c:v>35877</c:v>
                </c:pt>
                <c:pt idx="923">
                  <c:v>35878</c:v>
                </c:pt>
                <c:pt idx="924">
                  <c:v>35879</c:v>
                </c:pt>
                <c:pt idx="925">
                  <c:v>35880</c:v>
                </c:pt>
                <c:pt idx="926">
                  <c:v>35881</c:v>
                </c:pt>
                <c:pt idx="927">
                  <c:v>35884</c:v>
                </c:pt>
                <c:pt idx="928">
                  <c:v>35885</c:v>
                </c:pt>
                <c:pt idx="929">
                  <c:v>35886</c:v>
                </c:pt>
                <c:pt idx="930">
                  <c:v>35887</c:v>
                </c:pt>
                <c:pt idx="931">
                  <c:v>35891</c:v>
                </c:pt>
                <c:pt idx="932">
                  <c:v>35892</c:v>
                </c:pt>
                <c:pt idx="933">
                  <c:v>35893</c:v>
                </c:pt>
                <c:pt idx="934">
                  <c:v>35894</c:v>
                </c:pt>
                <c:pt idx="935">
                  <c:v>35899</c:v>
                </c:pt>
                <c:pt idx="936">
                  <c:v>35900</c:v>
                </c:pt>
                <c:pt idx="937">
                  <c:v>35901</c:v>
                </c:pt>
                <c:pt idx="938">
                  <c:v>35902</c:v>
                </c:pt>
                <c:pt idx="939">
                  <c:v>35905</c:v>
                </c:pt>
                <c:pt idx="940">
                  <c:v>35906</c:v>
                </c:pt>
                <c:pt idx="941">
                  <c:v>35907</c:v>
                </c:pt>
                <c:pt idx="942">
                  <c:v>35908</c:v>
                </c:pt>
                <c:pt idx="943">
                  <c:v>35909</c:v>
                </c:pt>
                <c:pt idx="944">
                  <c:v>35912</c:v>
                </c:pt>
                <c:pt idx="945">
                  <c:v>35913</c:v>
                </c:pt>
                <c:pt idx="946">
                  <c:v>35914</c:v>
                </c:pt>
                <c:pt idx="947">
                  <c:v>35915</c:v>
                </c:pt>
                <c:pt idx="948">
                  <c:v>35919</c:v>
                </c:pt>
                <c:pt idx="949">
                  <c:v>35920</c:v>
                </c:pt>
                <c:pt idx="950">
                  <c:v>35921</c:v>
                </c:pt>
                <c:pt idx="951">
                  <c:v>35922</c:v>
                </c:pt>
                <c:pt idx="952">
                  <c:v>35923</c:v>
                </c:pt>
                <c:pt idx="953">
                  <c:v>35926</c:v>
                </c:pt>
                <c:pt idx="954">
                  <c:v>35927</c:v>
                </c:pt>
                <c:pt idx="955">
                  <c:v>35928</c:v>
                </c:pt>
                <c:pt idx="956">
                  <c:v>35929</c:v>
                </c:pt>
                <c:pt idx="957">
                  <c:v>35930</c:v>
                </c:pt>
                <c:pt idx="958">
                  <c:v>35933</c:v>
                </c:pt>
                <c:pt idx="959">
                  <c:v>35934</c:v>
                </c:pt>
                <c:pt idx="960">
                  <c:v>35935</c:v>
                </c:pt>
                <c:pt idx="961">
                  <c:v>35936</c:v>
                </c:pt>
                <c:pt idx="962">
                  <c:v>35937</c:v>
                </c:pt>
                <c:pt idx="963">
                  <c:v>35940</c:v>
                </c:pt>
                <c:pt idx="964">
                  <c:v>35941</c:v>
                </c:pt>
                <c:pt idx="965">
                  <c:v>35942</c:v>
                </c:pt>
                <c:pt idx="966">
                  <c:v>35943</c:v>
                </c:pt>
                <c:pt idx="967">
                  <c:v>35944</c:v>
                </c:pt>
                <c:pt idx="968">
                  <c:v>35947</c:v>
                </c:pt>
                <c:pt idx="969">
                  <c:v>35948</c:v>
                </c:pt>
                <c:pt idx="970">
                  <c:v>35949</c:v>
                </c:pt>
                <c:pt idx="971">
                  <c:v>35950</c:v>
                </c:pt>
                <c:pt idx="972">
                  <c:v>35951</c:v>
                </c:pt>
                <c:pt idx="973">
                  <c:v>35954</c:v>
                </c:pt>
                <c:pt idx="974">
                  <c:v>35955</c:v>
                </c:pt>
                <c:pt idx="975">
                  <c:v>35956</c:v>
                </c:pt>
                <c:pt idx="976">
                  <c:v>35957</c:v>
                </c:pt>
                <c:pt idx="977">
                  <c:v>35958</c:v>
                </c:pt>
                <c:pt idx="978">
                  <c:v>35961</c:v>
                </c:pt>
                <c:pt idx="979">
                  <c:v>35962</c:v>
                </c:pt>
                <c:pt idx="980">
                  <c:v>35963</c:v>
                </c:pt>
                <c:pt idx="981">
                  <c:v>35964</c:v>
                </c:pt>
                <c:pt idx="982">
                  <c:v>35965</c:v>
                </c:pt>
                <c:pt idx="983">
                  <c:v>35968</c:v>
                </c:pt>
                <c:pt idx="984">
                  <c:v>35969</c:v>
                </c:pt>
                <c:pt idx="985">
                  <c:v>35970</c:v>
                </c:pt>
                <c:pt idx="986">
                  <c:v>35971</c:v>
                </c:pt>
                <c:pt idx="987">
                  <c:v>35972</c:v>
                </c:pt>
                <c:pt idx="988">
                  <c:v>35975</c:v>
                </c:pt>
                <c:pt idx="989">
                  <c:v>35976</c:v>
                </c:pt>
                <c:pt idx="990">
                  <c:v>35977</c:v>
                </c:pt>
                <c:pt idx="991">
                  <c:v>35978</c:v>
                </c:pt>
                <c:pt idx="992">
                  <c:v>35979</c:v>
                </c:pt>
                <c:pt idx="993">
                  <c:v>35982</c:v>
                </c:pt>
                <c:pt idx="994">
                  <c:v>35983</c:v>
                </c:pt>
                <c:pt idx="995">
                  <c:v>35984</c:v>
                </c:pt>
                <c:pt idx="996">
                  <c:v>35985</c:v>
                </c:pt>
                <c:pt idx="997">
                  <c:v>35986</c:v>
                </c:pt>
                <c:pt idx="998">
                  <c:v>35989</c:v>
                </c:pt>
                <c:pt idx="999">
                  <c:v>35990</c:v>
                </c:pt>
                <c:pt idx="1000">
                  <c:v>35991</c:v>
                </c:pt>
                <c:pt idx="1001">
                  <c:v>35992</c:v>
                </c:pt>
                <c:pt idx="1002">
                  <c:v>35993</c:v>
                </c:pt>
                <c:pt idx="1003">
                  <c:v>35996</c:v>
                </c:pt>
                <c:pt idx="1004">
                  <c:v>35997</c:v>
                </c:pt>
                <c:pt idx="1005">
                  <c:v>35998</c:v>
                </c:pt>
                <c:pt idx="1006">
                  <c:v>35999</c:v>
                </c:pt>
                <c:pt idx="1007">
                  <c:v>36000</c:v>
                </c:pt>
                <c:pt idx="1008">
                  <c:v>36003</c:v>
                </c:pt>
                <c:pt idx="1009">
                  <c:v>36004</c:v>
                </c:pt>
                <c:pt idx="1010">
                  <c:v>36005</c:v>
                </c:pt>
                <c:pt idx="1011">
                  <c:v>36006</c:v>
                </c:pt>
                <c:pt idx="1012">
                  <c:v>36007</c:v>
                </c:pt>
                <c:pt idx="1013">
                  <c:v>36010</c:v>
                </c:pt>
                <c:pt idx="1014">
                  <c:v>36011</c:v>
                </c:pt>
                <c:pt idx="1015">
                  <c:v>36012</c:v>
                </c:pt>
                <c:pt idx="1016">
                  <c:v>36013</c:v>
                </c:pt>
                <c:pt idx="1017">
                  <c:v>36014</c:v>
                </c:pt>
                <c:pt idx="1018">
                  <c:v>36017</c:v>
                </c:pt>
                <c:pt idx="1019">
                  <c:v>36018</c:v>
                </c:pt>
                <c:pt idx="1020">
                  <c:v>36019</c:v>
                </c:pt>
                <c:pt idx="1021">
                  <c:v>36020</c:v>
                </c:pt>
                <c:pt idx="1022">
                  <c:v>36021</c:v>
                </c:pt>
                <c:pt idx="1023">
                  <c:v>36024</c:v>
                </c:pt>
                <c:pt idx="1024">
                  <c:v>36025</c:v>
                </c:pt>
                <c:pt idx="1025">
                  <c:v>36026</c:v>
                </c:pt>
                <c:pt idx="1026">
                  <c:v>36027</c:v>
                </c:pt>
                <c:pt idx="1027">
                  <c:v>36028</c:v>
                </c:pt>
                <c:pt idx="1028">
                  <c:v>36031</c:v>
                </c:pt>
                <c:pt idx="1029">
                  <c:v>36032</c:v>
                </c:pt>
                <c:pt idx="1030">
                  <c:v>36033</c:v>
                </c:pt>
                <c:pt idx="1031">
                  <c:v>36034</c:v>
                </c:pt>
                <c:pt idx="1032">
                  <c:v>36035</c:v>
                </c:pt>
                <c:pt idx="1033">
                  <c:v>36038</c:v>
                </c:pt>
                <c:pt idx="1034">
                  <c:v>36039</c:v>
                </c:pt>
                <c:pt idx="1035">
                  <c:v>36040</c:v>
                </c:pt>
                <c:pt idx="1036">
                  <c:v>36041</c:v>
                </c:pt>
                <c:pt idx="1037">
                  <c:v>36042</c:v>
                </c:pt>
                <c:pt idx="1038">
                  <c:v>36045</c:v>
                </c:pt>
                <c:pt idx="1039">
                  <c:v>36046</c:v>
                </c:pt>
                <c:pt idx="1040">
                  <c:v>36047</c:v>
                </c:pt>
                <c:pt idx="1041">
                  <c:v>36048</c:v>
                </c:pt>
                <c:pt idx="1042">
                  <c:v>36049</c:v>
                </c:pt>
                <c:pt idx="1043">
                  <c:v>36052</c:v>
                </c:pt>
                <c:pt idx="1044">
                  <c:v>36053</c:v>
                </c:pt>
                <c:pt idx="1045">
                  <c:v>36054</c:v>
                </c:pt>
                <c:pt idx="1046">
                  <c:v>36055</c:v>
                </c:pt>
                <c:pt idx="1047">
                  <c:v>36056</c:v>
                </c:pt>
                <c:pt idx="1048">
                  <c:v>36059</c:v>
                </c:pt>
                <c:pt idx="1049">
                  <c:v>36060</c:v>
                </c:pt>
                <c:pt idx="1050">
                  <c:v>36061</c:v>
                </c:pt>
                <c:pt idx="1051">
                  <c:v>36062</c:v>
                </c:pt>
                <c:pt idx="1052">
                  <c:v>36063</c:v>
                </c:pt>
                <c:pt idx="1053">
                  <c:v>36066</c:v>
                </c:pt>
                <c:pt idx="1054">
                  <c:v>36067</c:v>
                </c:pt>
                <c:pt idx="1055">
                  <c:v>36068</c:v>
                </c:pt>
                <c:pt idx="1056">
                  <c:v>36069</c:v>
                </c:pt>
                <c:pt idx="1057">
                  <c:v>36070</c:v>
                </c:pt>
                <c:pt idx="1058">
                  <c:v>36073</c:v>
                </c:pt>
                <c:pt idx="1059">
                  <c:v>36074</c:v>
                </c:pt>
                <c:pt idx="1060">
                  <c:v>36075</c:v>
                </c:pt>
                <c:pt idx="1061">
                  <c:v>36076</c:v>
                </c:pt>
                <c:pt idx="1062">
                  <c:v>36077</c:v>
                </c:pt>
                <c:pt idx="1063">
                  <c:v>36080</c:v>
                </c:pt>
                <c:pt idx="1064">
                  <c:v>36081</c:v>
                </c:pt>
                <c:pt idx="1065">
                  <c:v>36082</c:v>
                </c:pt>
                <c:pt idx="1066">
                  <c:v>36083</c:v>
                </c:pt>
                <c:pt idx="1067">
                  <c:v>36084</c:v>
                </c:pt>
                <c:pt idx="1068">
                  <c:v>36087</c:v>
                </c:pt>
                <c:pt idx="1069">
                  <c:v>36088</c:v>
                </c:pt>
                <c:pt idx="1070">
                  <c:v>36089</c:v>
                </c:pt>
                <c:pt idx="1071">
                  <c:v>36090</c:v>
                </c:pt>
                <c:pt idx="1072">
                  <c:v>36091</c:v>
                </c:pt>
                <c:pt idx="1073">
                  <c:v>36094</c:v>
                </c:pt>
                <c:pt idx="1074">
                  <c:v>36095</c:v>
                </c:pt>
                <c:pt idx="1075">
                  <c:v>36096</c:v>
                </c:pt>
                <c:pt idx="1076">
                  <c:v>36097</c:v>
                </c:pt>
                <c:pt idx="1077">
                  <c:v>36098</c:v>
                </c:pt>
                <c:pt idx="1078">
                  <c:v>36101</c:v>
                </c:pt>
                <c:pt idx="1079">
                  <c:v>36102</c:v>
                </c:pt>
                <c:pt idx="1080">
                  <c:v>36103</c:v>
                </c:pt>
                <c:pt idx="1081">
                  <c:v>36104</c:v>
                </c:pt>
                <c:pt idx="1082">
                  <c:v>36105</c:v>
                </c:pt>
                <c:pt idx="1083">
                  <c:v>36108</c:v>
                </c:pt>
                <c:pt idx="1084">
                  <c:v>36109</c:v>
                </c:pt>
                <c:pt idx="1085">
                  <c:v>36110</c:v>
                </c:pt>
                <c:pt idx="1086">
                  <c:v>36111</c:v>
                </c:pt>
                <c:pt idx="1087">
                  <c:v>36112</c:v>
                </c:pt>
                <c:pt idx="1088">
                  <c:v>36115</c:v>
                </c:pt>
                <c:pt idx="1089">
                  <c:v>36116</c:v>
                </c:pt>
                <c:pt idx="1090">
                  <c:v>36117</c:v>
                </c:pt>
                <c:pt idx="1091">
                  <c:v>36118</c:v>
                </c:pt>
                <c:pt idx="1092">
                  <c:v>36119</c:v>
                </c:pt>
                <c:pt idx="1093">
                  <c:v>36122</c:v>
                </c:pt>
                <c:pt idx="1094">
                  <c:v>36123</c:v>
                </c:pt>
                <c:pt idx="1095">
                  <c:v>36124</c:v>
                </c:pt>
                <c:pt idx="1096">
                  <c:v>36125</c:v>
                </c:pt>
                <c:pt idx="1097">
                  <c:v>36126</c:v>
                </c:pt>
                <c:pt idx="1098">
                  <c:v>36129</c:v>
                </c:pt>
                <c:pt idx="1099">
                  <c:v>36130</c:v>
                </c:pt>
                <c:pt idx="1100">
                  <c:v>36131</c:v>
                </c:pt>
                <c:pt idx="1101">
                  <c:v>36132</c:v>
                </c:pt>
                <c:pt idx="1102">
                  <c:v>36133</c:v>
                </c:pt>
                <c:pt idx="1103">
                  <c:v>36136</c:v>
                </c:pt>
                <c:pt idx="1104">
                  <c:v>36137</c:v>
                </c:pt>
                <c:pt idx="1105">
                  <c:v>36138</c:v>
                </c:pt>
                <c:pt idx="1106">
                  <c:v>36139</c:v>
                </c:pt>
                <c:pt idx="1107">
                  <c:v>36140</c:v>
                </c:pt>
                <c:pt idx="1108">
                  <c:v>36143</c:v>
                </c:pt>
                <c:pt idx="1109">
                  <c:v>36144</c:v>
                </c:pt>
                <c:pt idx="1110">
                  <c:v>36145</c:v>
                </c:pt>
                <c:pt idx="1111">
                  <c:v>36146</c:v>
                </c:pt>
                <c:pt idx="1112">
                  <c:v>36147</c:v>
                </c:pt>
                <c:pt idx="1113">
                  <c:v>36150</c:v>
                </c:pt>
                <c:pt idx="1114">
                  <c:v>36151</c:v>
                </c:pt>
                <c:pt idx="1115">
                  <c:v>36152</c:v>
                </c:pt>
                <c:pt idx="1116">
                  <c:v>36157</c:v>
                </c:pt>
                <c:pt idx="1117">
                  <c:v>36158</c:v>
                </c:pt>
                <c:pt idx="1118">
                  <c:v>36159</c:v>
                </c:pt>
                <c:pt idx="1119">
                  <c:v>36164</c:v>
                </c:pt>
                <c:pt idx="1120">
                  <c:v>36165</c:v>
                </c:pt>
                <c:pt idx="1121">
                  <c:v>36166</c:v>
                </c:pt>
                <c:pt idx="1122">
                  <c:v>36167</c:v>
                </c:pt>
                <c:pt idx="1123">
                  <c:v>36168</c:v>
                </c:pt>
                <c:pt idx="1124">
                  <c:v>36171</c:v>
                </c:pt>
                <c:pt idx="1125">
                  <c:v>36172</c:v>
                </c:pt>
                <c:pt idx="1126">
                  <c:v>36173</c:v>
                </c:pt>
                <c:pt idx="1127">
                  <c:v>36174</c:v>
                </c:pt>
                <c:pt idx="1128">
                  <c:v>36175</c:v>
                </c:pt>
                <c:pt idx="1129">
                  <c:v>36178</c:v>
                </c:pt>
                <c:pt idx="1130">
                  <c:v>36179</c:v>
                </c:pt>
                <c:pt idx="1131">
                  <c:v>36180</c:v>
                </c:pt>
                <c:pt idx="1132">
                  <c:v>36181</c:v>
                </c:pt>
                <c:pt idx="1133">
                  <c:v>36182</c:v>
                </c:pt>
                <c:pt idx="1134">
                  <c:v>36185</c:v>
                </c:pt>
                <c:pt idx="1135">
                  <c:v>36186</c:v>
                </c:pt>
                <c:pt idx="1136">
                  <c:v>36187</c:v>
                </c:pt>
                <c:pt idx="1137">
                  <c:v>36188</c:v>
                </c:pt>
                <c:pt idx="1138">
                  <c:v>36189</c:v>
                </c:pt>
                <c:pt idx="1139">
                  <c:v>36192</c:v>
                </c:pt>
                <c:pt idx="1140">
                  <c:v>36193</c:v>
                </c:pt>
                <c:pt idx="1141">
                  <c:v>36194</c:v>
                </c:pt>
                <c:pt idx="1142">
                  <c:v>36195</c:v>
                </c:pt>
                <c:pt idx="1143">
                  <c:v>36196</c:v>
                </c:pt>
                <c:pt idx="1144">
                  <c:v>36199</c:v>
                </c:pt>
                <c:pt idx="1145">
                  <c:v>36200</c:v>
                </c:pt>
                <c:pt idx="1146">
                  <c:v>36201</c:v>
                </c:pt>
                <c:pt idx="1147">
                  <c:v>36202</c:v>
                </c:pt>
                <c:pt idx="1148">
                  <c:v>36203</c:v>
                </c:pt>
                <c:pt idx="1149">
                  <c:v>36206</c:v>
                </c:pt>
                <c:pt idx="1150">
                  <c:v>36207</c:v>
                </c:pt>
                <c:pt idx="1151">
                  <c:v>36208</c:v>
                </c:pt>
                <c:pt idx="1152">
                  <c:v>36209</c:v>
                </c:pt>
                <c:pt idx="1153">
                  <c:v>36210</c:v>
                </c:pt>
                <c:pt idx="1154">
                  <c:v>36213</c:v>
                </c:pt>
                <c:pt idx="1155">
                  <c:v>36214</c:v>
                </c:pt>
                <c:pt idx="1156">
                  <c:v>36215</c:v>
                </c:pt>
                <c:pt idx="1157">
                  <c:v>36216</c:v>
                </c:pt>
                <c:pt idx="1158">
                  <c:v>36217</c:v>
                </c:pt>
                <c:pt idx="1159">
                  <c:v>36220</c:v>
                </c:pt>
                <c:pt idx="1160">
                  <c:v>36221</c:v>
                </c:pt>
                <c:pt idx="1161">
                  <c:v>36222</c:v>
                </c:pt>
                <c:pt idx="1162">
                  <c:v>36223</c:v>
                </c:pt>
                <c:pt idx="1163">
                  <c:v>36224</c:v>
                </c:pt>
                <c:pt idx="1164">
                  <c:v>36227</c:v>
                </c:pt>
                <c:pt idx="1165">
                  <c:v>36228</c:v>
                </c:pt>
                <c:pt idx="1166">
                  <c:v>36229</c:v>
                </c:pt>
                <c:pt idx="1167">
                  <c:v>36230</c:v>
                </c:pt>
                <c:pt idx="1168">
                  <c:v>36231</c:v>
                </c:pt>
                <c:pt idx="1169">
                  <c:v>36234</c:v>
                </c:pt>
                <c:pt idx="1170">
                  <c:v>36235</c:v>
                </c:pt>
                <c:pt idx="1171">
                  <c:v>36236</c:v>
                </c:pt>
                <c:pt idx="1172">
                  <c:v>36237</c:v>
                </c:pt>
                <c:pt idx="1173">
                  <c:v>36238</c:v>
                </c:pt>
                <c:pt idx="1174">
                  <c:v>36241</c:v>
                </c:pt>
                <c:pt idx="1175">
                  <c:v>36242</c:v>
                </c:pt>
                <c:pt idx="1176">
                  <c:v>36243</c:v>
                </c:pt>
                <c:pt idx="1177">
                  <c:v>36244</c:v>
                </c:pt>
                <c:pt idx="1178">
                  <c:v>36245</c:v>
                </c:pt>
                <c:pt idx="1179">
                  <c:v>36248</c:v>
                </c:pt>
                <c:pt idx="1180">
                  <c:v>36249</c:v>
                </c:pt>
                <c:pt idx="1181">
                  <c:v>36250</c:v>
                </c:pt>
                <c:pt idx="1182">
                  <c:v>36251</c:v>
                </c:pt>
                <c:pt idx="1183">
                  <c:v>36252</c:v>
                </c:pt>
                <c:pt idx="1184">
                  <c:v>36255</c:v>
                </c:pt>
                <c:pt idx="1185">
                  <c:v>36256</c:v>
                </c:pt>
                <c:pt idx="1186">
                  <c:v>36257</c:v>
                </c:pt>
                <c:pt idx="1187">
                  <c:v>36258</c:v>
                </c:pt>
                <c:pt idx="1188">
                  <c:v>36259</c:v>
                </c:pt>
                <c:pt idx="1189">
                  <c:v>36262</c:v>
                </c:pt>
                <c:pt idx="1190">
                  <c:v>36263</c:v>
                </c:pt>
                <c:pt idx="1191">
                  <c:v>36264</c:v>
                </c:pt>
                <c:pt idx="1192">
                  <c:v>36265</c:v>
                </c:pt>
                <c:pt idx="1193">
                  <c:v>36266</c:v>
                </c:pt>
                <c:pt idx="1194">
                  <c:v>36269</c:v>
                </c:pt>
                <c:pt idx="1195">
                  <c:v>36270</c:v>
                </c:pt>
                <c:pt idx="1196">
                  <c:v>36271</c:v>
                </c:pt>
                <c:pt idx="1197">
                  <c:v>36272</c:v>
                </c:pt>
                <c:pt idx="1198">
                  <c:v>36273</c:v>
                </c:pt>
                <c:pt idx="1199">
                  <c:v>36276</c:v>
                </c:pt>
                <c:pt idx="1200">
                  <c:v>36277</c:v>
                </c:pt>
                <c:pt idx="1201">
                  <c:v>36278</c:v>
                </c:pt>
                <c:pt idx="1202">
                  <c:v>36279</c:v>
                </c:pt>
                <c:pt idx="1203">
                  <c:v>36280</c:v>
                </c:pt>
                <c:pt idx="1204">
                  <c:v>36283</c:v>
                </c:pt>
                <c:pt idx="1205">
                  <c:v>36284</c:v>
                </c:pt>
                <c:pt idx="1206">
                  <c:v>36285</c:v>
                </c:pt>
                <c:pt idx="1207">
                  <c:v>36286</c:v>
                </c:pt>
                <c:pt idx="1208">
                  <c:v>36287</c:v>
                </c:pt>
                <c:pt idx="1209">
                  <c:v>36290</c:v>
                </c:pt>
                <c:pt idx="1210">
                  <c:v>36291</c:v>
                </c:pt>
                <c:pt idx="1211">
                  <c:v>36292</c:v>
                </c:pt>
                <c:pt idx="1212">
                  <c:v>36293</c:v>
                </c:pt>
                <c:pt idx="1213">
                  <c:v>36294</c:v>
                </c:pt>
                <c:pt idx="1214">
                  <c:v>36297</c:v>
                </c:pt>
                <c:pt idx="1215">
                  <c:v>36298</c:v>
                </c:pt>
                <c:pt idx="1216">
                  <c:v>36299</c:v>
                </c:pt>
                <c:pt idx="1217">
                  <c:v>36300</c:v>
                </c:pt>
                <c:pt idx="1218">
                  <c:v>36301</c:v>
                </c:pt>
                <c:pt idx="1219">
                  <c:v>36304</c:v>
                </c:pt>
                <c:pt idx="1220">
                  <c:v>36305</c:v>
                </c:pt>
                <c:pt idx="1221">
                  <c:v>36306</c:v>
                </c:pt>
                <c:pt idx="1222">
                  <c:v>36307</c:v>
                </c:pt>
                <c:pt idx="1223">
                  <c:v>36308</c:v>
                </c:pt>
                <c:pt idx="1224">
                  <c:v>36311</c:v>
                </c:pt>
                <c:pt idx="1225">
                  <c:v>36312</c:v>
                </c:pt>
                <c:pt idx="1226">
                  <c:v>36313</c:v>
                </c:pt>
                <c:pt idx="1227">
                  <c:v>36314</c:v>
                </c:pt>
                <c:pt idx="1228">
                  <c:v>36315</c:v>
                </c:pt>
                <c:pt idx="1229">
                  <c:v>36318</c:v>
                </c:pt>
                <c:pt idx="1230">
                  <c:v>36319</c:v>
                </c:pt>
                <c:pt idx="1231">
                  <c:v>36320</c:v>
                </c:pt>
                <c:pt idx="1232">
                  <c:v>36321</c:v>
                </c:pt>
                <c:pt idx="1233">
                  <c:v>36322</c:v>
                </c:pt>
                <c:pt idx="1234">
                  <c:v>36325</c:v>
                </c:pt>
                <c:pt idx="1235">
                  <c:v>36326</c:v>
                </c:pt>
                <c:pt idx="1236">
                  <c:v>36327</c:v>
                </c:pt>
                <c:pt idx="1237">
                  <c:v>36328</c:v>
                </c:pt>
                <c:pt idx="1238">
                  <c:v>36329</c:v>
                </c:pt>
                <c:pt idx="1239">
                  <c:v>36332</c:v>
                </c:pt>
                <c:pt idx="1240">
                  <c:v>36333</c:v>
                </c:pt>
                <c:pt idx="1241">
                  <c:v>36334</c:v>
                </c:pt>
                <c:pt idx="1242">
                  <c:v>36335</c:v>
                </c:pt>
                <c:pt idx="1243">
                  <c:v>36336</c:v>
                </c:pt>
                <c:pt idx="1244">
                  <c:v>36339</c:v>
                </c:pt>
                <c:pt idx="1245">
                  <c:v>36340</c:v>
                </c:pt>
                <c:pt idx="1246">
                  <c:v>36341</c:v>
                </c:pt>
                <c:pt idx="1247">
                  <c:v>36342</c:v>
                </c:pt>
                <c:pt idx="1248">
                  <c:v>36343</c:v>
                </c:pt>
                <c:pt idx="1249">
                  <c:v>36346</c:v>
                </c:pt>
                <c:pt idx="1250">
                  <c:v>36347</c:v>
                </c:pt>
                <c:pt idx="1251">
                  <c:v>36348</c:v>
                </c:pt>
                <c:pt idx="1252">
                  <c:v>36349</c:v>
                </c:pt>
                <c:pt idx="1253">
                  <c:v>36350</c:v>
                </c:pt>
                <c:pt idx="1254">
                  <c:v>36353</c:v>
                </c:pt>
                <c:pt idx="1255">
                  <c:v>36354</c:v>
                </c:pt>
                <c:pt idx="1256">
                  <c:v>36355</c:v>
                </c:pt>
                <c:pt idx="1257">
                  <c:v>36356</c:v>
                </c:pt>
                <c:pt idx="1258">
                  <c:v>36357</c:v>
                </c:pt>
                <c:pt idx="1259">
                  <c:v>36360</c:v>
                </c:pt>
                <c:pt idx="1260">
                  <c:v>36361</c:v>
                </c:pt>
                <c:pt idx="1261">
                  <c:v>36362</c:v>
                </c:pt>
                <c:pt idx="1262">
                  <c:v>36363</c:v>
                </c:pt>
                <c:pt idx="1263">
                  <c:v>36364</c:v>
                </c:pt>
                <c:pt idx="1264">
                  <c:v>36367</c:v>
                </c:pt>
                <c:pt idx="1265">
                  <c:v>36368</c:v>
                </c:pt>
                <c:pt idx="1266">
                  <c:v>36369</c:v>
                </c:pt>
                <c:pt idx="1267">
                  <c:v>36370</c:v>
                </c:pt>
                <c:pt idx="1268">
                  <c:v>36371</c:v>
                </c:pt>
                <c:pt idx="1269">
                  <c:v>36374</c:v>
                </c:pt>
                <c:pt idx="1270">
                  <c:v>36375</c:v>
                </c:pt>
                <c:pt idx="1271">
                  <c:v>36376</c:v>
                </c:pt>
                <c:pt idx="1272">
                  <c:v>36377</c:v>
                </c:pt>
                <c:pt idx="1273">
                  <c:v>36378</c:v>
                </c:pt>
                <c:pt idx="1274">
                  <c:v>36381</c:v>
                </c:pt>
                <c:pt idx="1275">
                  <c:v>36382</c:v>
                </c:pt>
                <c:pt idx="1276">
                  <c:v>36383</c:v>
                </c:pt>
                <c:pt idx="1277">
                  <c:v>36384</c:v>
                </c:pt>
                <c:pt idx="1278">
                  <c:v>36385</c:v>
                </c:pt>
                <c:pt idx="1279">
                  <c:v>36388</c:v>
                </c:pt>
                <c:pt idx="1280">
                  <c:v>36389</c:v>
                </c:pt>
                <c:pt idx="1281">
                  <c:v>36390</c:v>
                </c:pt>
                <c:pt idx="1282">
                  <c:v>36391</c:v>
                </c:pt>
                <c:pt idx="1283">
                  <c:v>36392</c:v>
                </c:pt>
                <c:pt idx="1284">
                  <c:v>36395</c:v>
                </c:pt>
                <c:pt idx="1285">
                  <c:v>36396</c:v>
                </c:pt>
                <c:pt idx="1286">
                  <c:v>36397</c:v>
                </c:pt>
                <c:pt idx="1287">
                  <c:v>36398</c:v>
                </c:pt>
                <c:pt idx="1288">
                  <c:v>36399</c:v>
                </c:pt>
                <c:pt idx="1289">
                  <c:v>36402</c:v>
                </c:pt>
                <c:pt idx="1290">
                  <c:v>36403</c:v>
                </c:pt>
                <c:pt idx="1291">
                  <c:v>36404</c:v>
                </c:pt>
                <c:pt idx="1292">
                  <c:v>36405</c:v>
                </c:pt>
                <c:pt idx="1293">
                  <c:v>36406</c:v>
                </c:pt>
                <c:pt idx="1294">
                  <c:v>36409</c:v>
                </c:pt>
                <c:pt idx="1295">
                  <c:v>36410</c:v>
                </c:pt>
                <c:pt idx="1296">
                  <c:v>36411</c:v>
                </c:pt>
                <c:pt idx="1297">
                  <c:v>36412</c:v>
                </c:pt>
                <c:pt idx="1298">
                  <c:v>36413</c:v>
                </c:pt>
                <c:pt idx="1299">
                  <c:v>36416</c:v>
                </c:pt>
                <c:pt idx="1300">
                  <c:v>36417</c:v>
                </c:pt>
                <c:pt idx="1301">
                  <c:v>36418</c:v>
                </c:pt>
                <c:pt idx="1302">
                  <c:v>36419</c:v>
                </c:pt>
                <c:pt idx="1303">
                  <c:v>36420</c:v>
                </c:pt>
                <c:pt idx="1304">
                  <c:v>36423</c:v>
                </c:pt>
                <c:pt idx="1305">
                  <c:v>36424</c:v>
                </c:pt>
                <c:pt idx="1306">
                  <c:v>36425</c:v>
                </c:pt>
                <c:pt idx="1307">
                  <c:v>36426</c:v>
                </c:pt>
                <c:pt idx="1308">
                  <c:v>36427</c:v>
                </c:pt>
                <c:pt idx="1309">
                  <c:v>36430</c:v>
                </c:pt>
                <c:pt idx="1310">
                  <c:v>36431</c:v>
                </c:pt>
                <c:pt idx="1311">
                  <c:v>36432</c:v>
                </c:pt>
                <c:pt idx="1312">
                  <c:v>36433</c:v>
                </c:pt>
                <c:pt idx="1313">
                  <c:v>36434</c:v>
                </c:pt>
                <c:pt idx="1314">
                  <c:v>36437</c:v>
                </c:pt>
                <c:pt idx="1315">
                  <c:v>36438</c:v>
                </c:pt>
                <c:pt idx="1316">
                  <c:v>36439</c:v>
                </c:pt>
                <c:pt idx="1317">
                  <c:v>36440</c:v>
                </c:pt>
                <c:pt idx="1318">
                  <c:v>36441</c:v>
                </c:pt>
                <c:pt idx="1319">
                  <c:v>36444</c:v>
                </c:pt>
                <c:pt idx="1320">
                  <c:v>36445</c:v>
                </c:pt>
                <c:pt idx="1321">
                  <c:v>36446</c:v>
                </c:pt>
                <c:pt idx="1322">
                  <c:v>36447</c:v>
                </c:pt>
                <c:pt idx="1323">
                  <c:v>36448</c:v>
                </c:pt>
                <c:pt idx="1324">
                  <c:v>36451</c:v>
                </c:pt>
                <c:pt idx="1325">
                  <c:v>36452</c:v>
                </c:pt>
                <c:pt idx="1326">
                  <c:v>36453</c:v>
                </c:pt>
                <c:pt idx="1327">
                  <c:v>36454</c:v>
                </c:pt>
                <c:pt idx="1328">
                  <c:v>36455</c:v>
                </c:pt>
                <c:pt idx="1329">
                  <c:v>36458</c:v>
                </c:pt>
                <c:pt idx="1330">
                  <c:v>36459</c:v>
                </c:pt>
                <c:pt idx="1331">
                  <c:v>36460</c:v>
                </c:pt>
                <c:pt idx="1332">
                  <c:v>36461</c:v>
                </c:pt>
                <c:pt idx="1333">
                  <c:v>36462</c:v>
                </c:pt>
                <c:pt idx="1334">
                  <c:v>36465</c:v>
                </c:pt>
                <c:pt idx="1335">
                  <c:v>36466</c:v>
                </c:pt>
                <c:pt idx="1336">
                  <c:v>36467</c:v>
                </c:pt>
                <c:pt idx="1337">
                  <c:v>36468</c:v>
                </c:pt>
                <c:pt idx="1338">
                  <c:v>36469</c:v>
                </c:pt>
                <c:pt idx="1339">
                  <c:v>36472</c:v>
                </c:pt>
                <c:pt idx="1340">
                  <c:v>36473</c:v>
                </c:pt>
                <c:pt idx="1341">
                  <c:v>36474</c:v>
                </c:pt>
                <c:pt idx="1342">
                  <c:v>36475</c:v>
                </c:pt>
                <c:pt idx="1343">
                  <c:v>36476</c:v>
                </c:pt>
                <c:pt idx="1344">
                  <c:v>36479</c:v>
                </c:pt>
                <c:pt idx="1345">
                  <c:v>36480</c:v>
                </c:pt>
                <c:pt idx="1346">
                  <c:v>36481</c:v>
                </c:pt>
                <c:pt idx="1347">
                  <c:v>36482</c:v>
                </c:pt>
                <c:pt idx="1348">
                  <c:v>36483</c:v>
                </c:pt>
                <c:pt idx="1349">
                  <c:v>36486</c:v>
                </c:pt>
                <c:pt idx="1350">
                  <c:v>36487</c:v>
                </c:pt>
                <c:pt idx="1351">
                  <c:v>36488</c:v>
                </c:pt>
                <c:pt idx="1352">
                  <c:v>36489</c:v>
                </c:pt>
                <c:pt idx="1353">
                  <c:v>36490</c:v>
                </c:pt>
                <c:pt idx="1354">
                  <c:v>36493</c:v>
                </c:pt>
                <c:pt idx="1355">
                  <c:v>36494</c:v>
                </c:pt>
                <c:pt idx="1356">
                  <c:v>36495</c:v>
                </c:pt>
                <c:pt idx="1357">
                  <c:v>36496</c:v>
                </c:pt>
                <c:pt idx="1358">
                  <c:v>36497</c:v>
                </c:pt>
                <c:pt idx="1359">
                  <c:v>36500</c:v>
                </c:pt>
                <c:pt idx="1360">
                  <c:v>36501</c:v>
                </c:pt>
                <c:pt idx="1361">
                  <c:v>36502</c:v>
                </c:pt>
                <c:pt idx="1362">
                  <c:v>36503</c:v>
                </c:pt>
                <c:pt idx="1363">
                  <c:v>36504</c:v>
                </c:pt>
                <c:pt idx="1364">
                  <c:v>36507</c:v>
                </c:pt>
                <c:pt idx="1365">
                  <c:v>36508</c:v>
                </c:pt>
                <c:pt idx="1366">
                  <c:v>36509</c:v>
                </c:pt>
                <c:pt idx="1367">
                  <c:v>36510</c:v>
                </c:pt>
                <c:pt idx="1368">
                  <c:v>36511</c:v>
                </c:pt>
                <c:pt idx="1369">
                  <c:v>36514</c:v>
                </c:pt>
                <c:pt idx="1370">
                  <c:v>36515</c:v>
                </c:pt>
                <c:pt idx="1371">
                  <c:v>36516</c:v>
                </c:pt>
                <c:pt idx="1372">
                  <c:v>36517</c:v>
                </c:pt>
                <c:pt idx="1373">
                  <c:v>36521</c:v>
                </c:pt>
                <c:pt idx="1374">
                  <c:v>36522</c:v>
                </c:pt>
                <c:pt idx="1375">
                  <c:v>36523</c:v>
                </c:pt>
                <c:pt idx="1376">
                  <c:v>36524</c:v>
                </c:pt>
                <c:pt idx="1377">
                  <c:v>36529</c:v>
                </c:pt>
                <c:pt idx="1378">
                  <c:v>36530</c:v>
                </c:pt>
                <c:pt idx="1379">
                  <c:v>36531</c:v>
                </c:pt>
                <c:pt idx="1380">
                  <c:v>36532</c:v>
                </c:pt>
                <c:pt idx="1381">
                  <c:v>36535</c:v>
                </c:pt>
                <c:pt idx="1382">
                  <c:v>36536</c:v>
                </c:pt>
                <c:pt idx="1383">
                  <c:v>36537</c:v>
                </c:pt>
                <c:pt idx="1384">
                  <c:v>36538</c:v>
                </c:pt>
                <c:pt idx="1385">
                  <c:v>36539</c:v>
                </c:pt>
                <c:pt idx="1386">
                  <c:v>36542</c:v>
                </c:pt>
                <c:pt idx="1387">
                  <c:v>36543</c:v>
                </c:pt>
                <c:pt idx="1388">
                  <c:v>36544</c:v>
                </c:pt>
                <c:pt idx="1389">
                  <c:v>36545</c:v>
                </c:pt>
                <c:pt idx="1390">
                  <c:v>36546</c:v>
                </c:pt>
                <c:pt idx="1391">
                  <c:v>36549</c:v>
                </c:pt>
                <c:pt idx="1392">
                  <c:v>36550</c:v>
                </c:pt>
                <c:pt idx="1393">
                  <c:v>36551</c:v>
                </c:pt>
                <c:pt idx="1394">
                  <c:v>36552</c:v>
                </c:pt>
                <c:pt idx="1395">
                  <c:v>36553</c:v>
                </c:pt>
                <c:pt idx="1396">
                  <c:v>36556</c:v>
                </c:pt>
                <c:pt idx="1397">
                  <c:v>36557</c:v>
                </c:pt>
                <c:pt idx="1398">
                  <c:v>36558</c:v>
                </c:pt>
                <c:pt idx="1399">
                  <c:v>36559</c:v>
                </c:pt>
                <c:pt idx="1400">
                  <c:v>36560</c:v>
                </c:pt>
                <c:pt idx="1401">
                  <c:v>36563</c:v>
                </c:pt>
                <c:pt idx="1402">
                  <c:v>36564</c:v>
                </c:pt>
                <c:pt idx="1403">
                  <c:v>36565</c:v>
                </c:pt>
                <c:pt idx="1404">
                  <c:v>36566</c:v>
                </c:pt>
                <c:pt idx="1405">
                  <c:v>36567</c:v>
                </c:pt>
                <c:pt idx="1406">
                  <c:v>36570</c:v>
                </c:pt>
                <c:pt idx="1407">
                  <c:v>36571</c:v>
                </c:pt>
                <c:pt idx="1408">
                  <c:v>36572</c:v>
                </c:pt>
                <c:pt idx="1409">
                  <c:v>36573</c:v>
                </c:pt>
                <c:pt idx="1410">
                  <c:v>36574</c:v>
                </c:pt>
                <c:pt idx="1411">
                  <c:v>36577</c:v>
                </c:pt>
                <c:pt idx="1412">
                  <c:v>36578</c:v>
                </c:pt>
                <c:pt idx="1413">
                  <c:v>36579</c:v>
                </c:pt>
                <c:pt idx="1414">
                  <c:v>36580</c:v>
                </c:pt>
                <c:pt idx="1415">
                  <c:v>36581</c:v>
                </c:pt>
                <c:pt idx="1416">
                  <c:v>36584</c:v>
                </c:pt>
                <c:pt idx="1417">
                  <c:v>36585</c:v>
                </c:pt>
                <c:pt idx="1418">
                  <c:v>36586</c:v>
                </c:pt>
                <c:pt idx="1419">
                  <c:v>36587</c:v>
                </c:pt>
                <c:pt idx="1420">
                  <c:v>36588</c:v>
                </c:pt>
                <c:pt idx="1421">
                  <c:v>36591</c:v>
                </c:pt>
                <c:pt idx="1422">
                  <c:v>36592</c:v>
                </c:pt>
                <c:pt idx="1423">
                  <c:v>36593</c:v>
                </c:pt>
                <c:pt idx="1424">
                  <c:v>36594</c:v>
                </c:pt>
                <c:pt idx="1425">
                  <c:v>36595</c:v>
                </c:pt>
                <c:pt idx="1426">
                  <c:v>36598</c:v>
                </c:pt>
                <c:pt idx="1427">
                  <c:v>36599</c:v>
                </c:pt>
                <c:pt idx="1428">
                  <c:v>36600</c:v>
                </c:pt>
                <c:pt idx="1429">
                  <c:v>36601</c:v>
                </c:pt>
                <c:pt idx="1430">
                  <c:v>36602</c:v>
                </c:pt>
                <c:pt idx="1431">
                  <c:v>36605</c:v>
                </c:pt>
                <c:pt idx="1432">
                  <c:v>36606</c:v>
                </c:pt>
                <c:pt idx="1433">
                  <c:v>36607</c:v>
                </c:pt>
                <c:pt idx="1434">
                  <c:v>36608</c:v>
                </c:pt>
                <c:pt idx="1435">
                  <c:v>36609</c:v>
                </c:pt>
                <c:pt idx="1436">
                  <c:v>36612</c:v>
                </c:pt>
                <c:pt idx="1437">
                  <c:v>36613</c:v>
                </c:pt>
                <c:pt idx="1438">
                  <c:v>36614</c:v>
                </c:pt>
                <c:pt idx="1439">
                  <c:v>36615</c:v>
                </c:pt>
                <c:pt idx="1440">
                  <c:v>36616</c:v>
                </c:pt>
                <c:pt idx="1441">
                  <c:v>36619</c:v>
                </c:pt>
                <c:pt idx="1442">
                  <c:v>36620</c:v>
                </c:pt>
                <c:pt idx="1443">
                  <c:v>36621</c:v>
                </c:pt>
                <c:pt idx="1444">
                  <c:v>36622</c:v>
                </c:pt>
                <c:pt idx="1445">
                  <c:v>36623</c:v>
                </c:pt>
                <c:pt idx="1446">
                  <c:v>36626</c:v>
                </c:pt>
                <c:pt idx="1447">
                  <c:v>36627</c:v>
                </c:pt>
                <c:pt idx="1448">
                  <c:v>36628</c:v>
                </c:pt>
                <c:pt idx="1449">
                  <c:v>36629</c:v>
                </c:pt>
                <c:pt idx="1450">
                  <c:v>36630</c:v>
                </c:pt>
                <c:pt idx="1451">
                  <c:v>36633</c:v>
                </c:pt>
                <c:pt idx="1452">
                  <c:v>36634</c:v>
                </c:pt>
                <c:pt idx="1453">
                  <c:v>36635</c:v>
                </c:pt>
                <c:pt idx="1454">
                  <c:v>36636</c:v>
                </c:pt>
                <c:pt idx="1455">
                  <c:v>36641</c:v>
                </c:pt>
                <c:pt idx="1456">
                  <c:v>36642</c:v>
                </c:pt>
                <c:pt idx="1457">
                  <c:v>36643</c:v>
                </c:pt>
                <c:pt idx="1458">
                  <c:v>36644</c:v>
                </c:pt>
                <c:pt idx="1459">
                  <c:v>36648</c:v>
                </c:pt>
                <c:pt idx="1460">
                  <c:v>36649</c:v>
                </c:pt>
                <c:pt idx="1461">
                  <c:v>36650</c:v>
                </c:pt>
                <c:pt idx="1462">
                  <c:v>36651</c:v>
                </c:pt>
                <c:pt idx="1463">
                  <c:v>36654</c:v>
                </c:pt>
                <c:pt idx="1464">
                  <c:v>36655</c:v>
                </c:pt>
                <c:pt idx="1465">
                  <c:v>36656</c:v>
                </c:pt>
                <c:pt idx="1466">
                  <c:v>36657</c:v>
                </c:pt>
                <c:pt idx="1467">
                  <c:v>36658</c:v>
                </c:pt>
                <c:pt idx="1468">
                  <c:v>36661</c:v>
                </c:pt>
                <c:pt idx="1469">
                  <c:v>36662</c:v>
                </c:pt>
                <c:pt idx="1470">
                  <c:v>36663</c:v>
                </c:pt>
                <c:pt idx="1471">
                  <c:v>36664</c:v>
                </c:pt>
                <c:pt idx="1472">
                  <c:v>36665</c:v>
                </c:pt>
                <c:pt idx="1473">
                  <c:v>36668</c:v>
                </c:pt>
                <c:pt idx="1474">
                  <c:v>36669</c:v>
                </c:pt>
                <c:pt idx="1475">
                  <c:v>36670</c:v>
                </c:pt>
                <c:pt idx="1476">
                  <c:v>36671</c:v>
                </c:pt>
                <c:pt idx="1477">
                  <c:v>36672</c:v>
                </c:pt>
                <c:pt idx="1478">
                  <c:v>36675</c:v>
                </c:pt>
                <c:pt idx="1479">
                  <c:v>36676</c:v>
                </c:pt>
                <c:pt idx="1480">
                  <c:v>36677</c:v>
                </c:pt>
                <c:pt idx="1481">
                  <c:v>36678</c:v>
                </c:pt>
                <c:pt idx="1482">
                  <c:v>36679</c:v>
                </c:pt>
                <c:pt idx="1483">
                  <c:v>36682</c:v>
                </c:pt>
                <c:pt idx="1484">
                  <c:v>36683</c:v>
                </c:pt>
                <c:pt idx="1485">
                  <c:v>36684</c:v>
                </c:pt>
                <c:pt idx="1486">
                  <c:v>36685</c:v>
                </c:pt>
                <c:pt idx="1487">
                  <c:v>36686</c:v>
                </c:pt>
                <c:pt idx="1488">
                  <c:v>36689</c:v>
                </c:pt>
                <c:pt idx="1489">
                  <c:v>36690</c:v>
                </c:pt>
                <c:pt idx="1490">
                  <c:v>36691</c:v>
                </c:pt>
                <c:pt idx="1491">
                  <c:v>36692</c:v>
                </c:pt>
                <c:pt idx="1492">
                  <c:v>36693</c:v>
                </c:pt>
                <c:pt idx="1493">
                  <c:v>36696</c:v>
                </c:pt>
                <c:pt idx="1494">
                  <c:v>36697</c:v>
                </c:pt>
                <c:pt idx="1495">
                  <c:v>36698</c:v>
                </c:pt>
                <c:pt idx="1496">
                  <c:v>36699</c:v>
                </c:pt>
                <c:pt idx="1497">
                  <c:v>36700</c:v>
                </c:pt>
                <c:pt idx="1498">
                  <c:v>36703</c:v>
                </c:pt>
                <c:pt idx="1499">
                  <c:v>36704</c:v>
                </c:pt>
                <c:pt idx="1500">
                  <c:v>36705</c:v>
                </c:pt>
                <c:pt idx="1501">
                  <c:v>36706</c:v>
                </c:pt>
                <c:pt idx="1502">
                  <c:v>36707</c:v>
                </c:pt>
                <c:pt idx="1503">
                  <c:v>36710</c:v>
                </c:pt>
                <c:pt idx="1504">
                  <c:v>36711</c:v>
                </c:pt>
                <c:pt idx="1505">
                  <c:v>36712</c:v>
                </c:pt>
                <c:pt idx="1506">
                  <c:v>36713</c:v>
                </c:pt>
                <c:pt idx="1507">
                  <c:v>36714</c:v>
                </c:pt>
                <c:pt idx="1508">
                  <c:v>36717</c:v>
                </c:pt>
                <c:pt idx="1509">
                  <c:v>36718</c:v>
                </c:pt>
                <c:pt idx="1510">
                  <c:v>36719</c:v>
                </c:pt>
                <c:pt idx="1511">
                  <c:v>36720</c:v>
                </c:pt>
                <c:pt idx="1512">
                  <c:v>36721</c:v>
                </c:pt>
                <c:pt idx="1513">
                  <c:v>36724</c:v>
                </c:pt>
                <c:pt idx="1514">
                  <c:v>36725</c:v>
                </c:pt>
                <c:pt idx="1515">
                  <c:v>36726</c:v>
                </c:pt>
                <c:pt idx="1516">
                  <c:v>36727</c:v>
                </c:pt>
                <c:pt idx="1517">
                  <c:v>36728</c:v>
                </c:pt>
                <c:pt idx="1518">
                  <c:v>36731</c:v>
                </c:pt>
                <c:pt idx="1519">
                  <c:v>36732</c:v>
                </c:pt>
                <c:pt idx="1520">
                  <c:v>36733</c:v>
                </c:pt>
                <c:pt idx="1521">
                  <c:v>36734</c:v>
                </c:pt>
                <c:pt idx="1522">
                  <c:v>36735</c:v>
                </c:pt>
                <c:pt idx="1523">
                  <c:v>36738</c:v>
                </c:pt>
                <c:pt idx="1524">
                  <c:v>36739</c:v>
                </c:pt>
                <c:pt idx="1525">
                  <c:v>36740</c:v>
                </c:pt>
                <c:pt idx="1526">
                  <c:v>36741</c:v>
                </c:pt>
                <c:pt idx="1527">
                  <c:v>36742</c:v>
                </c:pt>
                <c:pt idx="1528">
                  <c:v>36745</c:v>
                </c:pt>
                <c:pt idx="1529">
                  <c:v>36746</c:v>
                </c:pt>
                <c:pt idx="1530">
                  <c:v>36747</c:v>
                </c:pt>
                <c:pt idx="1531">
                  <c:v>36748</c:v>
                </c:pt>
                <c:pt idx="1532">
                  <c:v>36749</c:v>
                </c:pt>
                <c:pt idx="1533">
                  <c:v>36752</c:v>
                </c:pt>
                <c:pt idx="1534">
                  <c:v>36753</c:v>
                </c:pt>
                <c:pt idx="1535">
                  <c:v>36754</c:v>
                </c:pt>
                <c:pt idx="1536">
                  <c:v>36755</c:v>
                </c:pt>
                <c:pt idx="1537">
                  <c:v>36756</c:v>
                </c:pt>
                <c:pt idx="1538">
                  <c:v>36759</c:v>
                </c:pt>
                <c:pt idx="1539">
                  <c:v>36760</c:v>
                </c:pt>
                <c:pt idx="1540">
                  <c:v>36761</c:v>
                </c:pt>
                <c:pt idx="1541">
                  <c:v>36762</c:v>
                </c:pt>
                <c:pt idx="1542">
                  <c:v>36763</c:v>
                </c:pt>
                <c:pt idx="1543">
                  <c:v>36766</c:v>
                </c:pt>
                <c:pt idx="1544">
                  <c:v>36767</c:v>
                </c:pt>
                <c:pt idx="1545">
                  <c:v>36768</c:v>
                </c:pt>
                <c:pt idx="1546">
                  <c:v>36769</c:v>
                </c:pt>
                <c:pt idx="1547">
                  <c:v>36770</c:v>
                </c:pt>
                <c:pt idx="1548">
                  <c:v>36773</c:v>
                </c:pt>
                <c:pt idx="1549">
                  <c:v>36774</c:v>
                </c:pt>
                <c:pt idx="1550">
                  <c:v>36775</c:v>
                </c:pt>
                <c:pt idx="1551">
                  <c:v>36776</c:v>
                </c:pt>
                <c:pt idx="1552">
                  <c:v>36777</c:v>
                </c:pt>
                <c:pt idx="1553">
                  <c:v>36780</c:v>
                </c:pt>
                <c:pt idx="1554">
                  <c:v>36781</c:v>
                </c:pt>
                <c:pt idx="1555">
                  <c:v>36782</c:v>
                </c:pt>
                <c:pt idx="1556">
                  <c:v>36783</c:v>
                </c:pt>
                <c:pt idx="1557">
                  <c:v>36784</c:v>
                </c:pt>
                <c:pt idx="1558">
                  <c:v>36787</c:v>
                </c:pt>
                <c:pt idx="1559">
                  <c:v>36788</c:v>
                </c:pt>
                <c:pt idx="1560">
                  <c:v>36789</c:v>
                </c:pt>
                <c:pt idx="1561">
                  <c:v>36790</c:v>
                </c:pt>
                <c:pt idx="1562">
                  <c:v>36791</c:v>
                </c:pt>
                <c:pt idx="1563">
                  <c:v>36794</c:v>
                </c:pt>
                <c:pt idx="1564">
                  <c:v>36795</c:v>
                </c:pt>
                <c:pt idx="1565">
                  <c:v>36796</c:v>
                </c:pt>
                <c:pt idx="1566">
                  <c:v>36797</c:v>
                </c:pt>
                <c:pt idx="1567">
                  <c:v>36798</c:v>
                </c:pt>
                <c:pt idx="1568">
                  <c:v>36801</c:v>
                </c:pt>
                <c:pt idx="1569">
                  <c:v>36802</c:v>
                </c:pt>
                <c:pt idx="1570">
                  <c:v>36803</c:v>
                </c:pt>
                <c:pt idx="1571">
                  <c:v>36804</c:v>
                </c:pt>
                <c:pt idx="1572">
                  <c:v>36805</c:v>
                </c:pt>
                <c:pt idx="1573">
                  <c:v>36808</c:v>
                </c:pt>
                <c:pt idx="1574">
                  <c:v>36809</c:v>
                </c:pt>
                <c:pt idx="1575">
                  <c:v>36810</c:v>
                </c:pt>
                <c:pt idx="1576">
                  <c:v>36811</c:v>
                </c:pt>
                <c:pt idx="1577">
                  <c:v>36812</c:v>
                </c:pt>
                <c:pt idx="1578">
                  <c:v>36815</c:v>
                </c:pt>
                <c:pt idx="1579">
                  <c:v>36816</c:v>
                </c:pt>
                <c:pt idx="1580">
                  <c:v>36817</c:v>
                </c:pt>
                <c:pt idx="1581">
                  <c:v>36818</c:v>
                </c:pt>
                <c:pt idx="1582">
                  <c:v>36819</c:v>
                </c:pt>
                <c:pt idx="1583">
                  <c:v>36822</c:v>
                </c:pt>
                <c:pt idx="1584">
                  <c:v>36823</c:v>
                </c:pt>
                <c:pt idx="1585">
                  <c:v>36824</c:v>
                </c:pt>
                <c:pt idx="1586">
                  <c:v>36825</c:v>
                </c:pt>
                <c:pt idx="1587">
                  <c:v>36826</c:v>
                </c:pt>
                <c:pt idx="1588">
                  <c:v>36829</c:v>
                </c:pt>
                <c:pt idx="1589">
                  <c:v>36830</c:v>
                </c:pt>
                <c:pt idx="1590">
                  <c:v>36831</c:v>
                </c:pt>
                <c:pt idx="1591">
                  <c:v>36832</c:v>
                </c:pt>
                <c:pt idx="1592">
                  <c:v>36833</c:v>
                </c:pt>
                <c:pt idx="1593">
                  <c:v>36836</c:v>
                </c:pt>
                <c:pt idx="1594">
                  <c:v>36837</c:v>
                </c:pt>
                <c:pt idx="1595">
                  <c:v>36838</c:v>
                </c:pt>
                <c:pt idx="1596">
                  <c:v>36839</c:v>
                </c:pt>
                <c:pt idx="1597">
                  <c:v>36840</c:v>
                </c:pt>
                <c:pt idx="1598">
                  <c:v>36843</c:v>
                </c:pt>
                <c:pt idx="1599">
                  <c:v>36844</c:v>
                </c:pt>
                <c:pt idx="1600">
                  <c:v>36845</c:v>
                </c:pt>
                <c:pt idx="1601">
                  <c:v>36846</c:v>
                </c:pt>
                <c:pt idx="1602">
                  <c:v>36847</c:v>
                </c:pt>
                <c:pt idx="1603">
                  <c:v>36850</c:v>
                </c:pt>
                <c:pt idx="1604">
                  <c:v>36851</c:v>
                </c:pt>
                <c:pt idx="1605">
                  <c:v>36852</c:v>
                </c:pt>
                <c:pt idx="1606">
                  <c:v>36853</c:v>
                </c:pt>
                <c:pt idx="1607">
                  <c:v>36854</c:v>
                </c:pt>
                <c:pt idx="1608">
                  <c:v>36857</c:v>
                </c:pt>
                <c:pt idx="1609">
                  <c:v>36858</c:v>
                </c:pt>
                <c:pt idx="1610">
                  <c:v>36859</c:v>
                </c:pt>
                <c:pt idx="1611">
                  <c:v>36860</c:v>
                </c:pt>
                <c:pt idx="1612">
                  <c:v>36861</c:v>
                </c:pt>
                <c:pt idx="1613">
                  <c:v>36864</c:v>
                </c:pt>
                <c:pt idx="1614">
                  <c:v>36865</c:v>
                </c:pt>
                <c:pt idx="1615">
                  <c:v>36866</c:v>
                </c:pt>
                <c:pt idx="1616">
                  <c:v>36867</c:v>
                </c:pt>
                <c:pt idx="1617">
                  <c:v>36868</c:v>
                </c:pt>
                <c:pt idx="1618">
                  <c:v>36871</c:v>
                </c:pt>
                <c:pt idx="1619">
                  <c:v>36872</c:v>
                </c:pt>
                <c:pt idx="1620">
                  <c:v>36873</c:v>
                </c:pt>
                <c:pt idx="1621">
                  <c:v>36874</c:v>
                </c:pt>
                <c:pt idx="1622">
                  <c:v>36875</c:v>
                </c:pt>
                <c:pt idx="1623">
                  <c:v>36878</c:v>
                </c:pt>
                <c:pt idx="1624">
                  <c:v>36879</c:v>
                </c:pt>
                <c:pt idx="1625">
                  <c:v>36880</c:v>
                </c:pt>
                <c:pt idx="1626">
                  <c:v>36881</c:v>
                </c:pt>
                <c:pt idx="1627">
                  <c:v>36882</c:v>
                </c:pt>
                <c:pt idx="1628">
                  <c:v>36887</c:v>
                </c:pt>
                <c:pt idx="1629">
                  <c:v>36888</c:v>
                </c:pt>
                <c:pt idx="1630">
                  <c:v>36889</c:v>
                </c:pt>
                <c:pt idx="1631">
                  <c:v>36893</c:v>
                </c:pt>
                <c:pt idx="1632">
                  <c:v>36894</c:v>
                </c:pt>
                <c:pt idx="1633">
                  <c:v>36895</c:v>
                </c:pt>
                <c:pt idx="1634">
                  <c:v>36896</c:v>
                </c:pt>
                <c:pt idx="1635">
                  <c:v>36899</c:v>
                </c:pt>
                <c:pt idx="1636">
                  <c:v>36900</c:v>
                </c:pt>
                <c:pt idx="1637">
                  <c:v>36901</c:v>
                </c:pt>
                <c:pt idx="1638">
                  <c:v>36902</c:v>
                </c:pt>
                <c:pt idx="1639">
                  <c:v>36903</c:v>
                </c:pt>
                <c:pt idx="1640">
                  <c:v>36906</c:v>
                </c:pt>
                <c:pt idx="1641">
                  <c:v>36907</c:v>
                </c:pt>
                <c:pt idx="1642">
                  <c:v>36908</c:v>
                </c:pt>
                <c:pt idx="1643">
                  <c:v>36909</c:v>
                </c:pt>
                <c:pt idx="1644">
                  <c:v>36910</c:v>
                </c:pt>
                <c:pt idx="1645">
                  <c:v>36913</c:v>
                </c:pt>
                <c:pt idx="1646">
                  <c:v>36914</c:v>
                </c:pt>
                <c:pt idx="1647">
                  <c:v>36915</c:v>
                </c:pt>
                <c:pt idx="1648">
                  <c:v>36916</c:v>
                </c:pt>
                <c:pt idx="1649">
                  <c:v>36917</c:v>
                </c:pt>
                <c:pt idx="1650">
                  <c:v>36920</c:v>
                </c:pt>
                <c:pt idx="1651">
                  <c:v>36921</c:v>
                </c:pt>
                <c:pt idx="1652">
                  <c:v>36922</c:v>
                </c:pt>
                <c:pt idx="1653">
                  <c:v>36923</c:v>
                </c:pt>
                <c:pt idx="1654">
                  <c:v>36924</c:v>
                </c:pt>
                <c:pt idx="1655">
                  <c:v>36927</c:v>
                </c:pt>
                <c:pt idx="1656">
                  <c:v>36928</c:v>
                </c:pt>
                <c:pt idx="1657">
                  <c:v>36929</c:v>
                </c:pt>
                <c:pt idx="1658">
                  <c:v>36930</c:v>
                </c:pt>
                <c:pt idx="1659">
                  <c:v>36931</c:v>
                </c:pt>
                <c:pt idx="1660">
                  <c:v>36934</c:v>
                </c:pt>
                <c:pt idx="1661">
                  <c:v>36935</c:v>
                </c:pt>
                <c:pt idx="1662">
                  <c:v>36936</c:v>
                </c:pt>
                <c:pt idx="1663">
                  <c:v>36937</c:v>
                </c:pt>
                <c:pt idx="1664">
                  <c:v>36938</c:v>
                </c:pt>
                <c:pt idx="1665">
                  <c:v>36941</c:v>
                </c:pt>
                <c:pt idx="1666">
                  <c:v>36942</c:v>
                </c:pt>
                <c:pt idx="1667">
                  <c:v>36943</c:v>
                </c:pt>
                <c:pt idx="1668">
                  <c:v>36944</c:v>
                </c:pt>
                <c:pt idx="1669">
                  <c:v>36945</c:v>
                </c:pt>
                <c:pt idx="1670">
                  <c:v>36948</c:v>
                </c:pt>
                <c:pt idx="1671">
                  <c:v>36949</c:v>
                </c:pt>
                <c:pt idx="1672">
                  <c:v>36950</c:v>
                </c:pt>
                <c:pt idx="1673">
                  <c:v>36951</c:v>
                </c:pt>
                <c:pt idx="1674">
                  <c:v>36952</c:v>
                </c:pt>
                <c:pt idx="1675">
                  <c:v>36955</c:v>
                </c:pt>
                <c:pt idx="1676">
                  <c:v>36956</c:v>
                </c:pt>
                <c:pt idx="1677">
                  <c:v>36957</c:v>
                </c:pt>
                <c:pt idx="1678">
                  <c:v>36958</c:v>
                </c:pt>
                <c:pt idx="1679">
                  <c:v>36959</c:v>
                </c:pt>
                <c:pt idx="1680">
                  <c:v>36962</c:v>
                </c:pt>
                <c:pt idx="1681">
                  <c:v>36963</c:v>
                </c:pt>
                <c:pt idx="1682">
                  <c:v>36964</c:v>
                </c:pt>
                <c:pt idx="1683">
                  <c:v>36965</c:v>
                </c:pt>
                <c:pt idx="1684">
                  <c:v>36966</c:v>
                </c:pt>
                <c:pt idx="1685">
                  <c:v>36969</c:v>
                </c:pt>
                <c:pt idx="1686">
                  <c:v>36970</c:v>
                </c:pt>
                <c:pt idx="1687">
                  <c:v>36971</c:v>
                </c:pt>
                <c:pt idx="1688">
                  <c:v>36972</c:v>
                </c:pt>
                <c:pt idx="1689">
                  <c:v>36973</c:v>
                </c:pt>
                <c:pt idx="1690">
                  <c:v>36976</c:v>
                </c:pt>
                <c:pt idx="1691">
                  <c:v>36977</c:v>
                </c:pt>
                <c:pt idx="1692">
                  <c:v>36978</c:v>
                </c:pt>
                <c:pt idx="1693">
                  <c:v>36979</c:v>
                </c:pt>
                <c:pt idx="1694">
                  <c:v>36980</c:v>
                </c:pt>
                <c:pt idx="1695">
                  <c:v>36983</c:v>
                </c:pt>
                <c:pt idx="1696">
                  <c:v>36984</c:v>
                </c:pt>
                <c:pt idx="1697">
                  <c:v>36985</c:v>
                </c:pt>
                <c:pt idx="1698">
                  <c:v>36986</c:v>
                </c:pt>
                <c:pt idx="1699">
                  <c:v>36987</c:v>
                </c:pt>
                <c:pt idx="1700">
                  <c:v>36990</c:v>
                </c:pt>
                <c:pt idx="1701">
                  <c:v>36991</c:v>
                </c:pt>
                <c:pt idx="1702">
                  <c:v>36992</c:v>
                </c:pt>
                <c:pt idx="1703">
                  <c:v>36993</c:v>
                </c:pt>
                <c:pt idx="1704">
                  <c:v>36998</c:v>
                </c:pt>
                <c:pt idx="1705">
                  <c:v>36999</c:v>
                </c:pt>
                <c:pt idx="1706">
                  <c:v>37000</c:v>
                </c:pt>
                <c:pt idx="1707">
                  <c:v>37001</c:v>
                </c:pt>
                <c:pt idx="1708">
                  <c:v>37004</c:v>
                </c:pt>
                <c:pt idx="1709">
                  <c:v>37005</c:v>
                </c:pt>
                <c:pt idx="1710">
                  <c:v>37006</c:v>
                </c:pt>
                <c:pt idx="1711">
                  <c:v>37007</c:v>
                </c:pt>
                <c:pt idx="1712">
                  <c:v>37008</c:v>
                </c:pt>
                <c:pt idx="1713">
                  <c:v>37011</c:v>
                </c:pt>
                <c:pt idx="1714">
                  <c:v>37013</c:v>
                </c:pt>
                <c:pt idx="1715">
                  <c:v>37014</c:v>
                </c:pt>
                <c:pt idx="1716">
                  <c:v>37015</c:v>
                </c:pt>
                <c:pt idx="1717">
                  <c:v>37018</c:v>
                </c:pt>
                <c:pt idx="1718">
                  <c:v>37019</c:v>
                </c:pt>
                <c:pt idx="1719">
                  <c:v>37020</c:v>
                </c:pt>
                <c:pt idx="1720">
                  <c:v>37021</c:v>
                </c:pt>
                <c:pt idx="1721">
                  <c:v>37022</c:v>
                </c:pt>
                <c:pt idx="1722">
                  <c:v>37025</c:v>
                </c:pt>
                <c:pt idx="1723">
                  <c:v>37026</c:v>
                </c:pt>
                <c:pt idx="1724">
                  <c:v>37027</c:v>
                </c:pt>
                <c:pt idx="1725">
                  <c:v>37028</c:v>
                </c:pt>
                <c:pt idx="1726">
                  <c:v>37029</c:v>
                </c:pt>
                <c:pt idx="1727">
                  <c:v>37032</c:v>
                </c:pt>
                <c:pt idx="1728">
                  <c:v>37033</c:v>
                </c:pt>
                <c:pt idx="1729">
                  <c:v>37034</c:v>
                </c:pt>
                <c:pt idx="1730">
                  <c:v>37035</c:v>
                </c:pt>
                <c:pt idx="1731">
                  <c:v>37036</c:v>
                </c:pt>
                <c:pt idx="1732">
                  <c:v>37039</c:v>
                </c:pt>
                <c:pt idx="1733">
                  <c:v>37040</c:v>
                </c:pt>
                <c:pt idx="1734">
                  <c:v>37041</c:v>
                </c:pt>
                <c:pt idx="1735">
                  <c:v>37042</c:v>
                </c:pt>
                <c:pt idx="1736">
                  <c:v>37043</c:v>
                </c:pt>
                <c:pt idx="1737">
                  <c:v>37046</c:v>
                </c:pt>
                <c:pt idx="1738">
                  <c:v>37047</c:v>
                </c:pt>
                <c:pt idx="1739">
                  <c:v>37048</c:v>
                </c:pt>
                <c:pt idx="1740">
                  <c:v>37049</c:v>
                </c:pt>
                <c:pt idx="1741">
                  <c:v>37050</c:v>
                </c:pt>
                <c:pt idx="1742">
                  <c:v>37053</c:v>
                </c:pt>
                <c:pt idx="1743">
                  <c:v>37054</c:v>
                </c:pt>
                <c:pt idx="1744">
                  <c:v>37055</c:v>
                </c:pt>
                <c:pt idx="1745">
                  <c:v>37056</c:v>
                </c:pt>
                <c:pt idx="1746">
                  <c:v>37057</c:v>
                </c:pt>
                <c:pt idx="1747">
                  <c:v>37060</c:v>
                </c:pt>
                <c:pt idx="1748">
                  <c:v>37061</c:v>
                </c:pt>
                <c:pt idx="1749">
                  <c:v>37062</c:v>
                </c:pt>
                <c:pt idx="1750">
                  <c:v>37063</c:v>
                </c:pt>
                <c:pt idx="1751">
                  <c:v>37064</c:v>
                </c:pt>
                <c:pt idx="1752">
                  <c:v>37067</c:v>
                </c:pt>
                <c:pt idx="1753">
                  <c:v>37068</c:v>
                </c:pt>
                <c:pt idx="1754">
                  <c:v>37069</c:v>
                </c:pt>
                <c:pt idx="1755">
                  <c:v>37070</c:v>
                </c:pt>
                <c:pt idx="1756">
                  <c:v>37071</c:v>
                </c:pt>
                <c:pt idx="1757">
                  <c:v>37074</c:v>
                </c:pt>
                <c:pt idx="1758">
                  <c:v>37075</c:v>
                </c:pt>
                <c:pt idx="1759">
                  <c:v>37076</c:v>
                </c:pt>
                <c:pt idx="1760">
                  <c:v>37077</c:v>
                </c:pt>
                <c:pt idx="1761">
                  <c:v>37078</c:v>
                </c:pt>
                <c:pt idx="1762">
                  <c:v>37081</c:v>
                </c:pt>
                <c:pt idx="1763">
                  <c:v>37082</c:v>
                </c:pt>
                <c:pt idx="1764">
                  <c:v>37083</c:v>
                </c:pt>
                <c:pt idx="1765">
                  <c:v>37084</c:v>
                </c:pt>
                <c:pt idx="1766">
                  <c:v>37085</c:v>
                </c:pt>
                <c:pt idx="1767">
                  <c:v>37088</c:v>
                </c:pt>
                <c:pt idx="1768">
                  <c:v>37089</c:v>
                </c:pt>
                <c:pt idx="1769">
                  <c:v>37090</c:v>
                </c:pt>
                <c:pt idx="1770">
                  <c:v>37091</c:v>
                </c:pt>
                <c:pt idx="1771">
                  <c:v>37092</c:v>
                </c:pt>
                <c:pt idx="1772">
                  <c:v>37095</c:v>
                </c:pt>
                <c:pt idx="1773">
                  <c:v>37096</c:v>
                </c:pt>
                <c:pt idx="1774">
                  <c:v>37097</c:v>
                </c:pt>
                <c:pt idx="1775">
                  <c:v>37098</c:v>
                </c:pt>
                <c:pt idx="1776">
                  <c:v>37099</c:v>
                </c:pt>
                <c:pt idx="1777">
                  <c:v>37102</c:v>
                </c:pt>
                <c:pt idx="1778">
                  <c:v>37103</c:v>
                </c:pt>
                <c:pt idx="1779">
                  <c:v>37104</c:v>
                </c:pt>
                <c:pt idx="1780">
                  <c:v>37105</c:v>
                </c:pt>
                <c:pt idx="1781">
                  <c:v>37106</c:v>
                </c:pt>
                <c:pt idx="1782">
                  <c:v>37109</c:v>
                </c:pt>
                <c:pt idx="1783">
                  <c:v>37110</c:v>
                </c:pt>
                <c:pt idx="1784">
                  <c:v>37111</c:v>
                </c:pt>
                <c:pt idx="1785">
                  <c:v>37112</c:v>
                </c:pt>
                <c:pt idx="1786">
                  <c:v>37113</c:v>
                </c:pt>
                <c:pt idx="1787">
                  <c:v>37116</c:v>
                </c:pt>
                <c:pt idx="1788">
                  <c:v>37117</c:v>
                </c:pt>
                <c:pt idx="1789">
                  <c:v>37118</c:v>
                </c:pt>
                <c:pt idx="1790">
                  <c:v>37119</c:v>
                </c:pt>
                <c:pt idx="1791">
                  <c:v>37120</c:v>
                </c:pt>
                <c:pt idx="1792">
                  <c:v>37123</c:v>
                </c:pt>
                <c:pt idx="1793">
                  <c:v>37124</c:v>
                </c:pt>
                <c:pt idx="1794">
                  <c:v>37125</c:v>
                </c:pt>
                <c:pt idx="1795">
                  <c:v>37126</c:v>
                </c:pt>
                <c:pt idx="1796">
                  <c:v>37127</c:v>
                </c:pt>
                <c:pt idx="1797">
                  <c:v>37130</c:v>
                </c:pt>
                <c:pt idx="1798">
                  <c:v>37131</c:v>
                </c:pt>
                <c:pt idx="1799">
                  <c:v>37132</c:v>
                </c:pt>
                <c:pt idx="1800">
                  <c:v>37133</c:v>
                </c:pt>
                <c:pt idx="1801">
                  <c:v>37134</c:v>
                </c:pt>
                <c:pt idx="1802">
                  <c:v>37137</c:v>
                </c:pt>
                <c:pt idx="1803">
                  <c:v>37138</c:v>
                </c:pt>
                <c:pt idx="1804">
                  <c:v>37139</c:v>
                </c:pt>
                <c:pt idx="1805">
                  <c:v>37140</c:v>
                </c:pt>
                <c:pt idx="1806">
                  <c:v>37141</c:v>
                </c:pt>
                <c:pt idx="1807">
                  <c:v>37144</c:v>
                </c:pt>
                <c:pt idx="1808">
                  <c:v>37145</c:v>
                </c:pt>
                <c:pt idx="1809">
                  <c:v>37146</c:v>
                </c:pt>
                <c:pt idx="1810">
                  <c:v>37147</c:v>
                </c:pt>
                <c:pt idx="1811">
                  <c:v>37148</c:v>
                </c:pt>
                <c:pt idx="1812">
                  <c:v>37151</c:v>
                </c:pt>
                <c:pt idx="1813">
                  <c:v>37152</c:v>
                </c:pt>
                <c:pt idx="1814">
                  <c:v>37153</c:v>
                </c:pt>
                <c:pt idx="1815">
                  <c:v>37154</c:v>
                </c:pt>
                <c:pt idx="1816">
                  <c:v>37155</c:v>
                </c:pt>
                <c:pt idx="1817">
                  <c:v>37158</c:v>
                </c:pt>
                <c:pt idx="1818">
                  <c:v>37159</c:v>
                </c:pt>
                <c:pt idx="1819">
                  <c:v>37160</c:v>
                </c:pt>
                <c:pt idx="1820">
                  <c:v>37161</c:v>
                </c:pt>
                <c:pt idx="1821">
                  <c:v>37162</c:v>
                </c:pt>
                <c:pt idx="1822">
                  <c:v>37165</c:v>
                </c:pt>
                <c:pt idx="1823">
                  <c:v>37166</c:v>
                </c:pt>
                <c:pt idx="1824">
                  <c:v>37167</c:v>
                </c:pt>
                <c:pt idx="1825">
                  <c:v>37168</c:v>
                </c:pt>
                <c:pt idx="1826">
                  <c:v>37169</c:v>
                </c:pt>
                <c:pt idx="1827">
                  <c:v>37172</c:v>
                </c:pt>
                <c:pt idx="1828">
                  <c:v>37173</c:v>
                </c:pt>
                <c:pt idx="1829">
                  <c:v>37174</c:v>
                </c:pt>
                <c:pt idx="1830">
                  <c:v>37175</c:v>
                </c:pt>
                <c:pt idx="1831">
                  <c:v>37176</c:v>
                </c:pt>
                <c:pt idx="1832">
                  <c:v>37179</c:v>
                </c:pt>
                <c:pt idx="1833">
                  <c:v>37180</c:v>
                </c:pt>
                <c:pt idx="1834">
                  <c:v>37181</c:v>
                </c:pt>
                <c:pt idx="1835">
                  <c:v>37182</c:v>
                </c:pt>
                <c:pt idx="1836">
                  <c:v>37183</c:v>
                </c:pt>
                <c:pt idx="1837">
                  <c:v>37186</c:v>
                </c:pt>
                <c:pt idx="1838">
                  <c:v>37187</c:v>
                </c:pt>
                <c:pt idx="1839">
                  <c:v>37188</c:v>
                </c:pt>
                <c:pt idx="1840">
                  <c:v>37189</c:v>
                </c:pt>
                <c:pt idx="1841">
                  <c:v>37190</c:v>
                </c:pt>
                <c:pt idx="1842">
                  <c:v>37193</c:v>
                </c:pt>
                <c:pt idx="1843">
                  <c:v>37194</c:v>
                </c:pt>
                <c:pt idx="1844">
                  <c:v>37195</c:v>
                </c:pt>
                <c:pt idx="1845">
                  <c:v>37196</c:v>
                </c:pt>
                <c:pt idx="1846">
                  <c:v>37197</c:v>
                </c:pt>
                <c:pt idx="1847">
                  <c:v>37200</c:v>
                </c:pt>
                <c:pt idx="1848">
                  <c:v>37201</c:v>
                </c:pt>
                <c:pt idx="1849">
                  <c:v>37202</c:v>
                </c:pt>
                <c:pt idx="1850">
                  <c:v>37203</c:v>
                </c:pt>
                <c:pt idx="1851">
                  <c:v>37204</c:v>
                </c:pt>
                <c:pt idx="1852">
                  <c:v>37207</c:v>
                </c:pt>
                <c:pt idx="1853">
                  <c:v>37208</c:v>
                </c:pt>
                <c:pt idx="1854">
                  <c:v>37209</c:v>
                </c:pt>
                <c:pt idx="1855">
                  <c:v>37210</c:v>
                </c:pt>
                <c:pt idx="1856">
                  <c:v>37211</c:v>
                </c:pt>
                <c:pt idx="1857">
                  <c:v>37214</c:v>
                </c:pt>
                <c:pt idx="1858">
                  <c:v>37215</c:v>
                </c:pt>
                <c:pt idx="1859">
                  <c:v>37216</c:v>
                </c:pt>
                <c:pt idx="1860">
                  <c:v>37217</c:v>
                </c:pt>
                <c:pt idx="1861">
                  <c:v>37218</c:v>
                </c:pt>
                <c:pt idx="1862">
                  <c:v>37221</c:v>
                </c:pt>
                <c:pt idx="1863">
                  <c:v>37222</c:v>
                </c:pt>
                <c:pt idx="1864">
                  <c:v>37223</c:v>
                </c:pt>
                <c:pt idx="1865">
                  <c:v>37224</c:v>
                </c:pt>
                <c:pt idx="1866">
                  <c:v>37225</c:v>
                </c:pt>
                <c:pt idx="1867">
                  <c:v>37228</c:v>
                </c:pt>
                <c:pt idx="1868">
                  <c:v>37229</c:v>
                </c:pt>
                <c:pt idx="1869">
                  <c:v>37230</c:v>
                </c:pt>
                <c:pt idx="1870">
                  <c:v>37231</c:v>
                </c:pt>
                <c:pt idx="1871">
                  <c:v>37232</c:v>
                </c:pt>
                <c:pt idx="1872">
                  <c:v>37235</c:v>
                </c:pt>
                <c:pt idx="1873">
                  <c:v>37236</c:v>
                </c:pt>
                <c:pt idx="1874">
                  <c:v>37237</c:v>
                </c:pt>
                <c:pt idx="1875">
                  <c:v>37238</c:v>
                </c:pt>
                <c:pt idx="1876">
                  <c:v>37239</c:v>
                </c:pt>
                <c:pt idx="1877">
                  <c:v>37242</c:v>
                </c:pt>
                <c:pt idx="1878">
                  <c:v>37243</c:v>
                </c:pt>
                <c:pt idx="1879">
                  <c:v>37244</c:v>
                </c:pt>
                <c:pt idx="1880">
                  <c:v>37245</c:v>
                </c:pt>
                <c:pt idx="1881">
                  <c:v>37246</c:v>
                </c:pt>
                <c:pt idx="1882">
                  <c:v>37249</c:v>
                </c:pt>
                <c:pt idx="1883">
                  <c:v>37252</c:v>
                </c:pt>
                <c:pt idx="1884">
                  <c:v>37253</c:v>
                </c:pt>
                <c:pt idx="1885">
                  <c:v>37258</c:v>
                </c:pt>
                <c:pt idx="1886">
                  <c:v>37259</c:v>
                </c:pt>
                <c:pt idx="1887">
                  <c:v>37260</c:v>
                </c:pt>
                <c:pt idx="1888">
                  <c:v>37263</c:v>
                </c:pt>
                <c:pt idx="1889">
                  <c:v>37264</c:v>
                </c:pt>
                <c:pt idx="1890">
                  <c:v>37265</c:v>
                </c:pt>
                <c:pt idx="1891">
                  <c:v>37266</c:v>
                </c:pt>
                <c:pt idx="1892">
                  <c:v>37267</c:v>
                </c:pt>
                <c:pt idx="1893">
                  <c:v>37270</c:v>
                </c:pt>
                <c:pt idx="1894">
                  <c:v>37271</c:v>
                </c:pt>
                <c:pt idx="1895">
                  <c:v>37272</c:v>
                </c:pt>
                <c:pt idx="1896">
                  <c:v>37273</c:v>
                </c:pt>
                <c:pt idx="1897">
                  <c:v>37274</c:v>
                </c:pt>
                <c:pt idx="1898">
                  <c:v>37277</c:v>
                </c:pt>
                <c:pt idx="1899">
                  <c:v>37278</c:v>
                </c:pt>
                <c:pt idx="1900">
                  <c:v>37279</c:v>
                </c:pt>
                <c:pt idx="1901">
                  <c:v>37280</c:v>
                </c:pt>
                <c:pt idx="1902">
                  <c:v>37281</c:v>
                </c:pt>
                <c:pt idx="1903">
                  <c:v>37284</c:v>
                </c:pt>
                <c:pt idx="1904">
                  <c:v>37285</c:v>
                </c:pt>
                <c:pt idx="1905">
                  <c:v>37286</c:v>
                </c:pt>
                <c:pt idx="1906">
                  <c:v>37287</c:v>
                </c:pt>
                <c:pt idx="1907">
                  <c:v>37288</c:v>
                </c:pt>
                <c:pt idx="1908">
                  <c:v>37291</c:v>
                </c:pt>
                <c:pt idx="1909">
                  <c:v>37292</c:v>
                </c:pt>
                <c:pt idx="1910">
                  <c:v>37293</c:v>
                </c:pt>
                <c:pt idx="1911">
                  <c:v>37294</c:v>
                </c:pt>
                <c:pt idx="1912">
                  <c:v>37295</c:v>
                </c:pt>
                <c:pt idx="1913">
                  <c:v>37298</c:v>
                </c:pt>
                <c:pt idx="1914">
                  <c:v>37299</c:v>
                </c:pt>
                <c:pt idx="1915">
                  <c:v>37300</c:v>
                </c:pt>
                <c:pt idx="1916">
                  <c:v>37301</c:v>
                </c:pt>
                <c:pt idx="1917">
                  <c:v>37302</c:v>
                </c:pt>
                <c:pt idx="1918">
                  <c:v>37305</c:v>
                </c:pt>
                <c:pt idx="1919">
                  <c:v>37306</c:v>
                </c:pt>
                <c:pt idx="1920">
                  <c:v>37307</c:v>
                </c:pt>
                <c:pt idx="1921">
                  <c:v>37308</c:v>
                </c:pt>
                <c:pt idx="1922">
                  <c:v>37309</c:v>
                </c:pt>
                <c:pt idx="1923">
                  <c:v>37312</c:v>
                </c:pt>
                <c:pt idx="1924">
                  <c:v>37313</c:v>
                </c:pt>
                <c:pt idx="1925">
                  <c:v>37314</c:v>
                </c:pt>
                <c:pt idx="1926">
                  <c:v>37315</c:v>
                </c:pt>
                <c:pt idx="1927">
                  <c:v>37316</c:v>
                </c:pt>
                <c:pt idx="1928">
                  <c:v>37319</c:v>
                </c:pt>
                <c:pt idx="1929">
                  <c:v>37320</c:v>
                </c:pt>
                <c:pt idx="1930">
                  <c:v>37321</c:v>
                </c:pt>
                <c:pt idx="1931">
                  <c:v>37322</c:v>
                </c:pt>
                <c:pt idx="1932">
                  <c:v>37323</c:v>
                </c:pt>
                <c:pt idx="1933">
                  <c:v>37326</c:v>
                </c:pt>
                <c:pt idx="1934">
                  <c:v>37327</c:v>
                </c:pt>
                <c:pt idx="1935">
                  <c:v>37328</c:v>
                </c:pt>
                <c:pt idx="1936">
                  <c:v>37329</c:v>
                </c:pt>
                <c:pt idx="1937">
                  <c:v>37330</c:v>
                </c:pt>
                <c:pt idx="1938">
                  <c:v>37333</c:v>
                </c:pt>
                <c:pt idx="1939">
                  <c:v>37334</c:v>
                </c:pt>
                <c:pt idx="1940">
                  <c:v>37335</c:v>
                </c:pt>
                <c:pt idx="1941">
                  <c:v>37336</c:v>
                </c:pt>
                <c:pt idx="1942">
                  <c:v>37337</c:v>
                </c:pt>
                <c:pt idx="1943">
                  <c:v>37340</c:v>
                </c:pt>
                <c:pt idx="1944">
                  <c:v>37341</c:v>
                </c:pt>
                <c:pt idx="1945">
                  <c:v>37342</c:v>
                </c:pt>
                <c:pt idx="1946">
                  <c:v>37343</c:v>
                </c:pt>
                <c:pt idx="1947">
                  <c:v>37348</c:v>
                </c:pt>
                <c:pt idx="1948">
                  <c:v>37349</c:v>
                </c:pt>
                <c:pt idx="1949">
                  <c:v>37350</c:v>
                </c:pt>
                <c:pt idx="1950">
                  <c:v>37351</c:v>
                </c:pt>
                <c:pt idx="1951">
                  <c:v>37354</c:v>
                </c:pt>
                <c:pt idx="1952">
                  <c:v>37355</c:v>
                </c:pt>
                <c:pt idx="1953">
                  <c:v>37356</c:v>
                </c:pt>
                <c:pt idx="1954">
                  <c:v>37357</c:v>
                </c:pt>
                <c:pt idx="1955">
                  <c:v>37358</c:v>
                </c:pt>
                <c:pt idx="1956">
                  <c:v>37361</c:v>
                </c:pt>
                <c:pt idx="1957">
                  <c:v>37362</c:v>
                </c:pt>
                <c:pt idx="1958">
                  <c:v>37363</c:v>
                </c:pt>
                <c:pt idx="1959">
                  <c:v>37364</c:v>
                </c:pt>
                <c:pt idx="1960">
                  <c:v>37365</c:v>
                </c:pt>
                <c:pt idx="1961">
                  <c:v>37368</c:v>
                </c:pt>
                <c:pt idx="1962">
                  <c:v>37369</c:v>
                </c:pt>
                <c:pt idx="1963">
                  <c:v>37370</c:v>
                </c:pt>
                <c:pt idx="1964">
                  <c:v>37371</c:v>
                </c:pt>
                <c:pt idx="1965">
                  <c:v>37372</c:v>
                </c:pt>
                <c:pt idx="1966">
                  <c:v>37375</c:v>
                </c:pt>
                <c:pt idx="1967">
                  <c:v>37376</c:v>
                </c:pt>
                <c:pt idx="1968">
                  <c:v>37378</c:v>
                </c:pt>
                <c:pt idx="1969">
                  <c:v>37379</c:v>
                </c:pt>
                <c:pt idx="1970">
                  <c:v>37382</c:v>
                </c:pt>
                <c:pt idx="1971">
                  <c:v>37383</c:v>
                </c:pt>
                <c:pt idx="1972">
                  <c:v>37384</c:v>
                </c:pt>
                <c:pt idx="1973">
                  <c:v>37385</c:v>
                </c:pt>
                <c:pt idx="1974">
                  <c:v>37386</c:v>
                </c:pt>
                <c:pt idx="1975">
                  <c:v>37389</c:v>
                </c:pt>
                <c:pt idx="1976">
                  <c:v>37390</c:v>
                </c:pt>
                <c:pt idx="1977">
                  <c:v>37391</c:v>
                </c:pt>
                <c:pt idx="1978">
                  <c:v>37392</c:v>
                </c:pt>
                <c:pt idx="1979">
                  <c:v>37393</c:v>
                </c:pt>
                <c:pt idx="1980">
                  <c:v>37396</c:v>
                </c:pt>
                <c:pt idx="1981">
                  <c:v>37397</c:v>
                </c:pt>
                <c:pt idx="1982">
                  <c:v>37398</c:v>
                </c:pt>
                <c:pt idx="1983">
                  <c:v>37399</c:v>
                </c:pt>
                <c:pt idx="1984">
                  <c:v>37400</c:v>
                </c:pt>
                <c:pt idx="1985">
                  <c:v>37403</c:v>
                </c:pt>
                <c:pt idx="1986">
                  <c:v>37404</c:v>
                </c:pt>
                <c:pt idx="1987">
                  <c:v>37405</c:v>
                </c:pt>
                <c:pt idx="1988">
                  <c:v>37406</c:v>
                </c:pt>
                <c:pt idx="1989">
                  <c:v>37407</c:v>
                </c:pt>
                <c:pt idx="1990">
                  <c:v>37410</c:v>
                </c:pt>
                <c:pt idx="1991">
                  <c:v>37411</c:v>
                </c:pt>
                <c:pt idx="1992">
                  <c:v>37412</c:v>
                </c:pt>
                <c:pt idx="1993">
                  <c:v>37413</c:v>
                </c:pt>
                <c:pt idx="1994">
                  <c:v>37414</c:v>
                </c:pt>
                <c:pt idx="1995">
                  <c:v>37417</c:v>
                </c:pt>
                <c:pt idx="1996">
                  <c:v>37418</c:v>
                </c:pt>
                <c:pt idx="1997">
                  <c:v>37419</c:v>
                </c:pt>
                <c:pt idx="1998">
                  <c:v>37420</c:v>
                </c:pt>
                <c:pt idx="1999">
                  <c:v>37421</c:v>
                </c:pt>
                <c:pt idx="2000">
                  <c:v>37424</c:v>
                </c:pt>
                <c:pt idx="2001">
                  <c:v>37425</c:v>
                </c:pt>
                <c:pt idx="2002">
                  <c:v>37426</c:v>
                </c:pt>
                <c:pt idx="2003">
                  <c:v>37427</c:v>
                </c:pt>
                <c:pt idx="2004">
                  <c:v>37428</c:v>
                </c:pt>
                <c:pt idx="2005">
                  <c:v>37431</c:v>
                </c:pt>
                <c:pt idx="2006">
                  <c:v>37432</c:v>
                </c:pt>
                <c:pt idx="2007">
                  <c:v>37433</c:v>
                </c:pt>
                <c:pt idx="2008">
                  <c:v>37434</c:v>
                </c:pt>
                <c:pt idx="2009">
                  <c:v>37435</c:v>
                </c:pt>
                <c:pt idx="2010">
                  <c:v>37438</c:v>
                </c:pt>
                <c:pt idx="2011">
                  <c:v>37439</c:v>
                </c:pt>
                <c:pt idx="2012">
                  <c:v>37440</c:v>
                </c:pt>
                <c:pt idx="2013">
                  <c:v>37441</c:v>
                </c:pt>
                <c:pt idx="2014">
                  <c:v>37442</c:v>
                </c:pt>
                <c:pt idx="2015">
                  <c:v>37445</c:v>
                </c:pt>
                <c:pt idx="2016">
                  <c:v>37446</c:v>
                </c:pt>
                <c:pt idx="2017">
                  <c:v>37447</c:v>
                </c:pt>
                <c:pt idx="2018">
                  <c:v>37448</c:v>
                </c:pt>
                <c:pt idx="2019">
                  <c:v>37449</c:v>
                </c:pt>
                <c:pt idx="2020">
                  <c:v>37452</c:v>
                </c:pt>
                <c:pt idx="2021">
                  <c:v>37453</c:v>
                </c:pt>
                <c:pt idx="2022">
                  <c:v>37454</c:v>
                </c:pt>
                <c:pt idx="2023">
                  <c:v>37455</c:v>
                </c:pt>
                <c:pt idx="2024">
                  <c:v>37456</c:v>
                </c:pt>
                <c:pt idx="2025">
                  <c:v>37459</c:v>
                </c:pt>
                <c:pt idx="2026">
                  <c:v>37460</c:v>
                </c:pt>
                <c:pt idx="2027">
                  <c:v>37461</c:v>
                </c:pt>
                <c:pt idx="2028">
                  <c:v>37462</c:v>
                </c:pt>
                <c:pt idx="2029">
                  <c:v>37463</c:v>
                </c:pt>
                <c:pt idx="2030">
                  <c:v>37466</c:v>
                </c:pt>
                <c:pt idx="2031">
                  <c:v>37467</c:v>
                </c:pt>
                <c:pt idx="2032">
                  <c:v>37468</c:v>
                </c:pt>
                <c:pt idx="2033">
                  <c:v>37469</c:v>
                </c:pt>
                <c:pt idx="2034">
                  <c:v>37470</c:v>
                </c:pt>
                <c:pt idx="2035">
                  <c:v>37473</c:v>
                </c:pt>
                <c:pt idx="2036">
                  <c:v>37474</c:v>
                </c:pt>
                <c:pt idx="2037">
                  <c:v>37475</c:v>
                </c:pt>
                <c:pt idx="2038">
                  <c:v>37476</c:v>
                </c:pt>
                <c:pt idx="2039">
                  <c:v>37477</c:v>
                </c:pt>
                <c:pt idx="2040">
                  <c:v>37480</c:v>
                </c:pt>
                <c:pt idx="2041">
                  <c:v>37481</c:v>
                </c:pt>
                <c:pt idx="2042">
                  <c:v>37482</c:v>
                </c:pt>
                <c:pt idx="2043">
                  <c:v>37483</c:v>
                </c:pt>
                <c:pt idx="2044">
                  <c:v>37484</c:v>
                </c:pt>
                <c:pt idx="2045">
                  <c:v>37487</c:v>
                </c:pt>
                <c:pt idx="2046">
                  <c:v>37488</c:v>
                </c:pt>
                <c:pt idx="2047">
                  <c:v>37489</c:v>
                </c:pt>
                <c:pt idx="2048">
                  <c:v>37490</c:v>
                </c:pt>
                <c:pt idx="2049">
                  <c:v>37491</c:v>
                </c:pt>
                <c:pt idx="2050">
                  <c:v>37494</c:v>
                </c:pt>
                <c:pt idx="2051">
                  <c:v>37495</c:v>
                </c:pt>
                <c:pt idx="2052">
                  <c:v>37496</c:v>
                </c:pt>
                <c:pt idx="2053">
                  <c:v>37497</c:v>
                </c:pt>
                <c:pt idx="2054">
                  <c:v>37498</c:v>
                </c:pt>
                <c:pt idx="2055">
                  <c:v>37501</c:v>
                </c:pt>
                <c:pt idx="2056">
                  <c:v>37502</c:v>
                </c:pt>
                <c:pt idx="2057">
                  <c:v>37503</c:v>
                </c:pt>
                <c:pt idx="2058">
                  <c:v>37504</c:v>
                </c:pt>
                <c:pt idx="2059">
                  <c:v>37505</c:v>
                </c:pt>
                <c:pt idx="2060">
                  <c:v>37508</c:v>
                </c:pt>
                <c:pt idx="2061">
                  <c:v>37509</c:v>
                </c:pt>
                <c:pt idx="2062">
                  <c:v>37510</c:v>
                </c:pt>
                <c:pt idx="2063">
                  <c:v>37511</c:v>
                </c:pt>
                <c:pt idx="2064">
                  <c:v>37512</c:v>
                </c:pt>
                <c:pt idx="2065">
                  <c:v>37515</c:v>
                </c:pt>
                <c:pt idx="2066">
                  <c:v>37516</c:v>
                </c:pt>
                <c:pt idx="2067">
                  <c:v>37517</c:v>
                </c:pt>
                <c:pt idx="2068">
                  <c:v>37518</c:v>
                </c:pt>
                <c:pt idx="2069">
                  <c:v>37519</c:v>
                </c:pt>
                <c:pt idx="2070">
                  <c:v>37522</c:v>
                </c:pt>
                <c:pt idx="2071">
                  <c:v>37523</c:v>
                </c:pt>
                <c:pt idx="2072">
                  <c:v>37524</c:v>
                </c:pt>
                <c:pt idx="2073">
                  <c:v>37525</c:v>
                </c:pt>
                <c:pt idx="2074">
                  <c:v>37526</c:v>
                </c:pt>
                <c:pt idx="2075">
                  <c:v>37529</c:v>
                </c:pt>
                <c:pt idx="2076">
                  <c:v>37530</c:v>
                </c:pt>
                <c:pt idx="2077">
                  <c:v>37531</c:v>
                </c:pt>
                <c:pt idx="2078">
                  <c:v>37532</c:v>
                </c:pt>
                <c:pt idx="2079">
                  <c:v>37533</c:v>
                </c:pt>
                <c:pt idx="2080">
                  <c:v>37536</c:v>
                </c:pt>
                <c:pt idx="2081">
                  <c:v>37537</c:v>
                </c:pt>
                <c:pt idx="2082">
                  <c:v>37538</c:v>
                </c:pt>
                <c:pt idx="2083">
                  <c:v>37539</c:v>
                </c:pt>
                <c:pt idx="2084">
                  <c:v>37540</c:v>
                </c:pt>
                <c:pt idx="2085">
                  <c:v>37543</c:v>
                </c:pt>
                <c:pt idx="2086">
                  <c:v>37544</c:v>
                </c:pt>
                <c:pt idx="2087">
                  <c:v>37545</c:v>
                </c:pt>
                <c:pt idx="2088">
                  <c:v>37546</c:v>
                </c:pt>
                <c:pt idx="2089">
                  <c:v>37547</c:v>
                </c:pt>
                <c:pt idx="2090">
                  <c:v>37550</c:v>
                </c:pt>
                <c:pt idx="2091">
                  <c:v>37551</c:v>
                </c:pt>
                <c:pt idx="2092">
                  <c:v>37552</c:v>
                </c:pt>
                <c:pt idx="2093">
                  <c:v>37553</c:v>
                </c:pt>
                <c:pt idx="2094">
                  <c:v>37554</c:v>
                </c:pt>
                <c:pt idx="2095">
                  <c:v>37557</c:v>
                </c:pt>
                <c:pt idx="2096">
                  <c:v>37558</c:v>
                </c:pt>
                <c:pt idx="2097">
                  <c:v>37559</c:v>
                </c:pt>
                <c:pt idx="2098">
                  <c:v>37560</c:v>
                </c:pt>
                <c:pt idx="2099">
                  <c:v>37561</c:v>
                </c:pt>
                <c:pt idx="2100">
                  <c:v>37564</c:v>
                </c:pt>
                <c:pt idx="2101">
                  <c:v>37565</c:v>
                </c:pt>
                <c:pt idx="2102">
                  <c:v>37566</c:v>
                </c:pt>
                <c:pt idx="2103">
                  <c:v>37567</c:v>
                </c:pt>
                <c:pt idx="2104">
                  <c:v>37568</c:v>
                </c:pt>
                <c:pt idx="2105">
                  <c:v>37571</c:v>
                </c:pt>
                <c:pt idx="2106">
                  <c:v>37572</c:v>
                </c:pt>
                <c:pt idx="2107">
                  <c:v>37573</c:v>
                </c:pt>
                <c:pt idx="2108">
                  <c:v>37574</c:v>
                </c:pt>
                <c:pt idx="2109">
                  <c:v>37575</c:v>
                </c:pt>
                <c:pt idx="2110">
                  <c:v>37578</c:v>
                </c:pt>
                <c:pt idx="2111">
                  <c:v>37579</c:v>
                </c:pt>
                <c:pt idx="2112">
                  <c:v>37580</c:v>
                </c:pt>
                <c:pt idx="2113">
                  <c:v>37581</c:v>
                </c:pt>
                <c:pt idx="2114">
                  <c:v>37582</c:v>
                </c:pt>
                <c:pt idx="2115">
                  <c:v>37585</c:v>
                </c:pt>
                <c:pt idx="2116">
                  <c:v>37586</c:v>
                </c:pt>
                <c:pt idx="2117">
                  <c:v>37587</c:v>
                </c:pt>
                <c:pt idx="2118">
                  <c:v>37588</c:v>
                </c:pt>
                <c:pt idx="2119">
                  <c:v>37589</c:v>
                </c:pt>
                <c:pt idx="2120">
                  <c:v>37592</c:v>
                </c:pt>
                <c:pt idx="2121">
                  <c:v>37593</c:v>
                </c:pt>
                <c:pt idx="2122">
                  <c:v>37594</c:v>
                </c:pt>
                <c:pt idx="2123">
                  <c:v>37595</c:v>
                </c:pt>
                <c:pt idx="2124">
                  <c:v>37596</c:v>
                </c:pt>
                <c:pt idx="2125">
                  <c:v>37599</c:v>
                </c:pt>
                <c:pt idx="2126">
                  <c:v>37600</c:v>
                </c:pt>
                <c:pt idx="2127">
                  <c:v>37601</c:v>
                </c:pt>
                <c:pt idx="2128">
                  <c:v>37602</c:v>
                </c:pt>
                <c:pt idx="2129">
                  <c:v>37603</c:v>
                </c:pt>
                <c:pt idx="2130">
                  <c:v>37606</c:v>
                </c:pt>
                <c:pt idx="2131">
                  <c:v>37607</c:v>
                </c:pt>
                <c:pt idx="2132">
                  <c:v>37608</c:v>
                </c:pt>
                <c:pt idx="2133">
                  <c:v>37609</c:v>
                </c:pt>
                <c:pt idx="2134">
                  <c:v>37610</c:v>
                </c:pt>
                <c:pt idx="2135">
                  <c:v>37613</c:v>
                </c:pt>
                <c:pt idx="2136">
                  <c:v>37614</c:v>
                </c:pt>
                <c:pt idx="2137">
                  <c:v>37617</c:v>
                </c:pt>
                <c:pt idx="2138">
                  <c:v>37620</c:v>
                </c:pt>
                <c:pt idx="2139">
                  <c:v>37621</c:v>
                </c:pt>
                <c:pt idx="2140">
                  <c:v>37623</c:v>
                </c:pt>
                <c:pt idx="2141">
                  <c:v>37624</c:v>
                </c:pt>
                <c:pt idx="2142">
                  <c:v>37627</c:v>
                </c:pt>
                <c:pt idx="2143">
                  <c:v>37628</c:v>
                </c:pt>
                <c:pt idx="2144">
                  <c:v>37629</c:v>
                </c:pt>
                <c:pt idx="2145">
                  <c:v>37630</c:v>
                </c:pt>
                <c:pt idx="2146">
                  <c:v>37631</c:v>
                </c:pt>
                <c:pt idx="2147">
                  <c:v>37634</c:v>
                </c:pt>
                <c:pt idx="2148">
                  <c:v>37635</c:v>
                </c:pt>
                <c:pt idx="2149">
                  <c:v>37636</c:v>
                </c:pt>
                <c:pt idx="2150">
                  <c:v>37637</c:v>
                </c:pt>
                <c:pt idx="2151">
                  <c:v>37638</c:v>
                </c:pt>
                <c:pt idx="2152">
                  <c:v>37641</c:v>
                </c:pt>
                <c:pt idx="2153">
                  <c:v>37642</c:v>
                </c:pt>
                <c:pt idx="2154">
                  <c:v>37643</c:v>
                </c:pt>
                <c:pt idx="2155">
                  <c:v>37644</c:v>
                </c:pt>
                <c:pt idx="2156">
                  <c:v>37645</c:v>
                </c:pt>
                <c:pt idx="2157">
                  <c:v>37648</c:v>
                </c:pt>
                <c:pt idx="2158">
                  <c:v>37649</c:v>
                </c:pt>
                <c:pt idx="2159">
                  <c:v>37650</c:v>
                </c:pt>
                <c:pt idx="2160">
                  <c:v>37651</c:v>
                </c:pt>
                <c:pt idx="2161">
                  <c:v>37652</c:v>
                </c:pt>
                <c:pt idx="2162">
                  <c:v>37655</c:v>
                </c:pt>
                <c:pt idx="2163">
                  <c:v>37656</c:v>
                </c:pt>
                <c:pt idx="2164">
                  <c:v>37657</c:v>
                </c:pt>
                <c:pt idx="2165">
                  <c:v>37658</c:v>
                </c:pt>
                <c:pt idx="2166">
                  <c:v>37659</c:v>
                </c:pt>
                <c:pt idx="2167">
                  <c:v>37662</c:v>
                </c:pt>
                <c:pt idx="2168">
                  <c:v>37663</c:v>
                </c:pt>
                <c:pt idx="2169">
                  <c:v>37664</c:v>
                </c:pt>
                <c:pt idx="2170">
                  <c:v>37665</c:v>
                </c:pt>
                <c:pt idx="2171">
                  <c:v>37666</c:v>
                </c:pt>
                <c:pt idx="2172">
                  <c:v>37669</c:v>
                </c:pt>
                <c:pt idx="2173">
                  <c:v>37670</c:v>
                </c:pt>
                <c:pt idx="2174">
                  <c:v>37671</c:v>
                </c:pt>
                <c:pt idx="2175">
                  <c:v>37672</c:v>
                </c:pt>
                <c:pt idx="2176">
                  <c:v>37673</c:v>
                </c:pt>
                <c:pt idx="2177">
                  <c:v>37676</c:v>
                </c:pt>
                <c:pt idx="2178">
                  <c:v>37677</c:v>
                </c:pt>
                <c:pt idx="2179">
                  <c:v>37678</c:v>
                </c:pt>
                <c:pt idx="2180">
                  <c:v>37679</c:v>
                </c:pt>
                <c:pt idx="2181">
                  <c:v>37680</c:v>
                </c:pt>
                <c:pt idx="2182">
                  <c:v>37683</c:v>
                </c:pt>
                <c:pt idx="2183">
                  <c:v>37684</c:v>
                </c:pt>
                <c:pt idx="2184">
                  <c:v>37685</c:v>
                </c:pt>
                <c:pt idx="2185">
                  <c:v>37686</c:v>
                </c:pt>
                <c:pt idx="2186">
                  <c:v>37687</c:v>
                </c:pt>
                <c:pt idx="2187">
                  <c:v>37690</c:v>
                </c:pt>
                <c:pt idx="2188">
                  <c:v>37691</c:v>
                </c:pt>
                <c:pt idx="2189">
                  <c:v>37692</c:v>
                </c:pt>
                <c:pt idx="2190">
                  <c:v>37693</c:v>
                </c:pt>
                <c:pt idx="2191">
                  <c:v>37694</c:v>
                </c:pt>
                <c:pt idx="2192">
                  <c:v>37697</c:v>
                </c:pt>
                <c:pt idx="2193">
                  <c:v>37698</c:v>
                </c:pt>
                <c:pt idx="2194">
                  <c:v>37699</c:v>
                </c:pt>
                <c:pt idx="2195">
                  <c:v>37700</c:v>
                </c:pt>
                <c:pt idx="2196">
                  <c:v>37701</c:v>
                </c:pt>
                <c:pt idx="2197">
                  <c:v>37704</c:v>
                </c:pt>
                <c:pt idx="2198">
                  <c:v>37705</c:v>
                </c:pt>
                <c:pt idx="2199">
                  <c:v>37706</c:v>
                </c:pt>
                <c:pt idx="2200">
                  <c:v>37707</c:v>
                </c:pt>
                <c:pt idx="2201">
                  <c:v>37708</c:v>
                </c:pt>
                <c:pt idx="2202">
                  <c:v>37711</c:v>
                </c:pt>
                <c:pt idx="2203">
                  <c:v>37712</c:v>
                </c:pt>
                <c:pt idx="2204">
                  <c:v>37713</c:v>
                </c:pt>
                <c:pt idx="2205">
                  <c:v>37714</c:v>
                </c:pt>
                <c:pt idx="2206">
                  <c:v>37715</c:v>
                </c:pt>
                <c:pt idx="2207">
                  <c:v>37718</c:v>
                </c:pt>
                <c:pt idx="2208">
                  <c:v>37719</c:v>
                </c:pt>
                <c:pt idx="2209">
                  <c:v>37720</c:v>
                </c:pt>
                <c:pt idx="2210">
                  <c:v>37721</c:v>
                </c:pt>
                <c:pt idx="2211">
                  <c:v>37722</c:v>
                </c:pt>
                <c:pt idx="2212">
                  <c:v>37725</c:v>
                </c:pt>
                <c:pt idx="2213">
                  <c:v>37726</c:v>
                </c:pt>
                <c:pt idx="2214">
                  <c:v>37727</c:v>
                </c:pt>
                <c:pt idx="2215">
                  <c:v>37728</c:v>
                </c:pt>
                <c:pt idx="2216">
                  <c:v>37733</c:v>
                </c:pt>
                <c:pt idx="2217">
                  <c:v>37734</c:v>
                </c:pt>
                <c:pt idx="2218">
                  <c:v>37735</c:v>
                </c:pt>
                <c:pt idx="2219">
                  <c:v>37736</c:v>
                </c:pt>
                <c:pt idx="2220">
                  <c:v>37739</c:v>
                </c:pt>
                <c:pt idx="2221">
                  <c:v>37740</c:v>
                </c:pt>
                <c:pt idx="2222">
                  <c:v>37741</c:v>
                </c:pt>
                <c:pt idx="2223">
                  <c:v>37743</c:v>
                </c:pt>
                <c:pt idx="2224">
                  <c:v>37746</c:v>
                </c:pt>
                <c:pt idx="2225">
                  <c:v>37747</c:v>
                </c:pt>
                <c:pt idx="2226">
                  <c:v>37748</c:v>
                </c:pt>
                <c:pt idx="2227">
                  <c:v>37749</c:v>
                </c:pt>
                <c:pt idx="2228">
                  <c:v>37750</c:v>
                </c:pt>
                <c:pt idx="2229">
                  <c:v>37753</c:v>
                </c:pt>
                <c:pt idx="2230">
                  <c:v>37754</c:v>
                </c:pt>
                <c:pt idx="2231">
                  <c:v>37755</c:v>
                </c:pt>
                <c:pt idx="2232">
                  <c:v>37756</c:v>
                </c:pt>
                <c:pt idx="2233">
                  <c:v>37757</c:v>
                </c:pt>
                <c:pt idx="2234">
                  <c:v>37760</c:v>
                </c:pt>
                <c:pt idx="2235">
                  <c:v>37761</c:v>
                </c:pt>
                <c:pt idx="2236">
                  <c:v>37762</c:v>
                </c:pt>
                <c:pt idx="2237">
                  <c:v>37763</c:v>
                </c:pt>
                <c:pt idx="2238">
                  <c:v>37764</c:v>
                </c:pt>
                <c:pt idx="2239">
                  <c:v>37767</c:v>
                </c:pt>
                <c:pt idx="2240">
                  <c:v>37768</c:v>
                </c:pt>
                <c:pt idx="2241">
                  <c:v>37769</c:v>
                </c:pt>
                <c:pt idx="2242">
                  <c:v>37770</c:v>
                </c:pt>
                <c:pt idx="2243">
                  <c:v>37771</c:v>
                </c:pt>
                <c:pt idx="2244">
                  <c:v>37774</c:v>
                </c:pt>
                <c:pt idx="2245">
                  <c:v>37775</c:v>
                </c:pt>
                <c:pt idx="2246">
                  <c:v>37776</c:v>
                </c:pt>
                <c:pt idx="2247">
                  <c:v>37777</c:v>
                </c:pt>
                <c:pt idx="2248">
                  <c:v>37778</c:v>
                </c:pt>
                <c:pt idx="2249">
                  <c:v>37781</c:v>
                </c:pt>
                <c:pt idx="2250">
                  <c:v>37782</c:v>
                </c:pt>
                <c:pt idx="2251">
                  <c:v>37783</c:v>
                </c:pt>
                <c:pt idx="2252">
                  <c:v>37784</c:v>
                </c:pt>
                <c:pt idx="2253">
                  <c:v>37785</c:v>
                </c:pt>
                <c:pt idx="2254">
                  <c:v>37788</c:v>
                </c:pt>
                <c:pt idx="2255">
                  <c:v>37789</c:v>
                </c:pt>
                <c:pt idx="2256">
                  <c:v>37790</c:v>
                </c:pt>
                <c:pt idx="2257">
                  <c:v>37791</c:v>
                </c:pt>
                <c:pt idx="2258">
                  <c:v>37792</c:v>
                </c:pt>
                <c:pt idx="2259">
                  <c:v>37795</c:v>
                </c:pt>
                <c:pt idx="2260">
                  <c:v>37796</c:v>
                </c:pt>
                <c:pt idx="2261">
                  <c:v>37797</c:v>
                </c:pt>
                <c:pt idx="2262">
                  <c:v>37798</c:v>
                </c:pt>
                <c:pt idx="2263">
                  <c:v>37799</c:v>
                </c:pt>
                <c:pt idx="2264">
                  <c:v>37802</c:v>
                </c:pt>
                <c:pt idx="2265">
                  <c:v>37803</c:v>
                </c:pt>
                <c:pt idx="2266">
                  <c:v>37804</c:v>
                </c:pt>
                <c:pt idx="2267">
                  <c:v>37805</c:v>
                </c:pt>
                <c:pt idx="2268">
                  <c:v>37806</c:v>
                </c:pt>
                <c:pt idx="2269">
                  <c:v>37809</c:v>
                </c:pt>
                <c:pt idx="2270">
                  <c:v>37810</c:v>
                </c:pt>
                <c:pt idx="2271">
                  <c:v>37811</c:v>
                </c:pt>
                <c:pt idx="2272">
                  <c:v>37812</c:v>
                </c:pt>
                <c:pt idx="2273">
                  <c:v>37813</c:v>
                </c:pt>
                <c:pt idx="2274">
                  <c:v>37816</c:v>
                </c:pt>
                <c:pt idx="2275">
                  <c:v>37817</c:v>
                </c:pt>
                <c:pt idx="2276">
                  <c:v>37818</c:v>
                </c:pt>
                <c:pt idx="2277">
                  <c:v>37819</c:v>
                </c:pt>
                <c:pt idx="2278">
                  <c:v>37820</c:v>
                </c:pt>
                <c:pt idx="2279">
                  <c:v>37823</c:v>
                </c:pt>
                <c:pt idx="2280">
                  <c:v>37824</c:v>
                </c:pt>
                <c:pt idx="2281">
                  <c:v>37825</c:v>
                </c:pt>
                <c:pt idx="2282">
                  <c:v>37826</c:v>
                </c:pt>
                <c:pt idx="2283">
                  <c:v>37827</c:v>
                </c:pt>
                <c:pt idx="2284">
                  <c:v>37830</c:v>
                </c:pt>
                <c:pt idx="2285">
                  <c:v>37831</c:v>
                </c:pt>
                <c:pt idx="2286">
                  <c:v>37832</c:v>
                </c:pt>
                <c:pt idx="2287">
                  <c:v>37833</c:v>
                </c:pt>
                <c:pt idx="2288">
                  <c:v>37834</c:v>
                </c:pt>
                <c:pt idx="2289">
                  <c:v>37837</c:v>
                </c:pt>
                <c:pt idx="2290">
                  <c:v>37838</c:v>
                </c:pt>
                <c:pt idx="2291">
                  <c:v>37839</c:v>
                </c:pt>
                <c:pt idx="2292">
                  <c:v>37840</c:v>
                </c:pt>
                <c:pt idx="2293">
                  <c:v>37841</c:v>
                </c:pt>
                <c:pt idx="2294">
                  <c:v>37844</c:v>
                </c:pt>
                <c:pt idx="2295">
                  <c:v>37845</c:v>
                </c:pt>
                <c:pt idx="2296">
                  <c:v>37846</c:v>
                </c:pt>
                <c:pt idx="2297">
                  <c:v>37847</c:v>
                </c:pt>
                <c:pt idx="2298">
                  <c:v>37848</c:v>
                </c:pt>
                <c:pt idx="2299">
                  <c:v>37851</c:v>
                </c:pt>
                <c:pt idx="2300">
                  <c:v>37852</c:v>
                </c:pt>
                <c:pt idx="2301">
                  <c:v>37853</c:v>
                </c:pt>
                <c:pt idx="2302">
                  <c:v>37854</c:v>
                </c:pt>
                <c:pt idx="2303">
                  <c:v>37855</c:v>
                </c:pt>
                <c:pt idx="2304">
                  <c:v>37858</c:v>
                </c:pt>
                <c:pt idx="2305">
                  <c:v>37859</c:v>
                </c:pt>
                <c:pt idx="2306">
                  <c:v>37860</c:v>
                </c:pt>
                <c:pt idx="2307">
                  <c:v>37861</c:v>
                </c:pt>
                <c:pt idx="2308">
                  <c:v>37862</c:v>
                </c:pt>
                <c:pt idx="2309">
                  <c:v>37865</c:v>
                </c:pt>
                <c:pt idx="2310">
                  <c:v>37866</c:v>
                </c:pt>
                <c:pt idx="2311">
                  <c:v>37867</c:v>
                </c:pt>
                <c:pt idx="2312">
                  <c:v>37868</c:v>
                </c:pt>
                <c:pt idx="2313">
                  <c:v>37869</c:v>
                </c:pt>
                <c:pt idx="2314">
                  <c:v>37872</c:v>
                </c:pt>
                <c:pt idx="2315">
                  <c:v>37873</c:v>
                </c:pt>
                <c:pt idx="2316">
                  <c:v>37874</c:v>
                </c:pt>
                <c:pt idx="2317">
                  <c:v>37875</c:v>
                </c:pt>
                <c:pt idx="2318">
                  <c:v>37876</c:v>
                </c:pt>
                <c:pt idx="2319">
                  <c:v>37879</c:v>
                </c:pt>
                <c:pt idx="2320">
                  <c:v>37880</c:v>
                </c:pt>
                <c:pt idx="2321">
                  <c:v>37881</c:v>
                </c:pt>
                <c:pt idx="2322">
                  <c:v>37882</c:v>
                </c:pt>
                <c:pt idx="2323">
                  <c:v>37883</c:v>
                </c:pt>
                <c:pt idx="2324">
                  <c:v>37886</c:v>
                </c:pt>
                <c:pt idx="2325">
                  <c:v>37887</c:v>
                </c:pt>
                <c:pt idx="2326">
                  <c:v>37888</c:v>
                </c:pt>
                <c:pt idx="2327">
                  <c:v>37889</c:v>
                </c:pt>
                <c:pt idx="2328">
                  <c:v>37890</c:v>
                </c:pt>
                <c:pt idx="2329">
                  <c:v>37893</c:v>
                </c:pt>
                <c:pt idx="2330">
                  <c:v>37894</c:v>
                </c:pt>
                <c:pt idx="2331">
                  <c:v>37895</c:v>
                </c:pt>
                <c:pt idx="2332">
                  <c:v>37896</c:v>
                </c:pt>
                <c:pt idx="2333">
                  <c:v>37897</c:v>
                </c:pt>
                <c:pt idx="2334">
                  <c:v>37900</c:v>
                </c:pt>
                <c:pt idx="2335">
                  <c:v>37901</c:v>
                </c:pt>
                <c:pt idx="2336">
                  <c:v>37902</c:v>
                </c:pt>
                <c:pt idx="2337">
                  <c:v>37903</c:v>
                </c:pt>
                <c:pt idx="2338">
                  <c:v>37904</c:v>
                </c:pt>
                <c:pt idx="2339">
                  <c:v>37907</c:v>
                </c:pt>
                <c:pt idx="2340">
                  <c:v>37908</c:v>
                </c:pt>
                <c:pt idx="2341">
                  <c:v>37909</c:v>
                </c:pt>
                <c:pt idx="2342">
                  <c:v>37910</c:v>
                </c:pt>
                <c:pt idx="2343">
                  <c:v>37911</c:v>
                </c:pt>
                <c:pt idx="2344">
                  <c:v>37914</c:v>
                </c:pt>
                <c:pt idx="2345">
                  <c:v>37915</c:v>
                </c:pt>
                <c:pt idx="2346">
                  <c:v>37916</c:v>
                </c:pt>
                <c:pt idx="2347">
                  <c:v>37917</c:v>
                </c:pt>
                <c:pt idx="2348">
                  <c:v>37918</c:v>
                </c:pt>
                <c:pt idx="2349">
                  <c:v>37921</c:v>
                </c:pt>
                <c:pt idx="2350">
                  <c:v>37922</c:v>
                </c:pt>
                <c:pt idx="2351">
                  <c:v>37923</c:v>
                </c:pt>
                <c:pt idx="2352">
                  <c:v>37924</c:v>
                </c:pt>
                <c:pt idx="2353">
                  <c:v>37925</c:v>
                </c:pt>
                <c:pt idx="2354">
                  <c:v>37928</c:v>
                </c:pt>
                <c:pt idx="2355">
                  <c:v>37929</c:v>
                </c:pt>
                <c:pt idx="2356">
                  <c:v>37930</c:v>
                </c:pt>
                <c:pt idx="2357">
                  <c:v>37931</c:v>
                </c:pt>
                <c:pt idx="2358">
                  <c:v>37932</c:v>
                </c:pt>
                <c:pt idx="2359">
                  <c:v>37935</c:v>
                </c:pt>
                <c:pt idx="2360">
                  <c:v>37936</c:v>
                </c:pt>
                <c:pt idx="2361">
                  <c:v>37937</c:v>
                </c:pt>
                <c:pt idx="2362">
                  <c:v>37938</c:v>
                </c:pt>
                <c:pt idx="2363">
                  <c:v>37939</c:v>
                </c:pt>
                <c:pt idx="2364">
                  <c:v>37942</c:v>
                </c:pt>
                <c:pt idx="2365">
                  <c:v>37943</c:v>
                </c:pt>
                <c:pt idx="2366">
                  <c:v>37944</c:v>
                </c:pt>
                <c:pt idx="2367">
                  <c:v>37945</c:v>
                </c:pt>
                <c:pt idx="2368">
                  <c:v>37946</c:v>
                </c:pt>
                <c:pt idx="2369">
                  <c:v>37949</c:v>
                </c:pt>
                <c:pt idx="2370">
                  <c:v>37950</c:v>
                </c:pt>
                <c:pt idx="2371">
                  <c:v>37951</c:v>
                </c:pt>
                <c:pt idx="2372">
                  <c:v>37952</c:v>
                </c:pt>
                <c:pt idx="2373">
                  <c:v>37953</c:v>
                </c:pt>
                <c:pt idx="2374">
                  <c:v>37956</c:v>
                </c:pt>
                <c:pt idx="2375">
                  <c:v>37957</c:v>
                </c:pt>
                <c:pt idx="2376">
                  <c:v>37958</c:v>
                </c:pt>
                <c:pt idx="2377">
                  <c:v>37959</c:v>
                </c:pt>
                <c:pt idx="2378">
                  <c:v>37960</c:v>
                </c:pt>
                <c:pt idx="2379">
                  <c:v>37963</c:v>
                </c:pt>
                <c:pt idx="2380">
                  <c:v>37964</c:v>
                </c:pt>
                <c:pt idx="2381">
                  <c:v>37965</c:v>
                </c:pt>
                <c:pt idx="2382">
                  <c:v>37966</c:v>
                </c:pt>
                <c:pt idx="2383">
                  <c:v>37967</c:v>
                </c:pt>
                <c:pt idx="2384">
                  <c:v>37970</c:v>
                </c:pt>
                <c:pt idx="2385">
                  <c:v>37971</c:v>
                </c:pt>
                <c:pt idx="2386">
                  <c:v>37972</c:v>
                </c:pt>
                <c:pt idx="2387">
                  <c:v>37973</c:v>
                </c:pt>
                <c:pt idx="2388">
                  <c:v>37974</c:v>
                </c:pt>
                <c:pt idx="2389">
                  <c:v>37977</c:v>
                </c:pt>
                <c:pt idx="2390">
                  <c:v>37978</c:v>
                </c:pt>
                <c:pt idx="2391">
                  <c:v>37979</c:v>
                </c:pt>
                <c:pt idx="2392">
                  <c:v>37984</c:v>
                </c:pt>
                <c:pt idx="2393">
                  <c:v>37985</c:v>
                </c:pt>
                <c:pt idx="2394">
                  <c:v>37986</c:v>
                </c:pt>
                <c:pt idx="2395">
                  <c:v>37988</c:v>
                </c:pt>
                <c:pt idx="2396">
                  <c:v>37991</c:v>
                </c:pt>
                <c:pt idx="2397">
                  <c:v>37992</c:v>
                </c:pt>
                <c:pt idx="2398">
                  <c:v>37993</c:v>
                </c:pt>
                <c:pt idx="2399">
                  <c:v>37994</c:v>
                </c:pt>
                <c:pt idx="2400">
                  <c:v>37995</c:v>
                </c:pt>
                <c:pt idx="2401">
                  <c:v>37998</c:v>
                </c:pt>
                <c:pt idx="2402">
                  <c:v>37999</c:v>
                </c:pt>
                <c:pt idx="2403">
                  <c:v>38000</c:v>
                </c:pt>
                <c:pt idx="2404">
                  <c:v>38001</c:v>
                </c:pt>
                <c:pt idx="2405">
                  <c:v>38002</c:v>
                </c:pt>
                <c:pt idx="2406">
                  <c:v>38005</c:v>
                </c:pt>
                <c:pt idx="2407">
                  <c:v>38006</c:v>
                </c:pt>
                <c:pt idx="2408">
                  <c:v>38007</c:v>
                </c:pt>
                <c:pt idx="2409">
                  <c:v>38008</c:v>
                </c:pt>
                <c:pt idx="2410">
                  <c:v>38009</c:v>
                </c:pt>
                <c:pt idx="2411">
                  <c:v>38012</c:v>
                </c:pt>
                <c:pt idx="2412">
                  <c:v>38013</c:v>
                </c:pt>
                <c:pt idx="2413">
                  <c:v>38014</c:v>
                </c:pt>
                <c:pt idx="2414">
                  <c:v>38015</c:v>
                </c:pt>
                <c:pt idx="2415">
                  <c:v>38016</c:v>
                </c:pt>
                <c:pt idx="2416">
                  <c:v>38019</c:v>
                </c:pt>
                <c:pt idx="2417">
                  <c:v>38020</c:v>
                </c:pt>
                <c:pt idx="2418">
                  <c:v>38021</c:v>
                </c:pt>
                <c:pt idx="2419">
                  <c:v>38022</c:v>
                </c:pt>
                <c:pt idx="2420">
                  <c:v>38023</c:v>
                </c:pt>
                <c:pt idx="2421">
                  <c:v>38026</c:v>
                </c:pt>
                <c:pt idx="2422">
                  <c:v>38027</c:v>
                </c:pt>
                <c:pt idx="2423">
                  <c:v>38028</c:v>
                </c:pt>
                <c:pt idx="2424">
                  <c:v>38029</c:v>
                </c:pt>
                <c:pt idx="2425">
                  <c:v>38030</c:v>
                </c:pt>
                <c:pt idx="2426">
                  <c:v>38033</c:v>
                </c:pt>
                <c:pt idx="2427">
                  <c:v>38034</c:v>
                </c:pt>
                <c:pt idx="2428">
                  <c:v>38035</c:v>
                </c:pt>
                <c:pt idx="2429">
                  <c:v>38036</c:v>
                </c:pt>
                <c:pt idx="2430">
                  <c:v>38037</c:v>
                </c:pt>
                <c:pt idx="2431">
                  <c:v>38040</c:v>
                </c:pt>
                <c:pt idx="2432">
                  <c:v>38041</c:v>
                </c:pt>
                <c:pt idx="2433">
                  <c:v>38042</c:v>
                </c:pt>
                <c:pt idx="2434">
                  <c:v>38043</c:v>
                </c:pt>
                <c:pt idx="2435">
                  <c:v>38044</c:v>
                </c:pt>
                <c:pt idx="2436">
                  <c:v>38047</c:v>
                </c:pt>
                <c:pt idx="2437">
                  <c:v>38048</c:v>
                </c:pt>
                <c:pt idx="2438">
                  <c:v>38049</c:v>
                </c:pt>
                <c:pt idx="2439">
                  <c:v>38050</c:v>
                </c:pt>
                <c:pt idx="2440">
                  <c:v>38051</c:v>
                </c:pt>
                <c:pt idx="2441">
                  <c:v>38054</c:v>
                </c:pt>
                <c:pt idx="2442">
                  <c:v>38055</c:v>
                </c:pt>
                <c:pt idx="2443">
                  <c:v>38056</c:v>
                </c:pt>
                <c:pt idx="2444">
                  <c:v>38057</c:v>
                </c:pt>
                <c:pt idx="2445">
                  <c:v>38058</c:v>
                </c:pt>
                <c:pt idx="2446">
                  <c:v>38061</c:v>
                </c:pt>
                <c:pt idx="2447">
                  <c:v>38062</c:v>
                </c:pt>
                <c:pt idx="2448">
                  <c:v>38063</c:v>
                </c:pt>
                <c:pt idx="2449">
                  <c:v>38064</c:v>
                </c:pt>
                <c:pt idx="2450">
                  <c:v>38065</c:v>
                </c:pt>
                <c:pt idx="2451">
                  <c:v>38068</c:v>
                </c:pt>
                <c:pt idx="2452">
                  <c:v>38069</c:v>
                </c:pt>
                <c:pt idx="2453">
                  <c:v>38070</c:v>
                </c:pt>
                <c:pt idx="2454">
                  <c:v>38071</c:v>
                </c:pt>
                <c:pt idx="2455">
                  <c:v>38072</c:v>
                </c:pt>
                <c:pt idx="2456">
                  <c:v>38075</c:v>
                </c:pt>
                <c:pt idx="2457">
                  <c:v>38076</c:v>
                </c:pt>
                <c:pt idx="2458">
                  <c:v>38077</c:v>
                </c:pt>
                <c:pt idx="2459">
                  <c:v>38078</c:v>
                </c:pt>
                <c:pt idx="2460">
                  <c:v>38079</c:v>
                </c:pt>
                <c:pt idx="2461">
                  <c:v>38082</c:v>
                </c:pt>
                <c:pt idx="2462">
                  <c:v>38083</c:v>
                </c:pt>
                <c:pt idx="2463">
                  <c:v>38084</c:v>
                </c:pt>
                <c:pt idx="2464">
                  <c:v>38085</c:v>
                </c:pt>
                <c:pt idx="2465">
                  <c:v>38090</c:v>
                </c:pt>
                <c:pt idx="2466">
                  <c:v>38091</c:v>
                </c:pt>
                <c:pt idx="2467">
                  <c:v>38092</c:v>
                </c:pt>
                <c:pt idx="2468">
                  <c:v>38093</c:v>
                </c:pt>
                <c:pt idx="2469">
                  <c:v>38096</c:v>
                </c:pt>
                <c:pt idx="2470">
                  <c:v>38097</c:v>
                </c:pt>
                <c:pt idx="2471">
                  <c:v>38098</c:v>
                </c:pt>
                <c:pt idx="2472">
                  <c:v>38099</c:v>
                </c:pt>
                <c:pt idx="2473">
                  <c:v>38100</c:v>
                </c:pt>
                <c:pt idx="2474">
                  <c:v>38103</c:v>
                </c:pt>
                <c:pt idx="2475">
                  <c:v>38104</c:v>
                </c:pt>
                <c:pt idx="2476">
                  <c:v>38105</c:v>
                </c:pt>
                <c:pt idx="2477">
                  <c:v>38106</c:v>
                </c:pt>
                <c:pt idx="2478">
                  <c:v>38107</c:v>
                </c:pt>
                <c:pt idx="2479">
                  <c:v>38110</c:v>
                </c:pt>
                <c:pt idx="2480">
                  <c:v>38111</c:v>
                </c:pt>
                <c:pt idx="2481">
                  <c:v>38112</c:v>
                </c:pt>
                <c:pt idx="2482">
                  <c:v>38113</c:v>
                </c:pt>
                <c:pt idx="2483">
                  <c:v>38114</c:v>
                </c:pt>
                <c:pt idx="2484">
                  <c:v>38117</c:v>
                </c:pt>
                <c:pt idx="2485">
                  <c:v>38118</c:v>
                </c:pt>
                <c:pt idx="2486">
                  <c:v>38119</c:v>
                </c:pt>
                <c:pt idx="2487">
                  <c:v>38120</c:v>
                </c:pt>
                <c:pt idx="2488">
                  <c:v>38121</c:v>
                </c:pt>
                <c:pt idx="2489">
                  <c:v>38124</c:v>
                </c:pt>
                <c:pt idx="2490">
                  <c:v>38125</c:v>
                </c:pt>
                <c:pt idx="2491">
                  <c:v>38126</c:v>
                </c:pt>
                <c:pt idx="2492">
                  <c:v>38127</c:v>
                </c:pt>
                <c:pt idx="2493">
                  <c:v>38128</c:v>
                </c:pt>
                <c:pt idx="2494">
                  <c:v>38131</c:v>
                </c:pt>
                <c:pt idx="2495">
                  <c:v>38132</c:v>
                </c:pt>
                <c:pt idx="2496">
                  <c:v>38133</c:v>
                </c:pt>
                <c:pt idx="2497">
                  <c:v>38134</c:v>
                </c:pt>
                <c:pt idx="2498">
                  <c:v>38135</c:v>
                </c:pt>
                <c:pt idx="2499">
                  <c:v>38138</c:v>
                </c:pt>
                <c:pt idx="2500">
                  <c:v>38139</c:v>
                </c:pt>
                <c:pt idx="2501">
                  <c:v>38140</c:v>
                </c:pt>
                <c:pt idx="2502">
                  <c:v>38141</c:v>
                </c:pt>
                <c:pt idx="2503">
                  <c:v>38142</c:v>
                </c:pt>
                <c:pt idx="2504">
                  <c:v>38145</c:v>
                </c:pt>
                <c:pt idx="2505">
                  <c:v>38146</c:v>
                </c:pt>
                <c:pt idx="2506">
                  <c:v>38147</c:v>
                </c:pt>
                <c:pt idx="2507">
                  <c:v>38148</c:v>
                </c:pt>
                <c:pt idx="2508">
                  <c:v>38149</c:v>
                </c:pt>
                <c:pt idx="2509">
                  <c:v>38152</c:v>
                </c:pt>
                <c:pt idx="2510">
                  <c:v>38153</c:v>
                </c:pt>
                <c:pt idx="2511">
                  <c:v>38154</c:v>
                </c:pt>
                <c:pt idx="2512">
                  <c:v>38155</c:v>
                </c:pt>
                <c:pt idx="2513">
                  <c:v>38156</c:v>
                </c:pt>
                <c:pt idx="2514">
                  <c:v>38159</c:v>
                </c:pt>
                <c:pt idx="2515">
                  <c:v>38160</c:v>
                </c:pt>
                <c:pt idx="2516">
                  <c:v>38161</c:v>
                </c:pt>
                <c:pt idx="2517">
                  <c:v>38162</c:v>
                </c:pt>
                <c:pt idx="2518">
                  <c:v>38163</c:v>
                </c:pt>
                <c:pt idx="2519">
                  <c:v>38166</c:v>
                </c:pt>
                <c:pt idx="2520">
                  <c:v>38167</c:v>
                </c:pt>
                <c:pt idx="2521">
                  <c:v>38168</c:v>
                </c:pt>
                <c:pt idx="2522">
                  <c:v>38169</c:v>
                </c:pt>
                <c:pt idx="2523">
                  <c:v>38170</c:v>
                </c:pt>
                <c:pt idx="2524">
                  <c:v>38173</c:v>
                </c:pt>
                <c:pt idx="2525">
                  <c:v>38174</c:v>
                </c:pt>
                <c:pt idx="2526">
                  <c:v>38175</c:v>
                </c:pt>
                <c:pt idx="2527">
                  <c:v>38176</c:v>
                </c:pt>
                <c:pt idx="2528">
                  <c:v>38177</c:v>
                </c:pt>
                <c:pt idx="2529">
                  <c:v>38180</c:v>
                </c:pt>
                <c:pt idx="2530">
                  <c:v>38181</c:v>
                </c:pt>
                <c:pt idx="2531">
                  <c:v>38182</c:v>
                </c:pt>
                <c:pt idx="2532">
                  <c:v>38183</c:v>
                </c:pt>
                <c:pt idx="2533">
                  <c:v>38184</c:v>
                </c:pt>
                <c:pt idx="2534">
                  <c:v>38187</c:v>
                </c:pt>
                <c:pt idx="2535">
                  <c:v>38188</c:v>
                </c:pt>
                <c:pt idx="2536">
                  <c:v>38189</c:v>
                </c:pt>
                <c:pt idx="2537">
                  <c:v>38190</c:v>
                </c:pt>
                <c:pt idx="2538">
                  <c:v>38191</c:v>
                </c:pt>
                <c:pt idx="2539">
                  <c:v>38194</c:v>
                </c:pt>
                <c:pt idx="2540">
                  <c:v>38195</c:v>
                </c:pt>
                <c:pt idx="2541">
                  <c:v>38196</c:v>
                </c:pt>
                <c:pt idx="2542">
                  <c:v>38197</c:v>
                </c:pt>
                <c:pt idx="2543">
                  <c:v>38198</c:v>
                </c:pt>
                <c:pt idx="2544">
                  <c:v>38201</c:v>
                </c:pt>
                <c:pt idx="2545">
                  <c:v>38202</c:v>
                </c:pt>
                <c:pt idx="2546">
                  <c:v>38203</c:v>
                </c:pt>
                <c:pt idx="2547">
                  <c:v>38204</c:v>
                </c:pt>
                <c:pt idx="2548">
                  <c:v>38205</c:v>
                </c:pt>
                <c:pt idx="2549">
                  <c:v>38208</c:v>
                </c:pt>
                <c:pt idx="2550">
                  <c:v>38209</c:v>
                </c:pt>
                <c:pt idx="2551">
                  <c:v>38210</c:v>
                </c:pt>
                <c:pt idx="2552">
                  <c:v>38211</c:v>
                </c:pt>
                <c:pt idx="2553">
                  <c:v>38212</c:v>
                </c:pt>
                <c:pt idx="2554">
                  <c:v>38215</c:v>
                </c:pt>
                <c:pt idx="2555">
                  <c:v>38216</c:v>
                </c:pt>
                <c:pt idx="2556">
                  <c:v>38217</c:v>
                </c:pt>
                <c:pt idx="2557">
                  <c:v>38218</c:v>
                </c:pt>
                <c:pt idx="2558">
                  <c:v>38219</c:v>
                </c:pt>
                <c:pt idx="2559">
                  <c:v>38222</c:v>
                </c:pt>
                <c:pt idx="2560">
                  <c:v>38223</c:v>
                </c:pt>
                <c:pt idx="2561">
                  <c:v>38224</c:v>
                </c:pt>
                <c:pt idx="2562">
                  <c:v>38225</c:v>
                </c:pt>
                <c:pt idx="2563">
                  <c:v>38226</c:v>
                </c:pt>
                <c:pt idx="2564">
                  <c:v>38229</c:v>
                </c:pt>
                <c:pt idx="2565">
                  <c:v>38230</c:v>
                </c:pt>
                <c:pt idx="2566">
                  <c:v>38231</c:v>
                </c:pt>
                <c:pt idx="2567">
                  <c:v>38232</c:v>
                </c:pt>
                <c:pt idx="2568">
                  <c:v>38233</c:v>
                </c:pt>
                <c:pt idx="2569">
                  <c:v>38236</c:v>
                </c:pt>
                <c:pt idx="2570">
                  <c:v>38237</c:v>
                </c:pt>
                <c:pt idx="2571">
                  <c:v>38238</c:v>
                </c:pt>
                <c:pt idx="2572">
                  <c:v>38239</c:v>
                </c:pt>
                <c:pt idx="2573">
                  <c:v>38240</c:v>
                </c:pt>
                <c:pt idx="2574">
                  <c:v>38243</c:v>
                </c:pt>
                <c:pt idx="2575">
                  <c:v>38244</c:v>
                </c:pt>
                <c:pt idx="2576">
                  <c:v>38245</c:v>
                </c:pt>
                <c:pt idx="2577">
                  <c:v>38246</c:v>
                </c:pt>
                <c:pt idx="2578">
                  <c:v>38247</c:v>
                </c:pt>
                <c:pt idx="2579">
                  <c:v>38250</c:v>
                </c:pt>
                <c:pt idx="2580">
                  <c:v>38251</c:v>
                </c:pt>
                <c:pt idx="2581">
                  <c:v>38252</c:v>
                </c:pt>
                <c:pt idx="2582">
                  <c:v>38253</c:v>
                </c:pt>
                <c:pt idx="2583">
                  <c:v>38254</c:v>
                </c:pt>
                <c:pt idx="2584">
                  <c:v>38257</c:v>
                </c:pt>
                <c:pt idx="2585">
                  <c:v>38258</c:v>
                </c:pt>
                <c:pt idx="2586">
                  <c:v>38259</c:v>
                </c:pt>
                <c:pt idx="2587">
                  <c:v>38260</c:v>
                </c:pt>
                <c:pt idx="2588">
                  <c:v>38261</c:v>
                </c:pt>
                <c:pt idx="2589">
                  <c:v>38264</c:v>
                </c:pt>
                <c:pt idx="2590">
                  <c:v>38265</c:v>
                </c:pt>
                <c:pt idx="2591">
                  <c:v>38266</c:v>
                </c:pt>
                <c:pt idx="2592">
                  <c:v>38267</c:v>
                </c:pt>
                <c:pt idx="2593">
                  <c:v>38268</c:v>
                </c:pt>
                <c:pt idx="2594">
                  <c:v>38271</c:v>
                </c:pt>
                <c:pt idx="2595">
                  <c:v>38272</c:v>
                </c:pt>
                <c:pt idx="2596">
                  <c:v>38273</c:v>
                </c:pt>
                <c:pt idx="2597">
                  <c:v>38274</c:v>
                </c:pt>
                <c:pt idx="2598">
                  <c:v>38275</c:v>
                </c:pt>
                <c:pt idx="2599">
                  <c:v>38278</c:v>
                </c:pt>
                <c:pt idx="2600">
                  <c:v>38279</c:v>
                </c:pt>
                <c:pt idx="2601">
                  <c:v>38280</c:v>
                </c:pt>
                <c:pt idx="2602">
                  <c:v>38281</c:v>
                </c:pt>
                <c:pt idx="2603">
                  <c:v>38282</c:v>
                </c:pt>
                <c:pt idx="2604">
                  <c:v>38285</c:v>
                </c:pt>
                <c:pt idx="2605">
                  <c:v>38286</c:v>
                </c:pt>
                <c:pt idx="2606">
                  <c:v>38287</c:v>
                </c:pt>
                <c:pt idx="2607">
                  <c:v>38288</c:v>
                </c:pt>
                <c:pt idx="2608">
                  <c:v>38289</c:v>
                </c:pt>
                <c:pt idx="2609">
                  <c:v>38292</c:v>
                </c:pt>
                <c:pt idx="2610">
                  <c:v>38293</c:v>
                </c:pt>
                <c:pt idx="2611">
                  <c:v>38294</c:v>
                </c:pt>
                <c:pt idx="2612">
                  <c:v>38295</c:v>
                </c:pt>
                <c:pt idx="2613">
                  <c:v>38296</c:v>
                </c:pt>
                <c:pt idx="2614">
                  <c:v>38299</c:v>
                </c:pt>
                <c:pt idx="2615">
                  <c:v>38300</c:v>
                </c:pt>
                <c:pt idx="2616">
                  <c:v>38301</c:v>
                </c:pt>
                <c:pt idx="2617">
                  <c:v>38302</c:v>
                </c:pt>
                <c:pt idx="2618">
                  <c:v>38303</c:v>
                </c:pt>
                <c:pt idx="2619">
                  <c:v>38306</c:v>
                </c:pt>
                <c:pt idx="2620">
                  <c:v>38307</c:v>
                </c:pt>
                <c:pt idx="2621">
                  <c:v>38308</c:v>
                </c:pt>
                <c:pt idx="2622">
                  <c:v>38309</c:v>
                </c:pt>
                <c:pt idx="2623">
                  <c:v>38310</c:v>
                </c:pt>
                <c:pt idx="2624">
                  <c:v>38313</c:v>
                </c:pt>
                <c:pt idx="2625">
                  <c:v>38314</c:v>
                </c:pt>
                <c:pt idx="2626">
                  <c:v>38315</c:v>
                </c:pt>
                <c:pt idx="2627">
                  <c:v>38316</c:v>
                </c:pt>
                <c:pt idx="2628">
                  <c:v>38317</c:v>
                </c:pt>
                <c:pt idx="2629">
                  <c:v>38320</c:v>
                </c:pt>
                <c:pt idx="2630">
                  <c:v>38321</c:v>
                </c:pt>
                <c:pt idx="2631">
                  <c:v>38322</c:v>
                </c:pt>
                <c:pt idx="2632">
                  <c:v>38323</c:v>
                </c:pt>
                <c:pt idx="2633">
                  <c:v>38324</c:v>
                </c:pt>
                <c:pt idx="2634">
                  <c:v>38327</c:v>
                </c:pt>
                <c:pt idx="2635">
                  <c:v>38328</c:v>
                </c:pt>
                <c:pt idx="2636">
                  <c:v>38329</c:v>
                </c:pt>
                <c:pt idx="2637">
                  <c:v>38330</c:v>
                </c:pt>
                <c:pt idx="2638">
                  <c:v>38331</c:v>
                </c:pt>
                <c:pt idx="2639">
                  <c:v>38334</c:v>
                </c:pt>
                <c:pt idx="2640">
                  <c:v>38335</c:v>
                </c:pt>
                <c:pt idx="2641">
                  <c:v>38336</c:v>
                </c:pt>
                <c:pt idx="2642">
                  <c:v>38337</c:v>
                </c:pt>
                <c:pt idx="2643">
                  <c:v>38338</c:v>
                </c:pt>
                <c:pt idx="2644">
                  <c:v>38341</c:v>
                </c:pt>
                <c:pt idx="2645">
                  <c:v>38342</c:v>
                </c:pt>
                <c:pt idx="2646">
                  <c:v>38343</c:v>
                </c:pt>
                <c:pt idx="2647">
                  <c:v>38344</c:v>
                </c:pt>
                <c:pt idx="2648">
                  <c:v>38345</c:v>
                </c:pt>
                <c:pt idx="2649">
                  <c:v>38348</c:v>
                </c:pt>
                <c:pt idx="2650">
                  <c:v>38349</c:v>
                </c:pt>
                <c:pt idx="2651">
                  <c:v>38350</c:v>
                </c:pt>
                <c:pt idx="2652">
                  <c:v>38351</c:v>
                </c:pt>
                <c:pt idx="2653">
                  <c:v>38352</c:v>
                </c:pt>
                <c:pt idx="2654">
                  <c:v>38355</c:v>
                </c:pt>
                <c:pt idx="2655">
                  <c:v>38356</c:v>
                </c:pt>
                <c:pt idx="2656">
                  <c:v>38357</c:v>
                </c:pt>
                <c:pt idx="2657">
                  <c:v>38358</c:v>
                </c:pt>
                <c:pt idx="2658">
                  <c:v>38359</c:v>
                </c:pt>
                <c:pt idx="2659">
                  <c:v>38362</c:v>
                </c:pt>
                <c:pt idx="2660">
                  <c:v>38363</c:v>
                </c:pt>
                <c:pt idx="2661">
                  <c:v>38364</c:v>
                </c:pt>
                <c:pt idx="2662">
                  <c:v>38365</c:v>
                </c:pt>
                <c:pt idx="2663">
                  <c:v>38366</c:v>
                </c:pt>
                <c:pt idx="2664">
                  <c:v>38369</c:v>
                </c:pt>
                <c:pt idx="2665">
                  <c:v>38370</c:v>
                </c:pt>
                <c:pt idx="2666">
                  <c:v>38371</c:v>
                </c:pt>
                <c:pt idx="2667">
                  <c:v>38372</c:v>
                </c:pt>
                <c:pt idx="2668">
                  <c:v>38373</c:v>
                </c:pt>
                <c:pt idx="2669">
                  <c:v>38376</c:v>
                </c:pt>
                <c:pt idx="2670">
                  <c:v>38377</c:v>
                </c:pt>
                <c:pt idx="2671">
                  <c:v>38378</c:v>
                </c:pt>
                <c:pt idx="2672">
                  <c:v>38379</c:v>
                </c:pt>
                <c:pt idx="2673">
                  <c:v>38380</c:v>
                </c:pt>
                <c:pt idx="2674">
                  <c:v>38383</c:v>
                </c:pt>
                <c:pt idx="2675">
                  <c:v>38384</c:v>
                </c:pt>
                <c:pt idx="2676">
                  <c:v>38385</c:v>
                </c:pt>
                <c:pt idx="2677">
                  <c:v>38386</c:v>
                </c:pt>
                <c:pt idx="2678">
                  <c:v>38387</c:v>
                </c:pt>
                <c:pt idx="2679">
                  <c:v>38390</c:v>
                </c:pt>
                <c:pt idx="2680">
                  <c:v>38391</c:v>
                </c:pt>
                <c:pt idx="2681">
                  <c:v>38392</c:v>
                </c:pt>
                <c:pt idx="2682">
                  <c:v>38393</c:v>
                </c:pt>
                <c:pt idx="2683">
                  <c:v>38394</c:v>
                </c:pt>
                <c:pt idx="2684">
                  <c:v>38397</c:v>
                </c:pt>
                <c:pt idx="2685">
                  <c:v>38398</c:v>
                </c:pt>
                <c:pt idx="2686">
                  <c:v>38399</c:v>
                </c:pt>
                <c:pt idx="2687">
                  <c:v>38400</c:v>
                </c:pt>
                <c:pt idx="2688">
                  <c:v>38401</c:v>
                </c:pt>
                <c:pt idx="2689">
                  <c:v>38404</c:v>
                </c:pt>
                <c:pt idx="2690">
                  <c:v>38405</c:v>
                </c:pt>
                <c:pt idx="2691">
                  <c:v>38406</c:v>
                </c:pt>
                <c:pt idx="2692">
                  <c:v>38407</c:v>
                </c:pt>
                <c:pt idx="2693">
                  <c:v>38408</c:v>
                </c:pt>
                <c:pt idx="2694">
                  <c:v>38411</c:v>
                </c:pt>
                <c:pt idx="2695">
                  <c:v>38412</c:v>
                </c:pt>
                <c:pt idx="2696">
                  <c:v>38413</c:v>
                </c:pt>
                <c:pt idx="2697">
                  <c:v>38414</c:v>
                </c:pt>
                <c:pt idx="2698">
                  <c:v>38415</c:v>
                </c:pt>
                <c:pt idx="2699">
                  <c:v>38418</c:v>
                </c:pt>
                <c:pt idx="2700">
                  <c:v>38419</c:v>
                </c:pt>
                <c:pt idx="2701">
                  <c:v>38420</c:v>
                </c:pt>
                <c:pt idx="2702">
                  <c:v>38421</c:v>
                </c:pt>
                <c:pt idx="2703">
                  <c:v>38422</c:v>
                </c:pt>
                <c:pt idx="2704">
                  <c:v>38425</c:v>
                </c:pt>
                <c:pt idx="2705">
                  <c:v>38426</c:v>
                </c:pt>
                <c:pt idx="2706">
                  <c:v>38427</c:v>
                </c:pt>
                <c:pt idx="2707">
                  <c:v>38428</c:v>
                </c:pt>
                <c:pt idx="2708">
                  <c:v>38429</c:v>
                </c:pt>
                <c:pt idx="2709">
                  <c:v>38432</c:v>
                </c:pt>
                <c:pt idx="2710">
                  <c:v>38433</c:v>
                </c:pt>
                <c:pt idx="2711">
                  <c:v>38434</c:v>
                </c:pt>
                <c:pt idx="2712">
                  <c:v>38435</c:v>
                </c:pt>
                <c:pt idx="2713">
                  <c:v>38440</c:v>
                </c:pt>
                <c:pt idx="2714">
                  <c:v>38441</c:v>
                </c:pt>
                <c:pt idx="2715">
                  <c:v>38442</c:v>
                </c:pt>
                <c:pt idx="2716">
                  <c:v>38443</c:v>
                </c:pt>
                <c:pt idx="2717">
                  <c:v>38446</c:v>
                </c:pt>
                <c:pt idx="2718">
                  <c:v>38447</c:v>
                </c:pt>
                <c:pt idx="2719">
                  <c:v>38448</c:v>
                </c:pt>
                <c:pt idx="2720">
                  <c:v>38449</c:v>
                </c:pt>
                <c:pt idx="2721">
                  <c:v>38450</c:v>
                </c:pt>
                <c:pt idx="2722">
                  <c:v>38453</c:v>
                </c:pt>
                <c:pt idx="2723">
                  <c:v>38454</c:v>
                </c:pt>
                <c:pt idx="2724">
                  <c:v>38455</c:v>
                </c:pt>
                <c:pt idx="2725">
                  <c:v>38456</c:v>
                </c:pt>
                <c:pt idx="2726">
                  <c:v>38457</c:v>
                </c:pt>
                <c:pt idx="2727">
                  <c:v>38460</c:v>
                </c:pt>
                <c:pt idx="2728">
                  <c:v>38461</c:v>
                </c:pt>
                <c:pt idx="2729">
                  <c:v>38462</c:v>
                </c:pt>
                <c:pt idx="2730">
                  <c:v>38463</c:v>
                </c:pt>
                <c:pt idx="2731">
                  <c:v>38464</c:v>
                </c:pt>
                <c:pt idx="2732">
                  <c:v>38467</c:v>
                </c:pt>
                <c:pt idx="2733">
                  <c:v>38468</c:v>
                </c:pt>
                <c:pt idx="2734">
                  <c:v>38469</c:v>
                </c:pt>
                <c:pt idx="2735">
                  <c:v>38470</c:v>
                </c:pt>
                <c:pt idx="2736">
                  <c:v>38471</c:v>
                </c:pt>
                <c:pt idx="2737">
                  <c:v>38474</c:v>
                </c:pt>
                <c:pt idx="2738">
                  <c:v>38475</c:v>
                </c:pt>
                <c:pt idx="2739">
                  <c:v>38476</c:v>
                </c:pt>
                <c:pt idx="2740">
                  <c:v>38477</c:v>
                </c:pt>
                <c:pt idx="2741">
                  <c:v>38478</c:v>
                </c:pt>
                <c:pt idx="2742">
                  <c:v>38481</c:v>
                </c:pt>
                <c:pt idx="2743">
                  <c:v>38482</c:v>
                </c:pt>
                <c:pt idx="2744">
                  <c:v>38483</c:v>
                </c:pt>
                <c:pt idx="2745">
                  <c:v>38484</c:v>
                </c:pt>
                <c:pt idx="2746">
                  <c:v>38485</c:v>
                </c:pt>
                <c:pt idx="2747">
                  <c:v>38488</c:v>
                </c:pt>
                <c:pt idx="2748">
                  <c:v>38489</c:v>
                </c:pt>
                <c:pt idx="2749">
                  <c:v>38490</c:v>
                </c:pt>
                <c:pt idx="2750">
                  <c:v>38491</c:v>
                </c:pt>
                <c:pt idx="2751">
                  <c:v>38492</c:v>
                </c:pt>
                <c:pt idx="2752">
                  <c:v>38495</c:v>
                </c:pt>
                <c:pt idx="2753">
                  <c:v>38496</c:v>
                </c:pt>
                <c:pt idx="2754">
                  <c:v>38497</c:v>
                </c:pt>
                <c:pt idx="2755">
                  <c:v>38498</c:v>
                </c:pt>
                <c:pt idx="2756">
                  <c:v>38499</c:v>
                </c:pt>
                <c:pt idx="2757">
                  <c:v>38502</c:v>
                </c:pt>
                <c:pt idx="2758">
                  <c:v>38503</c:v>
                </c:pt>
                <c:pt idx="2759">
                  <c:v>38504</c:v>
                </c:pt>
                <c:pt idx="2760">
                  <c:v>38505</c:v>
                </c:pt>
                <c:pt idx="2761">
                  <c:v>38506</c:v>
                </c:pt>
                <c:pt idx="2762">
                  <c:v>38509</c:v>
                </c:pt>
                <c:pt idx="2763">
                  <c:v>38510</c:v>
                </c:pt>
                <c:pt idx="2764">
                  <c:v>38511</c:v>
                </c:pt>
                <c:pt idx="2765">
                  <c:v>38512</c:v>
                </c:pt>
                <c:pt idx="2766">
                  <c:v>38513</c:v>
                </c:pt>
                <c:pt idx="2767">
                  <c:v>38516</c:v>
                </c:pt>
                <c:pt idx="2768">
                  <c:v>38517</c:v>
                </c:pt>
                <c:pt idx="2769">
                  <c:v>38518</c:v>
                </c:pt>
                <c:pt idx="2770">
                  <c:v>38519</c:v>
                </c:pt>
                <c:pt idx="2771">
                  <c:v>38520</c:v>
                </c:pt>
                <c:pt idx="2772">
                  <c:v>38523</c:v>
                </c:pt>
                <c:pt idx="2773">
                  <c:v>38524</c:v>
                </c:pt>
                <c:pt idx="2774">
                  <c:v>38525</c:v>
                </c:pt>
                <c:pt idx="2775">
                  <c:v>38526</c:v>
                </c:pt>
                <c:pt idx="2776">
                  <c:v>38527</c:v>
                </c:pt>
                <c:pt idx="2777">
                  <c:v>38530</c:v>
                </c:pt>
                <c:pt idx="2778">
                  <c:v>38531</c:v>
                </c:pt>
                <c:pt idx="2779">
                  <c:v>38532</c:v>
                </c:pt>
                <c:pt idx="2780">
                  <c:v>38533</c:v>
                </c:pt>
                <c:pt idx="2781">
                  <c:v>38534</c:v>
                </c:pt>
                <c:pt idx="2782">
                  <c:v>38537</c:v>
                </c:pt>
                <c:pt idx="2783">
                  <c:v>38538</c:v>
                </c:pt>
                <c:pt idx="2784">
                  <c:v>38539</c:v>
                </c:pt>
                <c:pt idx="2785">
                  <c:v>38540</c:v>
                </c:pt>
                <c:pt idx="2786">
                  <c:v>38541</c:v>
                </c:pt>
                <c:pt idx="2787">
                  <c:v>38544</c:v>
                </c:pt>
                <c:pt idx="2788">
                  <c:v>38545</c:v>
                </c:pt>
                <c:pt idx="2789">
                  <c:v>38546</c:v>
                </c:pt>
                <c:pt idx="2790">
                  <c:v>38547</c:v>
                </c:pt>
                <c:pt idx="2791">
                  <c:v>38548</c:v>
                </c:pt>
                <c:pt idx="2792">
                  <c:v>38551</c:v>
                </c:pt>
                <c:pt idx="2793">
                  <c:v>38552</c:v>
                </c:pt>
                <c:pt idx="2794">
                  <c:v>38553</c:v>
                </c:pt>
                <c:pt idx="2795">
                  <c:v>38554</c:v>
                </c:pt>
                <c:pt idx="2796">
                  <c:v>38555</c:v>
                </c:pt>
                <c:pt idx="2797">
                  <c:v>38558</c:v>
                </c:pt>
                <c:pt idx="2798">
                  <c:v>38559</c:v>
                </c:pt>
                <c:pt idx="2799">
                  <c:v>38560</c:v>
                </c:pt>
                <c:pt idx="2800">
                  <c:v>38561</c:v>
                </c:pt>
                <c:pt idx="2801">
                  <c:v>38562</c:v>
                </c:pt>
                <c:pt idx="2802">
                  <c:v>38565</c:v>
                </c:pt>
                <c:pt idx="2803">
                  <c:v>38566</c:v>
                </c:pt>
                <c:pt idx="2804">
                  <c:v>38567</c:v>
                </c:pt>
                <c:pt idx="2805">
                  <c:v>38568</c:v>
                </c:pt>
                <c:pt idx="2806">
                  <c:v>38569</c:v>
                </c:pt>
                <c:pt idx="2807">
                  <c:v>38572</c:v>
                </c:pt>
                <c:pt idx="2808">
                  <c:v>38573</c:v>
                </c:pt>
                <c:pt idx="2809">
                  <c:v>38574</c:v>
                </c:pt>
                <c:pt idx="2810">
                  <c:v>38575</c:v>
                </c:pt>
                <c:pt idx="2811">
                  <c:v>38576</c:v>
                </c:pt>
                <c:pt idx="2812">
                  <c:v>38579</c:v>
                </c:pt>
                <c:pt idx="2813">
                  <c:v>38580</c:v>
                </c:pt>
                <c:pt idx="2814">
                  <c:v>38581</c:v>
                </c:pt>
                <c:pt idx="2815">
                  <c:v>38582</c:v>
                </c:pt>
                <c:pt idx="2816">
                  <c:v>38583</c:v>
                </c:pt>
                <c:pt idx="2817">
                  <c:v>38586</c:v>
                </c:pt>
                <c:pt idx="2818">
                  <c:v>38587</c:v>
                </c:pt>
                <c:pt idx="2819">
                  <c:v>38588</c:v>
                </c:pt>
                <c:pt idx="2820">
                  <c:v>38589</c:v>
                </c:pt>
                <c:pt idx="2821">
                  <c:v>38590</c:v>
                </c:pt>
                <c:pt idx="2822">
                  <c:v>38593</c:v>
                </c:pt>
                <c:pt idx="2823">
                  <c:v>38594</c:v>
                </c:pt>
                <c:pt idx="2824">
                  <c:v>38595</c:v>
                </c:pt>
                <c:pt idx="2825">
                  <c:v>38596</c:v>
                </c:pt>
                <c:pt idx="2826">
                  <c:v>38597</c:v>
                </c:pt>
                <c:pt idx="2827">
                  <c:v>38600</c:v>
                </c:pt>
                <c:pt idx="2828">
                  <c:v>38601</c:v>
                </c:pt>
                <c:pt idx="2829">
                  <c:v>38602</c:v>
                </c:pt>
                <c:pt idx="2830">
                  <c:v>38603</c:v>
                </c:pt>
                <c:pt idx="2831">
                  <c:v>38604</c:v>
                </c:pt>
                <c:pt idx="2832">
                  <c:v>38607</c:v>
                </c:pt>
                <c:pt idx="2833">
                  <c:v>38608</c:v>
                </c:pt>
                <c:pt idx="2834">
                  <c:v>38609</c:v>
                </c:pt>
                <c:pt idx="2835">
                  <c:v>38610</c:v>
                </c:pt>
                <c:pt idx="2836">
                  <c:v>38611</c:v>
                </c:pt>
                <c:pt idx="2837">
                  <c:v>38614</c:v>
                </c:pt>
                <c:pt idx="2838">
                  <c:v>38615</c:v>
                </c:pt>
                <c:pt idx="2839">
                  <c:v>38616</c:v>
                </c:pt>
                <c:pt idx="2840">
                  <c:v>38617</c:v>
                </c:pt>
                <c:pt idx="2841">
                  <c:v>38618</c:v>
                </c:pt>
                <c:pt idx="2842">
                  <c:v>38621</c:v>
                </c:pt>
                <c:pt idx="2843">
                  <c:v>38622</c:v>
                </c:pt>
                <c:pt idx="2844">
                  <c:v>38623</c:v>
                </c:pt>
                <c:pt idx="2845">
                  <c:v>38624</c:v>
                </c:pt>
                <c:pt idx="2846">
                  <c:v>38625</c:v>
                </c:pt>
                <c:pt idx="2847">
                  <c:v>38628</c:v>
                </c:pt>
                <c:pt idx="2848">
                  <c:v>38629</c:v>
                </c:pt>
                <c:pt idx="2849">
                  <c:v>38630</c:v>
                </c:pt>
                <c:pt idx="2850">
                  <c:v>38631</c:v>
                </c:pt>
                <c:pt idx="2851">
                  <c:v>38632</c:v>
                </c:pt>
                <c:pt idx="2852">
                  <c:v>38635</c:v>
                </c:pt>
                <c:pt idx="2853">
                  <c:v>38636</c:v>
                </c:pt>
                <c:pt idx="2854">
                  <c:v>38637</c:v>
                </c:pt>
                <c:pt idx="2855">
                  <c:v>38638</c:v>
                </c:pt>
                <c:pt idx="2856">
                  <c:v>38639</c:v>
                </c:pt>
                <c:pt idx="2857">
                  <c:v>38642</c:v>
                </c:pt>
                <c:pt idx="2858">
                  <c:v>38643</c:v>
                </c:pt>
                <c:pt idx="2859">
                  <c:v>38644</c:v>
                </c:pt>
                <c:pt idx="2860">
                  <c:v>38645</c:v>
                </c:pt>
                <c:pt idx="2861">
                  <c:v>38646</c:v>
                </c:pt>
                <c:pt idx="2862">
                  <c:v>38649</c:v>
                </c:pt>
                <c:pt idx="2863">
                  <c:v>38650</c:v>
                </c:pt>
                <c:pt idx="2864">
                  <c:v>38651</c:v>
                </c:pt>
                <c:pt idx="2865">
                  <c:v>38652</c:v>
                </c:pt>
                <c:pt idx="2866">
                  <c:v>38653</c:v>
                </c:pt>
                <c:pt idx="2867">
                  <c:v>38656</c:v>
                </c:pt>
                <c:pt idx="2868">
                  <c:v>38657</c:v>
                </c:pt>
                <c:pt idx="2869">
                  <c:v>38658</c:v>
                </c:pt>
                <c:pt idx="2870">
                  <c:v>38659</c:v>
                </c:pt>
                <c:pt idx="2871">
                  <c:v>38660</c:v>
                </c:pt>
                <c:pt idx="2872">
                  <c:v>38663</c:v>
                </c:pt>
                <c:pt idx="2873">
                  <c:v>38664</c:v>
                </c:pt>
                <c:pt idx="2874">
                  <c:v>38665</c:v>
                </c:pt>
                <c:pt idx="2875">
                  <c:v>38666</c:v>
                </c:pt>
                <c:pt idx="2876">
                  <c:v>38667</c:v>
                </c:pt>
                <c:pt idx="2877">
                  <c:v>38670</c:v>
                </c:pt>
                <c:pt idx="2878">
                  <c:v>38671</c:v>
                </c:pt>
                <c:pt idx="2879">
                  <c:v>38672</c:v>
                </c:pt>
                <c:pt idx="2880">
                  <c:v>38673</c:v>
                </c:pt>
                <c:pt idx="2881">
                  <c:v>38674</c:v>
                </c:pt>
                <c:pt idx="2882">
                  <c:v>38677</c:v>
                </c:pt>
                <c:pt idx="2883">
                  <c:v>38678</c:v>
                </c:pt>
                <c:pt idx="2884">
                  <c:v>38679</c:v>
                </c:pt>
                <c:pt idx="2885">
                  <c:v>38680</c:v>
                </c:pt>
                <c:pt idx="2886">
                  <c:v>38681</c:v>
                </c:pt>
                <c:pt idx="2887">
                  <c:v>38684</c:v>
                </c:pt>
                <c:pt idx="2888">
                  <c:v>38685</c:v>
                </c:pt>
                <c:pt idx="2889">
                  <c:v>38686</c:v>
                </c:pt>
                <c:pt idx="2890">
                  <c:v>38687</c:v>
                </c:pt>
                <c:pt idx="2891">
                  <c:v>38688</c:v>
                </c:pt>
                <c:pt idx="2892">
                  <c:v>38691</c:v>
                </c:pt>
                <c:pt idx="2893">
                  <c:v>38692</c:v>
                </c:pt>
                <c:pt idx="2894">
                  <c:v>38693</c:v>
                </c:pt>
                <c:pt idx="2895">
                  <c:v>38694</c:v>
                </c:pt>
                <c:pt idx="2896">
                  <c:v>38695</c:v>
                </c:pt>
                <c:pt idx="2897">
                  <c:v>38698</c:v>
                </c:pt>
                <c:pt idx="2898">
                  <c:v>38699</c:v>
                </c:pt>
                <c:pt idx="2899">
                  <c:v>38700</c:v>
                </c:pt>
                <c:pt idx="2900">
                  <c:v>38701</c:v>
                </c:pt>
                <c:pt idx="2901">
                  <c:v>38702</c:v>
                </c:pt>
                <c:pt idx="2902">
                  <c:v>38705</c:v>
                </c:pt>
                <c:pt idx="2903">
                  <c:v>38706</c:v>
                </c:pt>
                <c:pt idx="2904">
                  <c:v>38707</c:v>
                </c:pt>
                <c:pt idx="2905">
                  <c:v>38708</c:v>
                </c:pt>
                <c:pt idx="2906">
                  <c:v>38709</c:v>
                </c:pt>
                <c:pt idx="2907">
                  <c:v>38713</c:v>
                </c:pt>
                <c:pt idx="2908">
                  <c:v>38714</c:v>
                </c:pt>
                <c:pt idx="2909">
                  <c:v>38715</c:v>
                </c:pt>
                <c:pt idx="2910">
                  <c:v>38716</c:v>
                </c:pt>
                <c:pt idx="2911">
                  <c:v>38719</c:v>
                </c:pt>
                <c:pt idx="2912">
                  <c:v>38720</c:v>
                </c:pt>
                <c:pt idx="2913">
                  <c:v>38721</c:v>
                </c:pt>
                <c:pt idx="2914">
                  <c:v>38722</c:v>
                </c:pt>
                <c:pt idx="2915">
                  <c:v>38723</c:v>
                </c:pt>
                <c:pt idx="2916">
                  <c:v>38726</c:v>
                </c:pt>
                <c:pt idx="2917">
                  <c:v>38727</c:v>
                </c:pt>
                <c:pt idx="2918">
                  <c:v>38728</c:v>
                </c:pt>
                <c:pt idx="2919">
                  <c:v>38729</c:v>
                </c:pt>
                <c:pt idx="2920">
                  <c:v>38730</c:v>
                </c:pt>
                <c:pt idx="2921">
                  <c:v>38733</c:v>
                </c:pt>
                <c:pt idx="2922">
                  <c:v>38734</c:v>
                </c:pt>
                <c:pt idx="2923">
                  <c:v>38735</c:v>
                </c:pt>
                <c:pt idx="2924">
                  <c:v>38736</c:v>
                </c:pt>
                <c:pt idx="2925">
                  <c:v>38737</c:v>
                </c:pt>
                <c:pt idx="2926">
                  <c:v>38740</c:v>
                </c:pt>
                <c:pt idx="2927">
                  <c:v>38741</c:v>
                </c:pt>
                <c:pt idx="2928">
                  <c:v>38742</c:v>
                </c:pt>
                <c:pt idx="2929">
                  <c:v>38743</c:v>
                </c:pt>
                <c:pt idx="2930">
                  <c:v>38744</c:v>
                </c:pt>
                <c:pt idx="2931">
                  <c:v>38747</c:v>
                </c:pt>
                <c:pt idx="2932">
                  <c:v>38748</c:v>
                </c:pt>
                <c:pt idx="2933">
                  <c:v>38749</c:v>
                </c:pt>
                <c:pt idx="2934">
                  <c:v>38750</c:v>
                </c:pt>
                <c:pt idx="2935">
                  <c:v>38751</c:v>
                </c:pt>
                <c:pt idx="2936">
                  <c:v>38754</c:v>
                </c:pt>
                <c:pt idx="2937">
                  <c:v>38755</c:v>
                </c:pt>
                <c:pt idx="2938">
                  <c:v>38756</c:v>
                </c:pt>
                <c:pt idx="2939">
                  <c:v>38757</c:v>
                </c:pt>
                <c:pt idx="2940">
                  <c:v>38758</c:v>
                </c:pt>
                <c:pt idx="2941">
                  <c:v>38761</c:v>
                </c:pt>
                <c:pt idx="2942">
                  <c:v>38762</c:v>
                </c:pt>
                <c:pt idx="2943">
                  <c:v>38763</c:v>
                </c:pt>
                <c:pt idx="2944">
                  <c:v>38764</c:v>
                </c:pt>
                <c:pt idx="2945">
                  <c:v>38765</c:v>
                </c:pt>
                <c:pt idx="2946">
                  <c:v>38768</c:v>
                </c:pt>
                <c:pt idx="2947">
                  <c:v>38769</c:v>
                </c:pt>
                <c:pt idx="2948">
                  <c:v>38770</c:v>
                </c:pt>
                <c:pt idx="2949">
                  <c:v>38771</c:v>
                </c:pt>
                <c:pt idx="2950">
                  <c:v>38772</c:v>
                </c:pt>
                <c:pt idx="2951">
                  <c:v>38775</c:v>
                </c:pt>
                <c:pt idx="2952">
                  <c:v>38776</c:v>
                </c:pt>
                <c:pt idx="2953">
                  <c:v>38777</c:v>
                </c:pt>
                <c:pt idx="2954">
                  <c:v>38778</c:v>
                </c:pt>
                <c:pt idx="2955">
                  <c:v>38779</c:v>
                </c:pt>
                <c:pt idx="2956">
                  <c:v>38782</c:v>
                </c:pt>
                <c:pt idx="2957">
                  <c:v>38783</c:v>
                </c:pt>
                <c:pt idx="2958">
                  <c:v>38784</c:v>
                </c:pt>
                <c:pt idx="2959">
                  <c:v>38785</c:v>
                </c:pt>
                <c:pt idx="2960">
                  <c:v>38786</c:v>
                </c:pt>
                <c:pt idx="2961">
                  <c:v>38789</c:v>
                </c:pt>
                <c:pt idx="2962">
                  <c:v>38790</c:v>
                </c:pt>
                <c:pt idx="2963">
                  <c:v>38791</c:v>
                </c:pt>
                <c:pt idx="2964">
                  <c:v>38792</c:v>
                </c:pt>
                <c:pt idx="2965">
                  <c:v>38793</c:v>
                </c:pt>
                <c:pt idx="2966">
                  <c:v>38796</c:v>
                </c:pt>
                <c:pt idx="2967">
                  <c:v>38797</c:v>
                </c:pt>
                <c:pt idx="2968">
                  <c:v>38798</c:v>
                </c:pt>
                <c:pt idx="2969">
                  <c:v>38799</c:v>
                </c:pt>
                <c:pt idx="2970">
                  <c:v>38800</c:v>
                </c:pt>
                <c:pt idx="2971">
                  <c:v>38803</c:v>
                </c:pt>
                <c:pt idx="2972">
                  <c:v>38804</c:v>
                </c:pt>
                <c:pt idx="2973">
                  <c:v>38805</c:v>
                </c:pt>
                <c:pt idx="2974">
                  <c:v>38806</c:v>
                </c:pt>
                <c:pt idx="2975">
                  <c:v>38807</c:v>
                </c:pt>
                <c:pt idx="2976">
                  <c:v>38810</c:v>
                </c:pt>
                <c:pt idx="2977">
                  <c:v>38811</c:v>
                </c:pt>
                <c:pt idx="2978">
                  <c:v>38812</c:v>
                </c:pt>
                <c:pt idx="2979">
                  <c:v>38813</c:v>
                </c:pt>
                <c:pt idx="2980">
                  <c:v>38814</c:v>
                </c:pt>
                <c:pt idx="2981">
                  <c:v>38817</c:v>
                </c:pt>
                <c:pt idx="2982">
                  <c:v>38818</c:v>
                </c:pt>
                <c:pt idx="2983">
                  <c:v>38819</c:v>
                </c:pt>
                <c:pt idx="2984">
                  <c:v>38820</c:v>
                </c:pt>
                <c:pt idx="2985">
                  <c:v>38825</c:v>
                </c:pt>
                <c:pt idx="2986">
                  <c:v>38826</c:v>
                </c:pt>
                <c:pt idx="2987">
                  <c:v>38827</c:v>
                </c:pt>
                <c:pt idx="2988">
                  <c:v>38828</c:v>
                </c:pt>
                <c:pt idx="2989">
                  <c:v>38831</c:v>
                </c:pt>
                <c:pt idx="2990">
                  <c:v>38832</c:v>
                </c:pt>
                <c:pt idx="2991">
                  <c:v>38833</c:v>
                </c:pt>
                <c:pt idx="2992">
                  <c:v>38834</c:v>
                </c:pt>
                <c:pt idx="2993">
                  <c:v>38835</c:v>
                </c:pt>
                <c:pt idx="2994">
                  <c:v>38839</c:v>
                </c:pt>
                <c:pt idx="2995">
                  <c:v>38840</c:v>
                </c:pt>
                <c:pt idx="2996">
                  <c:v>38841</c:v>
                </c:pt>
                <c:pt idx="2997">
                  <c:v>38842</c:v>
                </c:pt>
                <c:pt idx="2998">
                  <c:v>38845</c:v>
                </c:pt>
                <c:pt idx="2999">
                  <c:v>38846</c:v>
                </c:pt>
                <c:pt idx="3000">
                  <c:v>38847</c:v>
                </c:pt>
                <c:pt idx="3001">
                  <c:v>38848</c:v>
                </c:pt>
                <c:pt idx="3002">
                  <c:v>38849</c:v>
                </c:pt>
                <c:pt idx="3003">
                  <c:v>38852</c:v>
                </c:pt>
                <c:pt idx="3004">
                  <c:v>38853</c:v>
                </c:pt>
                <c:pt idx="3005">
                  <c:v>38854</c:v>
                </c:pt>
                <c:pt idx="3006">
                  <c:v>38855</c:v>
                </c:pt>
                <c:pt idx="3007">
                  <c:v>38856</c:v>
                </c:pt>
                <c:pt idx="3008">
                  <c:v>38859</c:v>
                </c:pt>
                <c:pt idx="3009">
                  <c:v>38860</c:v>
                </c:pt>
                <c:pt idx="3010">
                  <c:v>38861</c:v>
                </c:pt>
                <c:pt idx="3011">
                  <c:v>38862</c:v>
                </c:pt>
                <c:pt idx="3012">
                  <c:v>38863</c:v>
                </c:pt>
                <c:pt idx="3013">
                  <c:v>38866</c:v>
                </c:pt>
                <c:pt idx="3014">
                  <c:v>38867</c:v>
                </c:pt>
                <c:pt idx="3015">
                  <c:v>38868</c:v>
                </c:pt>
                <c:pt idx="3016">
                  <c:v>38869</c:v>
                </c:pt>
                <c:pt idx="3017">
                  <c:v>38870</c:v>
                </c:pt>
                <c:pt idx="3018">
                  <c:v>38873</c:v>
                </c:pt>
                <c:pt idx="3019">
                  <c:v>38874</c:v>
                </c:pt>
                <c:pt idx="3020">
                  <c:v>38875</c:v>
                </c:pt>
                <c:pt idx="3021">
                  <c:v>38876</c:v>
                </c:pt>
                <c:pt idx="3022">
                  <c:v>38877</c:v>
                </c:pt>
                <c:pt idx="3023">
                  <c:v>38880</c:v>
                </c:pt>
                <c:pt idx="3024">
                  <c:v>38881</c:v>
                </c:pt>
                <c:pt idx="3025">
                  <c:v>38882</c:v>
                </c:pt>
                <c:pt idx="3026">
                  <c:v>38883</c:v>
                </c:pt>
                <c:pt idx="3027">
                  <c:v>38884</c:v>
                </c:pt>
                <c:pt idx="3028">
                  <c:v>38887</c:v>
                </c:pt>
                <c:pt idx="3029">
                  <c:v>38888</c:v>
                </c:pt>
                <c:pt idx="3030">
                  <c:v>38889</c:v>
                </c:pt>
                <c:pt idx="3031">
                  <c:v>38890</c:v>
                </c:pt>
                <c:pt idx="3032">
                  <c:v>38891</c:v>
                </c:pt>
                <c:pt idx="3033">
                  <c:v>38894</c:v>
                </c:pt>
                <c:pt idx="3034">
                  <c:v>38895</c:v>
                </c:pt>
                <c:pt idx="3035">
                  <c:v>38896</c:v>
                </c:pt>
                <c:pt idx="3036">
                  <c:v>38897</c:v>
                </c:pt>
                <c:pt idx="3037">
                  <c:v>38898</c:v>
                </c:pt>
                <c:pt idx="3038">
                  <c:v>38901</c:v>
                </c:pt>
                <c:pt idx="3039">
                  <c:v>38902</c:v>
                </c:pt>
                <c:pt idx="3040">
                  <c:v>38903</c:v>
                </c:pt>
                <c:pt idx="3041">
                  <c:v>38904</c:v>
                </c:pt>
                <c:pt idx="3042">
                  <c:v>38905</c:v>
                </c:pt>
                <c:pt idx="3043">
                  <c:v>38908</c:v>
                </c:pt>
                <c:pt idx="3044">
                  <c:v>38909</c:v>
                </c:pt>
                <c:pt idx="3045">
                  <c:v>38910</c:v>
                </c:pt>
                <c:pt idx="3046">
                  <c:v>38911</c:v>
                </c:pt>
                <c:pt idx="3047">
                  <c:v>38912</c:v>
                </c:pt>
                <c:pt idx="3048">
                  <c:v>38915</c:v>
                </c:pt>
                <c:pt idx="3049">
                  <c:v>38916</c:v>
                </c:pt>
                <c:pt idx="3050">
                  <c:v>38917</c:v>
                </c:pt>
                <c:pt idx="3051">
                  <c:v>38918</c:v>
                </c:pt>
                <c:pt idx="3052">
                  <c:v>38919</c:v>
                </c:pt>
                <c:pt idx="3053">
                  <c:v>38922</c:v>
                </c:pt>
                <c:pt idx="3054">
                  <c:v>38923</c:v>
                </c:pt>
                <c:pt idx="3055">
                  <c:v>38924</c:v>
                </c:pt>
                <c:pt idx="3056">
                  <c:v>38925</c:v>
                </c:pt>
                <c:pt idx="3057">
                  <c:v>38926</c:v>
                </c:pt>
                <c:pt idx="3058">
                  <c:v>38929</c:v>
                </c:pt>
                <c:pt idx="3059">
                  <c:v>38930</c:v>
                </c:pt>
                <c:pt idx="3060">
                  <c:v>38931</c:v>
                </c:pt>
                <c:pt idx="3061">
                  <c:v>38932</c:v>
                </c:pt>
                <c:pt idx="3062">
                  <c:v>38933</c:v>
                </c:pt>
                <c:pt idx="3063">
                  <c:v>38936</c:v>
                </c:pt>
                <c:pt idx="3064">
                  <c:v>38937</c:v>
                </c:pt>
                <c:pt idx="3065">
                  <c:v>38938</c:v>
                </c:pt>
                <c:pt idx="3066">
                  <c:v>38939</c:v>
                </c:pt>
                <c:pt idx="3067">
                  <c:v>38940</c:v>
                </c:pt>
                <c:pt idx="3068">
                  <c:v>38943</c:v>
                </c:pt>
                <c:pt idx="3069">
                  <c:v>38944</c:v>
                </c:pt>
                <c:pt idx="3070">
                  <c:v>38945</c:v>
                </c:pt>
                <c:pt idx="3071">
                  <c:v>38946</c:v>
                </c:pt>
                <c:pt idx="3072">
                  <c:v>38947</c:v>
                </c:pt>
                <c:pt idx="3073">
                  <c:v>38950</c:v>
                </c:pt>
                <c:pt idx="3074">
                  <c:v>38951</c:v>
                </c:pt>
                <c:pt idx="3075">
                  <c:v>38952</c:v>
                </c:pt>
                <c:pt idx="3076">
                  <c:v>38953</c:v>
                </c:pt>
                <c:pt idx="3077">
                  <c:v>38954</c:v>
                </c:pt>
                <c:pt idx="3078">
                  <c:v>38957</c:v>
                </c:pt>
                <c:pt idx="3079">
                  <c:v>38958</c:v>
                </c:pt>
                <c:pt idx="3080">
                  <c:v>38959</c:v>
                </c:pt>
                <c:pt idx="3081">
                  <c:v>38960</c:v>
                </c:pt>
                <c:pt idx="3082">
                  <c:v>38961</c:v>
                </c:pt>
                <c:pt idx="3083">
                  <c:v>38964</c:v>
                </c:pt>
                <c:pt idx="3084">
                  <c:v>38965</c:v>
                </c:pt>
                <c:pt idx="3085">
                  <c:v>38966</c:v>
                </c:pt>
                <c:pt idx="3086">
                  <c:v>38967</c:v>
                </c:pt>
                <c:pt idx="3087">
                  <c:v>38968</c:v>
                </c:pt>
                <c:pt idx="3088">
                  <c:v>38971</c:v>
                </c:pt>
                <c:pt idx="3089">
                  <c:v>38972</c:v>
                </c:pt>
                <c:pt idx="3090">
                  <c:v>38973</c:v>
                </c:pt>
                <c:pt idx="3091">
                  <c:v>38974</c:v>
                </c:pt>
                <c:pt idx="3092">
                  <c:v>38975</c:v>
                </c:pt>
                <c:pt idx="3093">
                  <c:v>38978</c:v>
                </c:pt>
                <c:pt idx="3094">
                  <c:v>38979</c:v>
                </c:pt>
                <c:pt idx="3095">
                  <c:v>38980</c:v>
                </c:pt>
                <c:pt idx="3096">
                  <c:v>38981</c:v>
                </c:pt>
                <c:pt idx="3097">
                  <c:v>38982</c:v>
                </c:pt>
                <c:pt idx="3098">
                  <c:v>38985</c:v>
                </c:pt>
                <c:pt idx="3099">
                  <c:v>38986</c:v>
                </c:pt>
                <c:pt idx="3100">
                  <c:v>38987</c:v>
                </c:pt>
                <c:pt idx="3101">
                  <c:v>38988</c:v>
                </c:pt>
                <c:pt idx="3102">
                  <c:v>38989</c:v>
                </c:pt>
                <c:pt idx="3103">
                  <c:v>38992</c:v>
                </c:pt>
                <c:pt idx="3104">
                  <c:v>38993</c:v>
                </c:pt>
                <c:pt idx="3105">
                  <c:v>38994</c:v>
                </c:pt>
                <c:pt idx="3106">
                  <c:v>38995</c:v>
                </c:pt>
                <c:pt idx="3107">
                  <c:v>38996</c:v>
                </c:pt>
                <c:pt idx="3108">
                  <c:v>38999</c:v>
                </c:pt>
                <c:pt idx="3109">
                  <c:v>39000</c:v>
                </c:pt>
                <c:pt idx="3110">
                  <c:v>39001</c:v>
                </c:pt>
                <c:pt idx="3111">
                  <c:v>39002</c:v>
                </c:pt>
                <c:pt idx="3112">
                  <c:v>39003</c:v>
                </c:pt>
                <c:pt idx="3113">
                  <c:v>39006</c:v>
                </c:pt>
                <c:pt idx="3114">
                  <c:v>39007</c:v>
                </c:pt>
                <c:pt idx="3115">
                  <c:v>39008</c:v>
                </c:pt>
                <c:pt idx="3116">
                  <c:v>39009</c:v>
                </c:pt>
                <c:pt idx="3117">
                  <c:v>39010</c:v>
                </c:pt>
                <c:pt idx="3118">
                  <c:v>39013</c:v>
                </c:pt>
                <c:pt idx="3119">
                  <c:v>39014</c:v>
                </c:pt>
                <c:pt idx="3120">
                  <c:v>39015</c:v>
                </c:pt>
                <c:pt idx="3121">
                  <c:v>39016</c:v>
                </c:pt>
                <c:pt idx="3122">
                  <c:v>39017</c:v>
                </c:pt>
                <c:pt idx="3123">
                  <c:v>39020</c:v>
                </c:pt>
                <c:pt idx="3124">
                  <c:v>39021</c:v>
                </c:pt>
                <c:pt idx="3125">
                  <c:v>39022</c:v>
                </c:pt>
                <c:pt idx="3126">
                  <c:v>39023</c:v>
                </c:pt>
                <c:pt idx="3127">
                  <c:v>39024</c:v>
                </c:pt>
                <c:pt idx="3128">
                  <c:v>39027</c:v>
                </c:pt>
                <c:pt idx="3129">
                  <c:v>39028</c:v>
                </c:pt>
                <c:pt idx="3130">
                  <c:v>39029</c:v>
                </c:pt>
                <c:pt idx="3131">
                  <c:v>39030</c:v>
                </c:pt>
                <c:pt idx="3132">
                  <c:v>39031</c:v>
                </c:pt>
                <c:pt idx="3133">
                  <c:v>39034</c:v>
                </c:pt>
                <c:pt idx="3134">
                  <c:v>39035</c:v>
                </c:pt>
                <c:pt idx="3135">
                  <c:v>39036</c:v>
                </c:pt>
                <c:pt idx="3136">
                  <c:v>39037</c:v>
                </c:pt>
                <c:pt idx="3137">
                  <c:v>39038</c:v>
                </c:pt>
                <c:pt idx="3138">
                  <c:v>39041</c:v>
                </c:pt>
                <c:pt idx="3139">
                  <c:v>39042</c:v>
                </c:pt>
                <c:pt idx="3140">
                  <c:v>39043</c:v>
                </c:pt>
                <c:pt idx="3141">
                  <c:v>39044</c:v>
                </c:pt>
                <c:pt idx="3142">
                  <c:v>39045</c:v>
                </c:pt>
                <c:pt idx="3143">
                  <c:v>39048</c:v>
                </c:pt>
                <c:pt idx="3144">
                  <c:v>39049</c:v>
                </c:pt>
                <c:pt idx="3145">
                  <c:v>39050</c:v>
                </c:pt>
                <c:pt idx="3146">
                  <c:v>39051</c:v>
                </c:pt>
                <c:pt idx="3147">
                  <c:v>39052</c:v>
                </c:pt>
                <c:pt idx="3148">
                  <c:v>39055</c:v>
                </c:pt>
                <c:pt idx="3149">
                  <c:v>39056</c:v>
                </c:pt>
                <c:pt idx="3150">
                  <c:v>39057</c:v>
                </c:pt>
                <c:pt idx="3151">
                  <c:v>39058</c:v>
                </c:pt>
                <c:pt idx="3152">
                  <c:v>39059</c:v>
                </c:pt>
                <c:pt idx="3153">
                  <c:v>39062</c:v>
                </c:pt>
                <c:pt idx="3154">
                  <c:v>39063</c:v>
                </c:pt>
                <c:pt idx="3155">
                  <c:v>39064</c:v>
                </c:pt>
                <c:pt idx="3156">
                  <c:v>39065</c:v>
                </c:pt>
                <c:pt idx="3157">
                  <c:v>39066</c:v>
                </c:pt>
                <c:pt idx="3158">
                  <c:v>39069</c:v>
                </c:pt>
                <c:pt idx="3159">
                  <c:v>39070</c:v>
                </c:pt>
                <c:pt idx="3160">
                  <c:v>39071</c:v>
                </c:pt>
                <c:pt idx="3161">
                  <c:v>39072</c:v>
                </c:pt>
                <c:pt idx="3162">
                  <c:v>39073</c:v>
                </c:pt>
                <c:pt idx="3163">
                  <c:v>39078</c:v>
                </c:pt>
                <c:pt idx="3164">
                  <c:v>39079</c:v>
                </c:pt>
                <c:pt idx="3165">
                  <c:v>39080</c:v>
                </c:pt>
                <c:pt idx="3166">
                  <c:v>39084</c:v>
                </c:pt>
                <c:pt idx="3167">
                  <c:v>39085</c:v>
                </c:pt>
                <c:pt idx="3168">
                  <c:v>39086</c:v>
                </c:pt>
                <c:pt idx="3169">
                  <c:v>39087</c:v>
                </c:pt>
                <c:pt idx="3170">
                  <c:v>39090</c:v>
                </c:pt>
                <c:pt idx="3171">
                  <c:v>39091</c:v>
                </c:pt>
                <c:pt idx="3172">
                  <c:v>39092</c:v>
                </c:pt>
                <c:pt idx="3173">
                  <c:v>39093</c:v>
                </c:pt>
                <c:pt idx="3174">
                  <c:v>39094</c:v>
                </c:pt>
                <c:pt idx="3175">
                  <c:v>39097</c:v>
                </c:pt>
                <c:pt idx="3176">
                  <c:v>39098</c:v>
                </c:pt>
                <c:pt idx="3177">
                  <c:v>39099</c:v>
                </c:pt>
                <c:pt idx="3178">
                  <c:v>39100</c:v>
                </c:pt>
                <c:pt idx="3179">
                  <c:v>39101</c:v>
                </c:pt>
                <c:pt idx="3180">
                  <c:v>39104</c:v>
                </c:pt>
                <c:pt idx="3181">
                  <c:v>39105</c:v>
                </c:pt>
                <c:pt idx="3182">
                  <c:v>39106</c:v>
                </c:pt>
                <c:pt idx="3183">
                  <c:v>39107</c:v>
                </c:pt>
                <c:pt idx="3184">
                  <c:v>39108</c:v>
                </c:pt>
                <c:pt idx="3185">
                  <c:v>39111</c:v>
                </c:pt>
                <c:pt idx="3186">
                  <c:v>39112</c:v>
                </c:pt>
                <c:pt idx="3187">
                  <c:v>39113</c:v>
                </c:pt>
                <c:pt idx="3188">
                  <c:v>39114</c:v>
                </c:pt>
                <c:pt idx="3189">
                  <c:v>39115</c:v>
                </c:pt>
                <c:pt idx="3190">
                  <c:v>39118</c:v>
                </c:pt>
                <c:pt idx="3191">
                  <c:v>39119</c:v>
                </c:pt>
                <c:pt idx="3192">
                  <c:v>39120</c:v>
                </c:pt>
                <c:pt idx="3193">
                  <c:v>39121</c:v>
                </c:pt>
                <c:pt idx="3194">
                  <c:v>39122</c:v>
                </c:pt>
                <c:pt idx="3195">
                  <c:v>39125</c:v>
                </c:pt>
                <c:pt idx="3196">
                  <c:v>39126</c:v>
                </c:pt>
                <c:pt idx="3197">
                  <c:v>39127</c:v>
                </c:pt>
                <c:pt idx="3198">
                  <c:v>39128</c:v>
                </c:pt>
                <c:pt idx="3199">
                  <c:v>39129</c:v>
                </c:pt>
                <c:pt idx="3200">
                  <c:v>39132</c:v>
                </c:pt>
                <c:pt idx="3201">
                  <c:v>39133</c:v>
                </c:pt>
                <c:pt idx="3202">
                  <c:v>39134</c:v>
                </c:pt>
                <c:pt idx="3203">
                  <c:v>39135</c:v>
                </c:pt>
                <c:pt idx="3204">
                  <c:v>39136</c:v>
                </c:pt>
                <c:pt idx="3205">
                  <c:v>39139</c:v>
                </c:pt>
                <c:pt idx="3206">
                  <c:v>39140</c:v>
                </c:pt>
                <c:pt idx="3207">
                  <c:v>39141</c:v>
                </c:pt>
                <c:pt idx="3208">
                  <c:v>39142</c:v>
                </c:pt>
                <c:pt idx="3209">
                  <c:v>39143</c:v>
                </c:pt>
                <c:pt idx="3210">
                  <c:v>39146</c:v>
                </c:pt>
                <c:pt idx="3211">
                  <c:v>39147</c:v>
                </c:pt>
                <c:pt idx="3212">
                  <c:v>39148</c:v>
                </c:pt>
                <c:pt idx="3213">
                  <c:v>39149</c:v>
                </c:pt>
                <c:pt idx="3214">
                  <c:v>39150</c:v>
                </c:pt>
                <c:pt idx="3215">
                  <c:v>39153</c:v>
                </c:pt>
                <c:pt idx="3216">
                  <c:v>39154</c:v>
                </c:pt>
                <c:pt idx="3217">
                  <c:v>39155</c:v>
                </c:pt>
                <c:pt idx="3218">
                  <c:v>39156</c:v>
                </c:pt>
                <c:pt idx="3219">
                  <c:v>39157</c:v>
                </c:pt>
                <c:pt idx="3220">
                  <c:v>39160</c:v>
                </c:pt>
                <c:pt idx="3221">
                  <c:v>39161</c:v>
                </c:pt>
                <c:pt idx="3222">
                  <c:v>39162</c:v>
                </c:pt>
                <c:pt idx="3223">
                  <c:v>39163</c:v>
                </c:pt>
                <c:pt idx="3224">
                  <c:v>39164</c:v>
                </c:pt>
                <c:pt idx="3225">
                  <c:v>39167</c:v>
                </c:pt>
                <c:pt idx="3226">
                  <c:v>39168</c:v>
                </c:pt>
                <c:pt idx="3227">
                  <c:v>39169</c:v>
                </c:pt>
                <c:pt idx="3228">
                  <c:v>39170</c:v>
                </c:pt>
                <c:pt idx="3229">
                  <c:v>39171</c:v>
                </c:pt>
                <c:pt idx="3230">
                  <c:v>39174</c:v>
                </c:pt>
                <c:pt idx="3231">
                  <c:v>39175</c:v>
                </c:pt>
                <c:pt idx="3232">
                  <c:v>39176</c:v>
                </c:pt>
                <c:pt idx="3233">
                  <c:v>39177</c:v>
                </c:pt>
                <c:pt idx="3234">
                  <c:v>39182</c:v>
                </c:pt>
                <c:pt idx="3235">
                  <c:v>39183</c:v>
                </c:pt>
                <c:pt idx="3236">
                  <c:v>39184</c:v>
                </c:pt>
                <c:pt idx="3237">
                  <c:v>39185</c:v>
                </c:pt>
                <c:pt idx="3238">
                  <c:v>39188</c:v>
                </c:pt>
                <c:pt idx="3239">
                  <c:v>39189</c:v>
                </c:pt>
                <c:pt idx="3240">
                  <c:v>39190</c:v>
                </c:pt>
                <c:pt idx="3241">
                  <c:v>39191</c:v>
                </c:pt>
                <c:pt idx="3242">
                  <c:v>39192</c:v>
                </c:pt>
                <c:pt idx="3243">
                  <c:v>39195</c:v>
                </c:pt>
                <c:pt idx="3244">
                  <c:v>39196</c:v>
                </c:pt>
                <c:pt idx="3245">
                  <c:v>39197</c:v>
                </c:pt>
                <c:pt idx="3246">
                  <c:v>39198</c:v>
                </c:pt>
                <c:pt idx="3247">
                  <c:v>39199</c:v>
                </c:pt>
                <c:pt idx="3248">
                  <c:v>39202</c:v>
                </c:pt>
                <c:pt idx="3249">
                  <c:v>39204</c:v>
                </c:pt>
                <c:pt idx="3250">
                  <c:v>39205</c:v>
                </c:pt>
                <c:pt idx="3251">
                  <c:v>39206</c:v>
                </c:pt>
                <c:pt idx="3252">
                  <c:v>39209</c:v>
                </c:pt>
                <c:pt idx="3253">
                  <c:v>39210</c:v>
                </c:pt>
                <c:pt idx="3254">
                  <c:v>39211</c:v>
                </c:pt>
                <c:pt idx="3255">
                  <c:v>39212</c:v>
                </c:pt>
                <c:pt idx="3256">
                  <c:v>39213</c:v>
                </c:pt>
                <c:pt idx="3257">
                  <c:v>39216</c:v>
                </c:pt>
                <c:pt idx="3258">
                  <c:v>39217</c:v>
                </c:pt>
                <c:pt idx="3259">
                  <c:v>39218</c:v>
                </c:pt>
                <c:pt idx="3260">
                  <c:v>39219</c:v>
                </c:pt>
                <c:pt idx="3261">
                  <c:v>39220</c:v>
                </c:pt>
                <c:pt idx="3262">
                  <c:v>39223</c:v>
                </c:pt>
                <c:pt idx="3263">
                  <c:v>39224</c:v>
                </c:pt>
                <c:pt idx="3264">
                  <c:v>39225</c:v>
                </c:pt>
                <c:pt idx="3265">
                  <c:v>39226</c:v>
                </c:pt>
                <c:pt idx="3266">
                  <c:v>39227</c:v>
                </c:pt>
                <c:pt idx="3267">
                  <c:v>39230</c:v>
                </c:pt>
                <c:pt idx="3268">
                  <c:v>39231</c:v>
                </c:pt>
                <c:pt idx="3269">
                  <c:v>39232</c:v>
                </c:pt>
                <c:pt idx="3270">
                  <c:v>39233</c:v>
                </c:pt>
                <c:pt idx="3271">
                  <c:v>39234</c:v>
                </c:pt>
                <c:pt idx="3272">
                  <c:v>39237</c:v>
                </c:pt>
                <c:pt idx="3273">
                  <c:v>39238</c:v>
                </c:pt>
                <c:pt idx="3274">
                  <c:v>39239</c:v>
                </c:pt>
                <c:pt idx="3275">
                  <c:v>39240</c:v>
                </c:pt>
                <c:pt idx="3276">
                  <c:v>39241</c:v>
                </c:pt>
                <c:pt idx="3277">
                  <c:v>39244</c:v>
                </c:pt>
                <c:pt idx="3278">
                  <c:v>39245</c:v>
                </c:pt>
                <c:pt idx="3279">
                  <c:v>39246</c:v>
                </c:pt>
                <c:pt idx="3280">
                  <c:v>39247</c:v>
                </c:pt>
                <c:pt idx="3281">
                  <c:v>39248</c:v>
                </c:pt>
                <c:pt idx="3282">
                  <c:v>39251</c:v>
                </c:pt>
                <c:pt idx="3283">
                  <c:v>39252</c:v>
                </c:pt>
                <c:pt idx="3284">
                  <c:v>39253</c:v>
                </c:pt>
                <c:pt idx="3285">
                  <c:v>39254</c:v>
                </c:pt>
                <c:pt idx="3286">
                  <c:v>39255</c:v>
                </c:pt>
                <c:pt idx="3287">
                  <c:v>39258</c:v>
                </c:pt>
                <c:pt idx="3288">
                  <c:v>39259</c:v>
                </c:pt>
                <c:pt idx="3289">
                  <c:v>39260</c:v>
                </c:pt>
                <c:pt idx="3290">
                  <c:v>39261</c:v>
                </c:pt>
                <c:pt idx="3291">
                  <c:v>39262</c:v>
                </c:pt>
                <c:pt idx="3292">
                  <c:v>39265</c:v>
                </c:pt>
                <c:pt idx="3293">
                  <c:v>39266</c:v>
                </c:pt>
                <c:pt idx="3294">
                  <c:v>39267</c:v>
                </c:pt>
                <c:pt idx="3295">
                  <c:v>39268</c:v>
                </c:pt>
                <c:pt idx="3296">
                  <c:v>39269</c:v>
                </c:pt>
                <c:pt idx="3297">
                  <c:v>39272</c:v>
                </c:pt>
                <c:pt idx="3298">
                  <c:v>39273</c:v>
                </c:pt>
                <c:pt idx="3299">
                  <c:v>39274</c:v>
                </c:pt>
                <c:pt idx="3300">
                  <c:v>39275</c:v>
                </c:pt>
                <c:pt idx="3301">
                  <c:v>39276</c:v>
                </c:pt>
                <c:pt idx="3302">
                  <c:v>39279</c:v>
                </c:pt>
                <c:pt idx="3303">
                  <c:v>39280</c:v>
                </c:pt>
                <c:pt idx="3304">
                  <c:v>39281</c:v>
                </c:pt>
                <c:pt idx="3305">
                  <c:v>39282</c:v>
                </c:pt>
                <c:pt idx="3306">
                  <c:v>39283</c:v>
                </c:pt>
                <c:pt idx="3307">
                  <c:v>39286</c:v>
                </c:pt>
                <c:pt idx="3308">
                  <c:v>39287</c:v>
                </c:pt>
                <c:pt idx="3309">
                  <c:v>39288</c:v>
                </c:pt>
                <c:pt idx="3310">
                  <c:v>39289</c:v>
                </c:pt>
                <c:pt idx="3311">
                  <c:v>39290</c:v>
                </c:pt>
                <c:pt idx="3312">
                  <c:v>39293</c:v>
                </c:pt>
                <c:pt idx="3313">
                  <c:v>39294</c:v>
                </c:pt>
                <c:pt idx="3314">
                  <c:v>39295</c:v>
                </c:pt>
                <c:pt idx="3315">
                  <c:v>39296</c:v>
                </c:pt>
                <c:pt idx="3316">
                  <c:v>39297</c:v>
                </c:pt>
                <c:pt idx="3317">
                  <c:v>39300</c:v>
                </c:pt>
                <c:pt idx="3318">
                  <c:v>39301</c:v>
                </c:pt>
                <c:pt idx="3319">
                  <c:v>39302</c:v>
                </c:pt>
                <c:pt idx="3320">
                  <c:v>39303</c:v>
                </c:pt>
                <c:pt idx="3321">
                  <c:v>39304</c:v>
                </c:pt>
                <c:pt idx="3322">
                  <c:v>39307</c:v>
                </c:pt>
                <c:pt idx="3323">
                  <c:v>39308</c:v>
                </c:pt>
                <c:pt idx="3324">
                  <c:v>39309</c:v>
                </c:pt>
                <c:pt idx="3325">
                  <c:v>39310</c:v>
                </c:pt>
                <c:pt idx="3326">
                  <c:v>39311</c:v>
                </c:pt>
                <c:pt idx="3327">
                  <c:v>39314</c:v>
                </c:pt>
                <c:pt idx="3328">
                  <c:v>39315</c:v>
                </c:pt>
                <c:pt idx="3329">
                  <c:v>39316</c:v>
                </c:pt>
                <c:pt idx="3330">
                  <c:v>39317</c:v>
                </c:pt>
                <c:pt idx="3331">
                  <c:v>39318</c:v>
                </c:pt>
                <c:pt idx="3332">
                  <c:v>39321</c:v>
                </c:pt>
                <c:pt idx="3333">
                  <c:v>39322</c:v>
                </c:pt>
                <c:pt idx="3334">
                  <c:v>39323</c:v>
                </c:pt>
                <c:pt idx="3335">
                  <c:v>39324</c:v>
                </c:pt>
                <c:pt idx="3336">
                  <c:v>39325</c:v>
                </c:pt>
                <c:pt idx="3337">
                  <c:v>39328</c:v>
                </c:pt>
                <c:pt idx="3338">
                  <c:v>39329</c:v>
                </c:pt>
                <c:pt idx="3339">
                  <c:v>39330</c:v>
                </c:pt>
                <c:pt idx="3340">
                  <c:v>39331</c:v>
                </c:pt>
                <c:pt idx="3341">
                  <c:v>39332</c:v>
                </c:pt>
                <c:pt idx="3342">
                  <c:v>39335</c:v>
                </c:pt>
                <c:pt idx="3343">
                  <c:v>39336</c:v>
                </c:pt>
                <c:pt idx="3344">
                  <c:v>39337</c:v>
                </c:pt>
                <c:pt idx="3345">
                  <c:v>39338</c:v>
                </c:pt>
                <c:pt idx="3346">
                  <c:v>39339</c:v>
                </c:pt>
                <c:pt idx="3347">
                  <c:v>39342</c:v>
                </c:pt>
                <c:pt idx="3348">
                  <c:v>39343</c:v>
                </c:pt>
                <c:pt idx="3349">
                  <c:v>39344</c:v>
                </c:pt>
                <c:pt idx="3350">
                  <c:v>39345</c:v>
                </c:pt>
                <c:pt idx="3351">
                  <c:v>39346</c:v>
                </c:pt>
                <c:pt idx="3352">
                  <c:v>39349</c:v>
                </c:pt>
                <c:pt idx="3353">
                  <c:v>39350</c:v>
                </c:pt>
                <c:pt idx="3354">
                  <c:v>39351</c:v>
                </c:pt>
                <c:pt idx="3355">
                  <c:v>39352</c:v>
                </c:pt>
                <c:pt idx="3356">
                  <c:v>39353</c:v>
                </c:pt>
                <c:pt idx="3357">
                  <c:v>39356</c:v>
                </c:pt>
                <c:pt idx="3358">
                  <c:v>39357</c:v>
                </c:pt>
                <c:pt idx="3359">
                  <c:v>39358</c:v>
                </c:pt>
                <c:pt idx="3360">
                  <c:v>39359</c:v>
                </c:pt>
                <c:pt idx="3361">
                  <c:v>39360</c:v>
                </c:pt>
                <c:pt idx="3362">
                  <c:v>39363</c:v>
                </c:pt>
                <c:pt idx="3363">
                  <c:v>39364</c:v>
                </c:pt>
                <c:pt idx="3364">
                  <c:v>39365</c:v>
                </c:pt>
                <c:pt idx="3365">
                  <c:v>39366</c:v>
                </c:pt>
                <c:pt idx="3366">
                  <c:v>39367</c:v>
                </c:pt>
                <c:pt idx="3367">
                  <c:v>39370</c:v>
                </c:pt>
                <c:pt idx="3368">
                  <c:v>39371</c:v>
                </c:pt>
                <c:pt idx="3369">
                  <c:v>39372</c:v>
                </c:pt>
                <c:pt idx="3370">
                  <c:v>39373</c:v>
                </c:pt>
                <c:pt idx="3371">
                  <c:v>39374</c:v>
                </c:pt>
                <c:pt idx="3372">
                  <c:v>39377</c:v>
                </c:pt>
                <c:pt idx="3373">
                  <c:v>39378</c:v>
                </c:pt>
                <c:pt idx="3374">
                  <c:v>39379</c:v>
                </c:pt>
                <c:pt idx="3375">
                  <c:v>39380</c:v>
                </c:pt>
                <c:pt idx="3376">
                  <c:v>39381</c:v>
                </c:pt>
                <c:pt idx="3377">
                  <c:v>39384</c:v>
                </c:pt>
                <c:pt idx="3378">
                  <c:v>39385</c:v>
                </c:pt>
                <c:pt idx="3379">
                  <c:v>39386</c:v>
                </c:pt>
                <c:pt idx="3380">
                  <c:v>39387</c:v>
                </c:pt>
                <c:pt idx="3381">
                  <c:v>39388</c:v>
                </c:pt>
                <c:pt idx="3382">
                  <c:v>39391</c:v>
                </c:pt>
                <c:pt idx="3383">
                  <c:v>39392</c:v>
                </c:pt>
                <c:pt idx="3384">
                  <c:v>39393</c:v>
                </c:pt>
                <c:pt idx="3385">
                  <c:v>39394</c:v>
                </c:pt>
                <c:pt idx="3386">
                  <c:v>39395</c:v>
                </c:pt>
                <c:pt idx="3387">
                  <c:v>39398</c:v>
                </c:pt>
                <c:pt idx="3388">
                  <c:v>39399</c:v>
                </c:pt>
                <c:pt idx="3389">
                  <c:v>39400</c:v>
                </c:pt>
                <c:pt idx="3390">
                  <c:v>39401</c:v>
                </c:pt>
                <c:pt idx="3391">
                  <c:v>39402</c:v>
                </c:pt>
                <c:pt idx="3392">
                  <c:v>39405</c:v>
                </c:pt>
                <c:pt idx="3393">
                  <c:v>39406</c:v>
                </c:pt>
                <c:pt idx="3394">
                  <c:v>39407</c:v>
                </c:pt>
                <c:pt idx="3395">
                  <c:v>39408</c:v>
                </c:pt>
                <c:pt idx="3396">
                  <c:v>39409</c:v>
                </c:pt>
                <c:pt idx="3397">
                  <c:v>39412</c:v>
                </c:pt>
                <c:pt idx="3398">
                  <c:v>39413</c:v>
                </c:pt>
                <c:pt idx="3399">
                  <c:v>39414</c:v>
                </c:pt>
                <c:pt idx="3400">
                  <c:v>39415</c:v>
                </c:pt>
                <c:pt idx="3401">
                  <c:v>39416</c:v>
                </c:pt>
                <c:pt idx="3402">
                  <c:v>39419</c:v>
                </c:pt>
                <c:pt idx="3403">
                  <c:v>39420</c:v>
                </c:pt>
                <c:pt idx="3404">
                  <c:v>39421</c:v>
                </c:pt>
                <c:pt idx="3405">
                  <c:v>39422</c:v>
                </c:pt>
                <c:pt idx="3406">
                  <c:v>39423</c:v>
                </c:pt>
                <c:pt idx="3407">
                  <c:v>39426</c:v>
                </c:pt>
                <c:pt idx="3408">
                  <c:v>39427</c:v>
                </c:pt>
                <c:pt idx="3409">
                  <c:v>39428</c:v>
                </c:pt>
                <c:pt idx="3410">
                  <c:v>39429</c:v>
                </c:pt>
                <c:pt idx="3411">
                  <c:v>39430</c:v>
                </c:pt>
                <c:pt idx="3412">
                  <c:v>39433</c:v>
                </c:pt>
                <c:pt idx="3413">
                  <c:v>39434</c:v>
                </c:pt>
                <c:pt idx="3414">
                  <c:v>39435</c:v>
                </c:pt>
                <c:pt idx="3415">
                  <c:v>39436</c:v>
                </c:pt>
                <c:pt idx="3416">
                  <c:v>39437</c:v>
                </c:pt>
                <c:pt idx="3417">
                  <c:v>39440</c:v>
                </c:pt>
                <c:pt idx="3418">
                  <c:v>39443</c:v>
                </c:pt>
                <c:pt idx="3419">
                  <c:v>39444</c:v>
                </c:pt>
                <c:pt idx="3420">
                  <c:v>39447</c:v>
                </c:pt>
                <c:pt idx="3421">
                  <c:v>39449</c:v>
                </c:pt>
                <c:pt idx="3422">
                  <c:v>39450</c:v>
                </c:pt>
                <c:pt idx="3423">
                  <c:v>39451</c:v>
                </c:pt>
                <c:pt idx="3424">
                  <c:v>39454</c:v>
                </c:pt>
                <c:pt idx="3425">
                  <c:v>39455</c:v>
                </c:pt>
                <c:pt idx="3426">
                  <c:v>39456</c:v>
                </c:pt>
                <c:pt idx="3427">
                  <c:v>39457</c:v>
                </c:pt>
                <c:pt idx="3428">
                  <c:v>39458</c:v>
                </c:pt>
                <c:pt idx="3429">
                  <c:v>39461</c:v>
                </c:pt>
                <c:pt idx="3430">
                  <c:v>39462</c:v>
                </c:pt>
                <c:pt idx="3431">
                  <c:v>39463</c:v>
                </c:pt>
                <c:pt idx="3432">
                  <c:v>39464</c:v>
                </c:pt>
                <c:pt idx="3433">
                  <c:v>39465</c:v>
                </c:pt>
                <c:pt idx="3434">
                  <c:v>39468</c:v>
                </c:pt>
                <c:pt idx="3435">
                  <c:v>39469</c:v>
                </c:pt>
                <c:pt idx="3436">
                  <c:v>39470</c:v>
                </c:pt>
                <c:pt idx="3437">
                  <c:v>39471</c:v>
                </c:pt>
                <c:pt idx="3438">
                  <c:v>39472</c:v>
                </c:pt>
                <c:pt idx="3439">
                  <c:v>39475</c:v>
                </c:pt>
                <c:pt idx="3440">
                  <c:v>39476</c:v>
                </c:pt>
                <c:pt idx="3441">
                  <c:v>39477</c:v>
                </c:pt>
                <c:pt idx="3442">
                  <c:v>39478</c:v>
                </c:pt>
                <c:pt idx="3443">
                  <c:v>39479</c:v>
                </c:pt>
                <c:pt idx="3444">
                  <c:v>39482</c:v>
                </c:pt>
                <c:pt idx="3445">
                  <c:v>39483</c:v>
                </c:pt>
                <c:pt idx="3446">
                  <c:v>39484</c:v>
                </c:pt>
                <c:pt idx="3447">
                  <c:v>39485</c:v>
                </c:pt>
                <c:pt idx="3448">
                  <c:v>39486</c:v>
                </c:pt>
                <c:pt idx="3449">
                  <c:v>39489</c:v>
                </c:pt>
                <c:pt idx="3450">
                  <c:v>39490</c:v>
                </c:pt>
                <c:pt idx="3451">
                  <c:v>39491</c:v>
                </c:pt>
                <c:pt idx="3452">
                  <c:v>39492</c:v>
                </c:pt>
                <c:pt idx="3453">
                  <c:v>39493</c:v>
                </c:pt>
                <c:pt idx="3454">
                  <c:v>39496</c:v>
                </c:pt>
                <c:pt idx="3455">
                  <c:v>39497</c:v>
                </c:pt>
                <c:pt idx="3456">
                  <c:v>39498</c:v>
                </c:pt>
                <c:pt idx="3457">
                  <c:v>39499</c:v>
                </c:pt>
                <c:pt idx="3458">
                  <c:v>39500</c:v>
                </c:pt>
                <c:pt idx="3459">
                  <c:v>39503</c:v>
                </c:pt>
                <c:pt idx="3460">
                  <c:v>39504</c:v>
                </c:pt>
                <c:pt idx="3461">
                  <c:v>39505</c:v>
                </c:pt>
                <c:pt idx="3462">
                  <c:v>39506</c:v>
                </c:pt>
                <c:pt idx="3463">
                  <c:v>39507</c:v>
                </c:pt>
                <c:pt idx="3464">
                  <c:v>39510</c:v>
                </c:pt>
                <c:pt idx="3465">
                  <c:v>39511</c:v>
                </c:pt>
                <c:pt idx="3466">
                  <c:v>39512</c:v>
                </c:pt>
                <c:pt idx="3467">
                  <c:v>39513</c:v>
                </c:pt>
                <c:pt idx="3468">
                  <c:v>39514</c:v>
                </c:pt>
                <c:pt idx="3469">
                  <c:v>39517</c:v>
                </c:pt>
                <c:pt idx="3470">
                  <c:v>39518</c:v>
                </c:pt>
                <c:pt idx="3471">
                  <c:v>39519</c:v>
                </c:pt>
                <c:pt idx="3472">
                  <c:v>39520</c:v>
                </c:pt>
                <c:pt idx="3473">
                  <c:v>39521</c:v>
                </c:pt>
                <c:pt idx="3474">
                  <c:v>39524</c:v>
                </c:pt>
                <c:pt idx="3475">
                  <c:v>39525</c:v>
                </c:pt>
                <c:pt idx="3476">
                  <c:v>39526</c:v>
                </c:pt>
                <c:pt idx="3477">
                  <c:v>39527</c:v>
                </c:pt>
                <c:pt idx="3478">
                  <c:v>39532</c:v>
                </c:pt>
                <c:pt idx="3479">
                  <c:v>39533</c:v>
                </c:pt>
                <c:pt idx="3480">
                  <c:v>39534</c:v>
                </c:pt>
                <c:pt idx="3481">
                  <c:v>39535</c:v>
                </c:pt>
                <c:pt idx="3482">
                  <c:v>39538</c:v>
                </c:pt>
                <c:pt idx="3483">
                  <c:v>39539</c:v>
                </c:pt>
                <c:pt idx="3484">
                  <c:v>39540</c:v>
                </c:pt>
                <c:pt idx="3485">
                  <c:v>39541</c:v>
                </c:pt>
                <c:pt idx="3486">
                  <c:v>39542</c:v>
                </c:pt>
                <c:pt idx="3487">
                  <c:v>39545</c:v>
                </c:pt>
                <c:pt idx="3488">
                  <c:v>39546</c:v>
                </c:pt>
                <c:pt idx="3489">
                  <c:v>39547</c:v>
                </c:pt>
                <c:pt idx="3490">
                  <c:v>39548</c:v>
                </c:pt>
                <c:pt idx="3491">
                  <c:v>39549</c:v>
                </c:pt>
                <c:pt idx="3492">
                  <c:v>39552</c:v>
                </c:pt>
                <c:pt idx="3493">
                  <c:v>39553</c:v>
                </c:pt>
                <c:pt idx="3494">
                  <c:v>39554</c:v>
                </c:pt>
                <c:pt idx="3495">
                  <c:v>39555</c:v>
                </c:pt>
                <c:pt idx="3496">
                  <c:v>39556</c:v>
                </c:pt>
                <c:pt idx="3497">
                  <c:v>39559</c:v>
                </c:pt>
                <c:pt idx="3498">
                  <c:v>39560</c:v>
                </c:pt>
                <c:pt idx="3499">
                  <c:v>39561</c:v>
                </c:pt>
                <c:pt idx="3500">
                  <c:v>39562</c:v>
                </c:pt>
                <c:pt idx="3501">
                  <c:v>39563</c:v>
                </c:pt>
                <c:pt idx="3502">
                  <c:v>39566</c:v>
                </c:pt>
                <c:pt idx="3503">
                  <c:v>39567</c:v>
                </c:pt>
                <c:pt idx="3504">
                  <c:v>39568</c:v>
                </c:pt>
                <c:pt idx="3505">
                  <c:v>39570</c:v>
                </c:pt>
                <c:pt idx="3506">
                  <c:v>39573</c:v>
                </c:pt>
                <c:pt idx="3507">
                  <c:v>39574</c:v>
                </c:pt>
                <c:pt idx="3508">
                  <c:v>39575</c:v>
                </c:pt>
                <c:pt idx="3509">
                  <c:v>39576</c:v>
                </c:pt>
                <c:pt idx="3510">
                  <c:v>39577</c:v>
                </c:pt>
                <c:pt idx="3511">
                  <c:v>39580</c:v>
                </c:pt>
                <c:pt idx="3512">
                  <c:v>39581</c:v>
                </c:pt>
                <c:pt idx="3513">
                  <c:v>39582</c:v>
                </c:pt>
                <c:pt idx="3514">
                  <c:v>39583</c:v>
                </c:pt>
                <c:pt idx="3515">
                  <c:v>39584</c:v>
                </c:pt>
                <c:pt idx="3516">
                  <c:v>39587</c:v>
                </c:pt>
                <c:pt idx="3517">
                  <c:v>39588</c:v>
                </c:pt>
                <c:pt idx="3518">
                  <c:v>39589</c:v>
                </c:pt>
                <c:pt idx="3519">
                  <c:v>39590</c:v>
                </c:pt>
                <c:pt idx="3520">
                  <c:v>39591</c:v>
                </c:pt>
                <c:pt idx="3521">
                  <c:v>39594</c:v>
                </c:pt>
                <c:pt idx="3522">
                  <c:v>39595</c:v>
                </c:pt>
                <c:pt idx="3523">
                  <c:v>39596</c:v>
                </c:pt>
                <c:pt idx="3524">
                  <c:v>39597</c:v>
                </c:pt>
                <c:pt idx="3525">
                  <c:v>39598</c:v>
                </c:pt>
                <c:pt idx="3526">
                  <c:v>39601</c:v>
                </c:pt>
                <c:pt idx="3527">
                  <c:v>39602</c:v>
                </c:pt>
                <c:pt idx="3528">
                  <c:v>39603</c:v>
                </c:pt>
                <c:pt idx="3529">
                  <c:v>39604</c:v>
                </c:pt>
                <c:pt idx="3530">
                  <c:v>39605</c:v>
                </c:pt>
                <c:pt idx="3531">
                  <c:v>39608</c:v>
                </c:pt>
                <c:pt idx="3532">
                  <c:v>39609</c:v>
                </c:pt>
                <c:pt idx="3533">
                  <c:v>39610</c:v>
                </c:pt>
                <c:pt idx="3534">
                  <c:v>39611</c:v>
                </c:pt>
                <c:pt idx="3535">
                  <c:v>39612</c:v>
                </c:pt>
                <c:pt idx="3536">
                  <c:v>39615</c:v>
                </c:pt>
                <c:pt idx="3537">
                  <c:v>39616</c:v>
                </c:pt>
                <c:pt idx="3538">
                  <c:v>39617</c:v>
                </c:pt>
                <c:pt idx="3539">
                  <c:v>39618</c:v>
                </c:pt>
                <c:pt idx="3540">
                  <c:v>39619</c:v>
                </c:pt>
                <c:pt idx="3541">
                  <c:v>39622</c:v>
                </c:pt>
                <c:pt idx="3542">
                  <c:v>39623</c:v>
                </c:pt>
                <c:pt idx="3543">
                  <c:v>39624</c:v>
                </c:pt>
                <c:pt idx="3544">
                  <c:v>39625</c:v>
                </c:pt>
                <c:pt idx="3545">
                  <c:v>39626</c:v>
                </c:pt>
                <c:pt idx="3546">
                  <c:v>39629</c:v>
                </c:pt>
                <c:pt idx="3547">
                  <c:v>39630</c:v>
                </c:pt>
                <c:pt idx="3548">
                  <c:v>39631</c:v>
                </c:pt>
                <c:pt idx="3549">
                  <c:v>39632</c:v>
                </c:pt>
                <c:pt idx="3550">
                  <c:v>39633</c:v>
                </c:pt>
                <c:pt idx="3551">
                  <c:v>39636</c:v>
                </c:pt>
                <c:pt idx="3552">
                  <c:v>39637</c:v>
                </c:pt>
                <c:pt idx="3553">
                  <c:v>39638</c:v>
                </c:pt>
                <c:pt idx="3554">
                  <c:v>39639</c:v>
                </c:pt>
                <c:pt idx="3555">
                  <c:v>39640</c:v>
                </c:pt>
                <c:pt idx="3556">
                  <c:v>39643</c:v>
                </c:pt>
                <c:pt idx="3557">
                  <c:v>39644</c:v>
                </c:pt>
                <c:pt idx="3558">
                  <c:v>39645</c:v>
                </c:pt>
                <c:pt idx="3559">
                  <c:v>39646</c:v>
                </c:pt>
                <c:pt idx="3560">
                  <c:v>39647</c:v>
                </c:pt>
                <c:pt idx="3561">
                  <c:v>39650</c:v>
                </c:pt>
                <c:pt idx="3562">
                  <c:v>39651</c:v>
                </c:pt>
                <c:pt idx="3563">
                  <c:v>39652</c:v>
                </c:pt>
                <c:pt idx="3564">
                  <c:v>39653</c:v>
                </c:pt>
                <c:pt idx="3565">
                  <c:v>39654</c:v>
                </c:pt>
                <c:pt idx="3566">
                  <c:v>39657</c:v>
                </c:pt>
                <c:pt idx="3567">
                  <c:v>39658</c:v>
                </c:pt>
                <c:pt idx="3568">
                  <c:v>39659</c:v>
                </c:pt>
                <c:pt idx="3569">
                  <c:v>39660</c:v>
                </c:pt>
                <c:pt idx="3570">
                  <c:v>39661</c:v>
                </c:pt>
                <c:pt idx="3571">
                  <c:v>39664</c:v>
                </c:pt>
                <c:pt idx="3572">
                  <c:v>39665</c:v>
                </c:pt>
                <c:pt idx="3573">
                  <c:v>39666</c:v>
                </c:pt>
                <c:pt idx="3574">
                  <c:v>39667</c:v>
                </c:pt>
                <c:pt idx="3575">
                  <c:v>39668</c:v>
                </c:pt>
                <c:pt idx="3576">
                  <c:v>39671</c:v>
                </c:pt>
                <c:pt idx="3577">
                  <c:v>39672</c:v>
                </c:pt>
                <c:pt idx="3578">
                  <c:v>39673</c:v>
                </c:pt>
                <c:pt idx="3579">
                  <c:v>39674</c:v>
                </c:pt>
                <c:pt idx="3580">
                  <c:v>39675</c:v>
                </c:pt>
                <c:pt idx="3581">
                  <c:v>39678</c:v>
                </c:pt>
                <c:pt idx="3582">
                  <c:v>39679</c:v>
                </c:pt>
                <c:pt idx="3583">
                  <c:v>39680</c:v>
                </c:pt>
                <c:pt idx="3584">
                  <c:v>39681</c:v>
                </c:pt>
                <c:pt idx="3585">
                  <c:v>39682</c:v>
                </c:pt>
                <c:pt idx="3586">
                  <c:v>39685</c:v>
                </c:pt>
                <c:pt idx="3587">
                  <c:v>39686</c:v>
                </c:pt>
                <c:pt idx="3588">
                  <c:v>39687</c:v>
                </c:pt>
                <c:pt idx="3589">
                  <c:v>39688</c:v>
                </c:pt>
                <c:pt idx="3590">
                  <c:v>39689</c:v>
                </c:pt>
                <c:pt idx="3591">
                  <c:v>39692</c:v>
                </c:pt>
                <c:pt idx="3592">
                  <c:v>39693</c:v>
                </c:pt>
                <c:pt idx="3593">
                  <c:v>39694</c:v>
                </c:pt>
                <c:pt idx="3594">
                  <c:v>39695</c:v>
                </c:pt>
                <c:pt idx="3595">
                  <c:v>39696</c:v>
                </c:pt>
                <c:pt idx="3596">
                  <c:v>39699</c:v>
                </c:pt>
                <c:pt idx="3597">
                  <c:v>39700</c:v>
                </c:pt>
                <c:pt idx="3598">
                  <c:v>39701</c:v>
                </c:pt>
                <c:pt idx="3599">
                  <c:v>39702</c:v>
                </c:pt>
                <c:pt idx="3600">
                  <c:v>39703</c:v>
                </c:pt>
                <c:pt idx="3601">
                  <c:v>39706</c:v>
                </c:pt>
                <c:pt idx="3602">
                  <c:v>39707</c:v>
                </c:pt>
                <c:pt idx="3603">
                  <c:v>39708</c:v>
                </c:pt>
                <c:pt idx="3604">
                  <c:v>39709</c:v>
                </c:pt>
                <c:pt idx="3605">
                  <c:v>39710</c:v>
                </c:pt>
                <c:pt idx="3606">
                  <c:v>39713</c:v>
                </c:pt>
                <c:pt idx="3607">
                  <c:v>39714</c:v>
                </c:pt>
                <c:pt idx="3608">
                  <c:v>39715</c:v>
                </c:pt>
                <c:pt idx="3609">
                  <c:v>39716</c:v>
                </c:pt>
                <c:pt idx="3610">
                  <c:v>39717</c:v>
                </c:pt>
                <c:pt idx="3611">
                  <c:v>39720</c:v>
                </c:pt>
                <c:pt idx="3612">
                  <c:v>39721</c:v>
                </c:pt>
                <c:pt idx="3613">
                  <c:v>39722</c:v>
                </c:pt>
                <c:pt idx="3614">
                  <c:v>39723</c:v>
                </c:pt>
                <c:pt idx="3615">
                  <c:v>39724</c:v>
                </c:pt>
                <c:pt idx="3616">
                  <c:v>39727</c:v>
                </c:pt>
                <c:pt idx="3617">
                  <c:v>39728</c:v>
                </c:pt>
                <c:pt idx="3618">
                  <c:v>39729</c:v>
                </c:pt>
                <c:pt idx="3619">
                  <c:v>39730</c:v>
                </c:pt>
                <c:pt idx="3620">
                  <c:v>39731</c:v>
                </c:pt>
                <c:pt idx="3621">
                  <c:v>39734</c:v>
                </c:pt>
                <c:pt idx="3622">
                  <c:v>39735</c:v>
                </c:pt>
                <c:pt idx="3623">
                  <c:v>39736</c:v>
                </c:pt>
                <c:pt idx="3624">
                  <c:v>39737</c:v>
                </c:pt>
                <c:pt idx="3625">
                  <c:v>39738</c:v>
                </c:pt>
                <c:pt idx="3626">
                  <c:v>39741</c:v>
                </c:pt>
                <c:pt idx="3627">
                  <c:v>39742</c:v>
                </c:pt>
                <c:pt idx="3628">
                  <c:v>39743</c:v>
                </c:pt>
                <c:pt idx="3629">
                  <c:v>39744</c:v>
                </c:pt>
                <c:pt idx="3630">
                  <c:v>39745</c:v>
                </c:pt>
                <c:pt idx="3631">
                  <c:v>39748</c:v>
                </c:pt>
                <c:pt idx="3632">
                  <c:v>39749</c:v>
                </c:pt>
                <c:pt idx="3633">
                  <c:v>39750</c:v>
                </c:pt>
                <c:pt idx="3634">
                  <c:v>39751</c:v>
                </c:pt>
                <c:pt idx="3635">
                  <c:v>39752</c:v>
                </c:pt>
                <c:pt idx="3636">
                  <c:v>39755</c:v>
                </c:pt>
                <c:pt idx="3637">
                  <c:v>39756</c:v>
                </c:pt>
                <c:pt idx="3638">
                  <c:v>39757</c:v>
                </c:pt>
                <c:pt idx="3639">
                  <c:v>39758</c:v>
                </c:pt>
                <c:pt idx="3640">
                  <c:v>39759</c:v>
                </c:pt>
                <c:pt idx="3641">
                  <c:v>39762</c:v>
                </c:pt>
                <c:pt idx="3642">
                  <c:v>39763</c:v>
                </c:pt>
                <c:pt idx="3643">
                  <c:v>39764</c:v>
                </c:pt>
                <c:pt idx="3644">
                  <c:v>39765</c:v>
                </c:pt>
                <c:pt idx="3645">
                  <c:v>39766</c:v>
                </c:pt>
                <c:pt idx="3646">
                  <c:v>39769</c:v>
                </c:pt>
                <c:pt idx="3647">
                  <c:v>39770</c:v>
                </c:pt>
                <c:pt idx="3648">
                  <c:v>39771</c:v>
                </c:pt>
                <c:pt idx="3649">
                  <c:v>39772</c:v>
                </c:pt>
                <c:pt idx="3650">
                  <c:v>39773</c:v>
                </c:pt>
                <c:pt idx="3651">
                  <c:v>39776</c:v>
                </c:pt>
                <c:pt idx="3652">
                  <c:v>39777</c:v>
                </c:pt>
                <c:pt idx="3653">
                  <c:v>39778</c:v>
                </c:pt>
                <c:pt idx="3654">
                  <c:v>39779</c:v>
                </c:pt>
                <c:pt idx="3655">
                  <c:v>39780</c:v>
                </c:pt>
                <c:pt idx="3656">
                  <c:v>39783</c:v>
                </c:pt>
                <c:pt idx="3657">
                  <c:v>39784</c:v>
                </c:pt>
                <c:pt idx="3658">
                  <c:v>39785</c:v>
                </c:pt>
                <c:pt idx="3659">
                  <c:v>39786</c:v>
                </c:pt>
                <c:pt idx="3660">
                  <c:v>39787</c:v>
                </c:pt>
                <c:pt idx="3661">
                  <c:v>39790</c:v>
                </c:pt>
                <c:pt idx="3662">
                  <c:v>39791</c:v>
                </c:pt>
                <c:pt idx="3663">
                  <c:v>39792</c:v>
                </c:pt>
                <c:pt idx="3664">
                  <c:v>39793</c:v>
                </c:pt>
                <c:pt idx="3665">
                  <c:v>39794</c:v>
                </c:pt>
                <c:pt idx="3666">
                  <c:v>39797</c:v>
                </c:pt>
                <c:pt idx="3667">
                  <c:v>39798</c:v>
                </c:pt>
                <c:pt idx="3668">
                  <c:v>39799</c:v>
                </c:pt>
                <c:pt idx="3669">
                  <c:v>39800</c:v>
                </c:pt>
                <c:pt idx="3670">
                  <c:v>39801</c:v>
                </c:pt>
                <c:pt idx="3671">
                  <c:v>39804</c:v>
                </c:pt>
                <c:pt idx="3672">
                  <c:v>39805</c:v>
                </c:pt>
                <c:pt idx="3673">
                  <c:v>39806</c:v>
                </c:pt>
                <c:pt idx="3674">
                  <c:v>39811</c:v>
                </c:pt>
                <c:pt idx="3675">
                  <c:v>39812</c:v>
                </c:pt>
                <c:pt idx="3676">
                  <c:v>39813</c:v>
                </c:pt>
                <c:pt idx="3677">
                  <c:v>39815</c:v>
                </c:pt>
                <c:pt idx="3678">
                  <c:v>39818</c:v>
                </c:pt>
                <c:pt idx="3679">
                  <c:v>39819</c:v>
                </c:pt>
                <c:pt idx="3680">
                  <c:v>39820</c:v>
                </c:pt>
                <c:pt idx="3681">
                  <c:v>39821</c:v>
                </c:pt>
                <c:pt idx="3682">
                  <c:v>39822</c:v>
                </c:pt>
                <c:pt idx="3683">
                  <c:v>39825</c:v>
                </c:pt>
                <c:pt idx="3684">
                  <c:v>39826</c:v>
                </c:pt>
                <c:pt idx="3685">
                  <c:v>39827</c:v>
                </c:pt>
                <c:pt idx="3686">
                  <c:v>39828</c:v>
                </c:pt>
                <c:pt idx="3687">
                  <c:v>39829</c:v>
                </c:pt>
                <c:pt idx="3688">
                  <c:v>39832</c:v>
                </c:pt>
                <c:pt idx="3689">
                  <c:v>39833</c:v>
                </c:pt>
                <c:pt idx="3690">
                  <c:v>39834</c:v>
                </c:pt>
                <c:pt idx="3691">
                  <c:v>39835</c:v>
                </c:pt>
                <c:pt idx="3692">
                  <c:v>39836</c:v>
                </c:pt>
                <c:pt idx="3693">
                  <c:v>39839</c:v>
                </c:pt>
                <c:pt idx="3694">
                  <c:v>39840</c:v>
                </c:pt>
                <c:pt idx="3695">
                  <c:v>39841</c:v>
                </c:pt>
                <c:pt idx="3696">
                  <c:v>39842</c:v>
                </c:pt>
                <c:pt idx="3697">
                  <c:v>39843</c:v>
                </c:pt>
                <c:pt idx="3698">
                  <c:v>39846</c:v>
                </c:pt>
                <c:pt idx="3699">
                  <c:v>39847</c:v>
                </c:pt>
                <c:pt idx="3700">
                  <c:v>39848</c:v>
                </c:pt>
                <c:pt idx="3701">
                  <c:v>39849</c:v>
                </c:pt>
                <c:pt idx="3702">
                  <c:v>39850</c:v>
                </c:pt>
                <c:pt idx="3703">
                  <c:v>39853</c:v>
                </c:pt>
                <c:pt idx="3704">
                  <c:v>39854</c:v>
                </c:pt>
                <c:pt idx="3705">
                  <c:v>39855</c:v>
                </c:pt>
                <c:pt idx="3706">
                  <c:v>39856</c:v>
                </c:pt>
                <c:pt idx="3707">
                  <c:v>39857</c:v>
                </c:pt>
                <c:pt idx="3708">
                  <c:v>39860</c:v>
                </c:pt>
                <c:pt idx="3709">
                  <c:v>39861</c:v>
                </c:pt>
                <c:pt idx="3710">
                  <c:v>39862</c:v>
                </c:pt>
                <c:pt idx="3711">
                  <c:v>39863</c:v>
                </c:pt>
                <c:pt idx="3712">
                  <c:v>39864</c:v>
                </c:pt>
                <c:pt idx="3713">
                  <c:v>39867</c:v>
                </c:pt>
                <c:pt idx="3714">
                  <c:v>39868</c:v>
                </c:pt>
                <c:pt idx="3715">
                  <c:v>39869</c:v>
                </c:pt>
                <c:pt idx="3716">
                  <c:v>39870</c:v>
                </c:pt>
                <c:pt idx="3717">
                  <c:v>39871</c:v>
                </c:pt>
                <c:pt idx="3718">
                  <c:v>39874</c:v>
                </c:pt>
                <c:pt idx="3719">
                  <c:v>39875</c:v>
                </c:pt>
                <c:pt idx="3720">
                  <c:v>39876</c:v>
                </c:pt>
                <c:pt idx="3721">
                  <c:v>39877</c:v>
                </c:pt>
                <c:pt idx="3722">
                  <c:v>39878</c:v>
                </c:pt>
                <c:pt idx="3723">
                  <c:v>39881</c:v>
                </c:pt>
                <c:pt idx="3724">
                  <c:v>39882</c:v>
                </c:pt>
                <c:pt idx="3725">
                  <c:v>39883</c:v>
                </c:pt>
                <c:pt idx="3726">
                  <c:v>39884</c:v>
                </c:pt>
                <c:pt idx="3727">
                  <c:v>39885</c:v>
                </c:pt>
                <c:pt idx="3728">
                  <c:v>39888</c:v>
                </c:pt>
                <c:pt idx="3729">
                  <c:v>39889</c:v>
                </c:pt>
                <c:pt idx="3730">
                  <c:v>39890</c:v>
                </c:pt>
                <c:pt idx="3731">
                  <c:v>39891</c:v>
                </c:pt>
                <c:pt idx="3732">
                  <c:v>39892</c:v>
                </c:pt>
                <c:pt idx="3733">
                  <c:v>39895</c:v>
                </c:pt>
                <c:pt idx="3734">
                  <c:v>39896</c:v>
                </c:pt>
                <c:pt idx="3735">
                  <c:v>39897</c:v>
                </c:pt>
                <c:pt idx="3736">
                  <c:v>39898</c:v>
                </c:pt>
                <c:pt idx="3737">
                  <c:v>39899</c:v>
                </c:pt>
                <c:pt idx="3738">
                  <c:v>39902</c:v>
                </c:pt>
                <c:pt idx="3739">
                  <c:v>39903</c:v>
                </c:pt>
                <c:pt idx="3740">
                  <c:v>39904</c:v>
                </c:pt>
                <c:pt idx="3741">
                  <c:v>39905</c:v>
                </c:pt>
                <c:pt idx="3742">
                  <c:v>39906</c:v>
                </c:pt>
                <c:pt idx="3743">
                  <c:v>39909</c:v>
                </c:pt>
                <c:pt idx="3744">
                  <c:v>39910</c:v>
                </c:pt>
                <c:pt idx="3745">
                  <c:v>39911</c:v>
                </c:pt>
                <c:pt idx="3746">
                  <c:v>39912</c:v>
                </c:pt>
                <c:pt idx="3747">
                  <c:v>39917</c:v>
                </c:pt>
                <c:pt idx="3748">
                  <c:v>39918</c:v>
                </c:pt>
                <c:pt idx="3749">
                  <c:v>39919</c:v>
                </c:pt>
                <c:pt idx="3750">
                  <c:v>39920</c:v>
                </c:pt>
                <c:pt idx="3751">
                  <c:v>39923</c:v>
                </c:pt>
                <c:pt idx="3752">
                  <c:v>39924</c:v>
                </c:pt>
                <c:pt idx="3753">
                  <c:v>39925</c:v>
                </c:pt>
                <c:pt idx="3754">
                  <c:v>39926</c:v>
                </c:pt>
                <c:pt idx="3755">
                  <c:v>39927</c:v>
                </c:pt>
                <c:pt idx="3756">
                  <c:v>39930</c:v>
                </c:pt>
                <c:pt idx="3757">
                  <c:v>39931</c:v>
                </c:pt>
                <c:pt idx="3758">
                  <c:v>39932</c:v>
                </c:pt>
                <c:pt idx="3759">
                  <c:v>39933</c:v>
                </c:pt>
                <c:pt idx="3760">
                  <c:v>39937</c:v>
                </c:pt>
                <c:pt idx="3761">
                  <c:v>39938</c:v>
                </c:pt>
                <c:pt idx="3762">
                  <c:v>39939</c:v>
                </c:pt>
                <c:pt idx="3763">
                  <c:v>39940</c:v>
                </c:pt>
                <c:pt idx="3764">
                  <c:v>39941</c:v>
                </c:pt>
                <c:pt idx="3765">
                  <c:v>39944</c:v>
                </c:pt>
                <c:pt idx="3766">
                  <c:v>39945</c:v>
                </c:pt>
                <c:pt idx="3767">
                  <c:v>39946</c:v>
                </c:pt>
                <c:pt idx="3768">
                  <c:v>39947</c:v>
                </c:pt>
                <c:pt idx="3769">
                  <c:v>39948</c:v>
                </c:pt>
                <c:pt idx="3770">
                  <c:v>39951</c:v>
                </c:pt>
                <c:pt idx="3771">
                  <c:v>39952</c:v>
                </c:pt>
                <c:pt idx="3772">
                  <c:v>39953</c:v>
                </c:pt>
                <c:pt idx="3773">
                  <c:v>39954</c:v>
                </c:pt>
                <c:pt idx="3774">
                  <c:v>39955</c:v>
                </c:pt>
                <c:pt idx="3775">
                  <c:v>39958</c:v>
                </c:pt>
                <c:pt idx="3776">
                  <c:v>39959</c:v>
                </c:pt>
                <c:pt idx="3777">
                  <c:v>39960</c:v>
                </c:pt>
                <c:pt idx="3778">
                  <c:v>39961</c:v>
                </c:pt>
                <c:pt idx="3779">
                  <c:v>39962</c:v>
                </c:pt>
                <c:pt idx="3780">
                  <c:v>39965</c:v>
                </c:pt>
                <c:pt idx="3781">
                  <c:v>39966</c:v>
                </c:pt>
                <c:pt idx="3782">
                  <c:v>39967</c:v>
                </c:pt>
                <c:pt idx="3783">
                  <c:v>39968</c:v>
                </c:pt>
                <c:pt idx="3784">
                  <c:v>39969</c:v>
                </c:pt>
                <c:pt idx="3785">
                  <c:v>39972</c:v>
                </c:pt>
                <c:pt idx="3786">
                  <c:v>39973</c:v>
                </c:pt>
                <c:pt idx="3787">
                  <c:v>39974</c:v>
                </c:pt>
                <c:pt idx="3788">
                  <c:v>39975</c:v>
                </c:pt>
                <c:pt idx="3789">
                  <c:v>39976</c:v>
                </c:pt>
                <c:pt idx="3790">
                  <c:v>39979</c:v>
                </c:pt>
                <c:pt idx="3791">
                  <c:v>39980</c:v>
                </c:pt>
                <c:pt idx="3792">
                  <c:v>39981</c:v>
                </c:pt>
                <c:pt idx="3793">
                  <c:v>39982</c:v>
                </c:pt>
                <c:pt idx="3794">
                  <c:v>39983</c:v>
                </c:pt>
                <c:pt idx="3795">
                  <c:v>39986</c:v>
                </c:pt>
                <c:pt idx="3796">
                  <c:v>39987</c:v>
                </c:pt>
                <c:pt idx="3797">
                  <c:v>39988</c:v>
                </c:pt>
                <c:pt idx="3798">
                  <c:v>39989</c:v>
                </c:pt>
                <c:pt idx="3799">
                  <c:v>39990</c:v>
                </c:pt>
                <c:pt idx="3800">
                  <c:v>39993</c:v>
                </c:pt>
                <c:pt idx="3801">
                  <c:v>39994</c:v>
                </c:pt>
                <c:pt idx="3802">
                  <c:v>39995</c:v>
                </c:pt>
                <c:pt idx="3803">
                  <c:v>39996</c:v>
                </c:pt>
                <c:pt idx="3804">
                  <c:v>39997</c:v>
                </c:pt>
                <c:pt idx="3805">
                  <c:v>40000</c:v>
                </c:pt>
                <c:pt idx="3806">
                  <c:v>40001</c:v>
                </c:pt>
                <c:pt idx="3807">
                  <c:v>40002</c:v>
                </c:pt>
                <c:pt idx="3808">
                  <c:v>40003</c:v>
                </c:pt>
                <c:pt idx="3809">
                  <c:v>40004</c:v>
                </c:pt>
                <c:pt idx="3810">
                  <c:v>40007</c:v>
                </c:pt>
                <c:pt idx="3811">
                  <c:v>40008</c:v>
                </c:pt>
                <c:pt idx="3812">
                  <c:v>40009</c:v>
                </c:pt>
                <c:pt idx="3813">
                  <c:v>40010</c:v>
                </c:pt>
                <c:pt idx="3814">
                  <c:v>40011</c:v>
                </c:pt>
                <c:pt idx="3815">
                  <c:v>40014</c:v>
                </c:pt>
                <c:pt idx="3816">
                  <c:v>40015</c:v>
                </c:pt>
                <c:pt idx="3817">
                  <c:v>40016</c:v>
                </c:pt>
                <c:pt idx="3818">
                  <c:v>40017</c:v>
                </c:pt>
                <c:pt idx="3819">
                  <c:v>40018</c:v>
                </c:pt>
                <c:pt idx="3820">
                  <c:v>40021</c:v>
                </c:pt>
                <c:pt idx="3821">
                  <c:v>40022</c:v>
                </c:pt>
                <c:pt idx="3822">
                  <c:v>40023</c:v>
                </c:pt>
                <c:pt idx="3823">
                  <c:v>40024</c:v>
                </c:pt>
                <c:pt idx="3824">
                  <c:v>40025</c:v>
                </c:pt>
                <c:pt idx="3825">
                  <c:v>40028</c:v>
                </c:pt>
                <c:pt idx="3826">
                  <c:v>40029</c:v>
                </c:pt>
                <c:pt idx="3827">
                  <c:v>40030</c:v>
                </c:pt>
                <c:pt idx="3828">
                  <c:v>40031</c:v>
                </c:pt>
                <c:pt idx="3829">
                  <c:v>40032</c:v>
                </c:pt>
                <c:pt idx="3830">
                  <c:v>40035</c:v>
                </c:pt>
                <c:pt idx="3831">
                  <c:v>40036</c:v>
                </c:pt>
                <c:pt idx="3832">
                  <c:v>40037</c:v>
                </c:pt>
                <c:pt idx="3833">
                  <c:v>40038</c:v>
                </c:pt>
                <c:pt idx="3834">
                  <c:v>40039</c:v>
                </c:pt>
                <c:pt idx="3835">
                  <c:v>40042</c:v>
                </c:pt>
                <c:pt idx="3836">
                  <c:v>40043</c:v>
                </c:pt>
                <c:pt idx="3837">
                  <c:v>40044</c:v>
                </c:pt>
                <c:pt idx="3838">
                  <c:v>40045</c:v>
                </c:pt>
                <c:pt idx="3839">
                  <c:v>40046</c:v>
                </c:pt>
                <c:pt idx="3840">
                  <c:v>40049</c:v>
                </c:pt>
                <c:pt idx="3841">
                  <c:v>40050</c:v>
                </c:pt>
                <c:pt idx="3842">
                  <c:v>40051</c:v>
                </c:pt>
                <c:pt idx="3843">
                  <c:v>40052</c:v>
                </c:pt>
                <c:pt idx="3844">
                  <c:v>40053</c:v>
                </c:pt>
                <c:pt idx="3845">
                  <c:v>40056</c:v>
                </c:pt>
                <c:pt idx="3846">
                  <c:v>40057</c:v>
                </c:pt>
                <c:pt idx="3847">
                  <c:v>40058</c:v>
                </c:pt>
                <c:pt idx="3848">
                  <c:v>40059</c:v>
                </c:pt>
                <c:pt idx="3849">
                  <c:v>40060</c:v>
                </c:pt>
                <c:pt idx="3850">
                  <c:v>40063</c:v>
                </c:pt>
                <c:pt idx="3851">
                  <c:v>40064</c:v>
                </c:pt>
                <c:pt idx="3852">
                  <c:v>40065</c:v>
                </c:pt>
                <c:pt idx="3853">
                  <c:v>40066</c:v>
                </c:pt>
                <c:pt idx="3854">
                  <c:v>40067</c:v>
                </c:pt>
                <c:pt idx="3855">
                  <c:v>40070</c:v>
                </c:pt>
                <c:pt idx="3856">
                  <c:v>40071</c:v>
                </c:pt>
                <c:pt idx="3857">
                  <c:v>40072</c:v>
                </c:pt>
                <c:pt idx="3858">
                  <c:v>40073</c:v>
                </c:pt>
                <c:pt idx="3859">
                  <c:v>40074</c:v>
                </c:pt>
                <c:pt idx="3860">
                  <c:v>40077</c:v>
                </c:pt>
                <c:pt idx="3861">
                  <c:v>40078</c:v>
                </c:pt>
                <c:pt idx="3862">
                  <c:v>40079</c:v>
                </c:pt>
                <c:pt idx="3863">
                  <c:v>40080</c:v>
                </c:pt>
                <c:pt idx="3864">
                  <c:v>40081</c:v>
                </c:pt>
                <c:pt idx="3865">
                  <c:v>40084</c:v>
                </c:pt>
                <c:pt idx="3866">
                  <c:v>40085</c:v>
                </c:pt>
                <c:pt idx="3867">
                  <c:v>40086</c:v>
                </c:pt>
                <c:pt idx="3868">
                  <c:v>40087</c:v>
                </c:pt>
                <c:pt idx="3869">
                  <c:v>40088</c:v>
                </c:pt>
                <c:pt idx="3870">
                  <c:v>40091</c:v>
                </c:pt>
                <c:pt idx="3871">
                  <c:v>40092</c:v>
                </c:pt>
                <c:pt idx="3872">
                  <c:v>40093</c:v>
                </c:pt>
                <c:pt idx="3873">
                  <c:v>40094</c:v>
                </c:pt>
                <c:pt idx="3874">
                  <c:v>40095</c:v>
                </c:pt>
                <c:pt idx="3875">
                  <c:v>40098</c:v>
                </c:pt>
                <c:pt idx="3876">
                  <c:v>40099</c:v>
                </c:pt>
                <c:pt idx="3877">
                  <c:v>40100</c:v>
                </c:pt>
                <c:pt idx="3878">
                  <c:v>40101</c:v>
                </c:pt>
                <c:pt idx="3879">
                  <c:v>40102</c:v>
                </c:pt>
                <c:pt idx="3880">
                  <c:v>40105</c:v>
                </c:pt>
                <c:pt idx="3881">
                  <c:v>40106</c:v>
                </c:pt>
                <c:pt idx="3882">
                  <c:v>40107</c:v>
                </c:pt>
                <c:pt idx="3883">
                  <c:v>40108</c:v>
                </c:pt>
                <c:pt idx="3884">
                  <c:v>40109</c:v>
                </c:pt>
                <c:pt idx="3885">
                  <c:v>40112</c:v>
                </c:pt>
                <c:pt idx="3886">
                  <c:v>40113</c:v>
                </c:pt>
                <c:pt idx="3887">
                  <c:v>40114</c:v>
                </c:pt>
                <c:pt idx="3888">
                  <c:v>40115</c:v>
                </c:pt>
                <c:pt idx="3889">
                  <c:v>40116</c:v>
                </c:pt>
                <c:pt idx="3890">
                  <c:v>40119</c:v>
                </c:pt>
                <c:pt idx="3891">
                  <c:v>40120</c:v>
                </c:pt>
                <c:pt idx="3892">
                  <c:v>40121</c:v>
                </c:pt>
                <c:pt idx="3893">
                  <c:v>40122</c:v>
                </c:pt>
                <c:pt idx="3894">
                  <c:v>40123</c:v>
                </c:pt>
                <c:pt idx="3895">
                  <c:v>40126</c:v>
                </c:pt>
                <c:pt idx="3896">
                  <c:v>40127</c:v>
                </c:pt>
                <c:pt idx="3897">
                  <c:v>40128</c:v>
                </c:pt>
                <c:pt idx="3898">
                  <c:v>40129</c:v>
                </c:pt>
                <c:pt idx="3899">
                  <c:v>40130</c:v>
                </c:pt>
                <c:pt idx="3900">
                  <c:v>40133</c:v>
                </c:pt>
                <c:pt idx="3901">
                  <c:v>40134</c:v>
                </c:pt>
                <c:pt idx="3902">
                  <c:v>40135</c:v>
                </c:pt>
                <c:pt idx="3903">
                  <c:v>40136</c:v>
                </c:pt>
                <c:pt idx="3904">
                  <c:v>40137</c:v>
                </c:pt>
                <c:pt idx="3905">
                  <c:v>40140</c:v>
                </c:pt>
                <c:pt idx="3906">
                  <c:v>40141</c:v>
                </c:pt>
                <c:pt idx="3907">
                  <c:v>40142</c:v>
                </c:pt>
                <c:pt idx="3908">
                  <c:v>40143</c:v>
                </c:pt>
                <c:pt idx="3909">
                  <c:v>40144</c:v>
                </c:pt>
                <c:pt idx="3910">
                  <c:v>40147</c:v>
                </c:pt>
                <c:pt idx="3911">
                  <c:v>40148</c:v>
                </c:pt>
                <c:pt idx="3912">
                  <c:v>40149</c:v>
                </c:pt>
                <c:pt idx="3913">
                  <c:v>40150</c:v>
                </c:pt>
                <c:pt idx="3914">
                  <c:v>40151</c:v>
                </c:pt>
                <c:pt idx="3915">
                  <c:v>40154</c:v>
                </c:pt>
                <c:pt idx="3916">
                  <c:v>40155</c:v>
                </c:pt>
                <c:pt idx="3917">
                  <c:v>40156</c:v>
                </c:pt>
                <c:pt idx="3918">
                  <c:v>40157</c:v>
                </c:pt>
                <c:pt idx="3919">
                  <c:v>40158</c:v>
                </c:pt>
                <c:pt idx="3920">
                  <c:v>40161</c:v>
                </c:pt>
                <c:pt idx="3921">
                  <c:v>40162</c:v>
                </c:pt>
                <c:pt idx="3922">
                  <c:v>40163</c:v>
                </c:pt>
                <c:pt idx="3923">
                  <c:v>40164</c:v>
                </c:pt>
                <c:pt idx="3924">
                  <c:v>40165</c:v>
                </c:pt>
                <c:pt idx="3925">
                  <c:v>40168</c:v>
                </c:pt>
                <c:pt idx="3926">
                  <c:v>40169</c:v>
                </c:pt>
                <c:pt idx="3927">
                  <c:v>40170</c:v>
                </c:pt>
                <c:pt idx="3928">
                  <c:v>40171</c:v>
                </c:pt>
                <c:pt idx="3929">
                  <c:v>40175</c:v>
                </c:pt>
                <c:pt idx="3930">
                  <c:v>40176</c:v>
                </c:pt>
                <c:pt idx="3931">
                  <c:v>40177</c:v>
                </c:pt>
                <c:pt idx="3932">
                  <c:v>40178</c:v>
                </c:pt>
                <c:pt idx="3933">
                  <c:v>40182</c:v>
                </c:pt>
                <c:pt idx="3934">
                  <c:v>40183</c:v>
                </c:pt>
                <c:pt idx="3935">
                  <c:v>40184</c:v>
                </c:pt>
                <c:pt idx="3936">
                  <c:v>40185</c:v>
                </c:pt>
                <c:pt idx="3937">
                  <c:v>40186</c:v>
                </c:pt>
                <c:pt idx="3938">
                  <c:v>40189</c:v>
                </c:pt>
                <c:pt idx="3939">
                  <c:v>40190</c:v>
                </c:pt>
                <c:pt idx="3940">
                  <c:v>40191</c:v>
                </c:pt>
                <c:pt idx="3941">
                  <c:v>40192</c:v>
                </c:pt>
                <c:pt idx="3942">
                  <c:v>40193</c:v>
                </c:pt>
                <c:pt idx="3943">
                  <c:v>40196</c:v>
                </c:pt>
                <c:pt idx="3944">
                  <c:v>40197</c:v>
                </c:pt>
                <c:pt idx="3945">
                  <c:v>40198</c:v>
                </c:pt>
                <c:pt idx="3946">
                  <c:v>40199</c:v>
                </c:pt>
                <c:pt idx="3947">
                  <c:v>40200</c:v>
                </c:pt>
                <c:pt idx="3948">
                  <c:v>40203</c:v>
                </c:pt>
                <c:pt idx="3949">
                  <c:v>40204</c:v>
                </c:pt>
                <c:pt idx="3950">
                  <c:v>40205</c:v>
                </c:pt>
                <c:pt idx="3951">
                  <c:v>40206</c:v>
                </c:pt>
                <c:pt idx="3952">
                  <c:v>40207</c:v>
                </c:pt>
                <c:pt idx="3953">
                  <c:v>40210</c:v>
                </c:pt>
                <c:pt idx="3954">
                  <c:v>40211</c:v>
                </c:pt>
                <c:pt idx="3955">
                  <c:v>40212</c:v>
                </c:pt>
                <c:pt idx="3956">
                  <c:v>40213</c:v>
                </c:pt>
                <c:pt idx="3957">
                  <c:v>40214</c:v>
                </c:pt>
                <c:pt idx="3958">
                  <c:v>40217</c:v>
                </c:pt>
                <c:pt idx="3959">
                  <c:v>40218</c:v>
                </c:pt>
                <c:pt idx="3960">
                  <c:v>40219</c:v>
                </c:pt>
                <c:pt idx="3961">
                  <c:v>40220</c:v>
                </c:pt>
                <c:pt idx="3962">
                  <c:v>40221</c:v>
                </c:pt>
                <c:pt idx="3963">
                  <c:v>40224</c:v>
                </c:pt>
                <c:pt idx="3964">
                  <c:v>40225</c:v>
                </c:pt>
                <c:pt idx="3965">
                  <c:v>40226</c:v>
                </c:pt>
                <c:pt idx="3966">
                  <c:v>40227</c:v>
                </c:pt>
                <c:pt idx="3967">
                  <c:v>40228</c:v>
                </c:pt>
                <c:pt idx="3968">
                  <c:v>40231</c:v>
                </c:pt>
                <c:pt idx="3969">
                  <c:v>40232</c:v>
                </c:pt>
                <c:pt idx="3970">
                  <c:v>40233</c:v>
                </c:pt>
                <c:pt idx="3971">
                  <c:v>40234</c:v>
                </c:pt>
                <c:pt idx="3972">
                  <c:v>40235</c:v>
                </c:pt>
                <c:pt idx="3973">
                  <c:v>40238</c:v>
                </c:pt>
                <c:pt idx="3974">
                  <c:v>40239</c:v>
                </c:pt>
                <c:pt idx="3975">
                  <c:v>40240</c:v>
                </c:pt>
                <c:pt idx="3976">
                  <c:v>40241</c:v>
                </c:pt>
                <c:pt idx="3977">
                  <c:v>40242</c:v>
                </c:pt>
                <c:pt idx="3978">
                  <c:v>40245</c:v>
                </c:pt>
                <c:pt idx="3979">
                  <c:v>40246</c:v>
                </c:pt>
                <c:pt idx="3980">
                  <c:v>40247</c:v>
                </c:pt>
                <c:pt idx="3981">
                  <c:v>40248</c:v>
                </c:pt>
                <c:pt idx="3982">
                  <c:v>40249</c:v>
                </c:pt>
                <c:pt idx="3983">
                  <c:v>40252</c:v>
                </c:pt>
                <c:pt idx="3984">
                  <c:v>40253</c:v>
                </c:pt>
                <c:pt idx="3985">
                  <c:v>40254</c:v>
                </c:pt>
                <c:pt idx="3986">
                  <c:v>40255</c:v>
                </c:pt>
                <c:pt idx="3987">
                  <c:v>40256</c:v>
                </c:pt>
                <c:pt idx="3988">
                  <c:v>40259</c:v>
                </c:pt>
                <c:pt idx="3989">
                  <c:v>40260</c:v>
                </c:pt>
                <c:pt idx="3990">
                  <c:v>40261</c:v>
                </c:pt>
                <c:pt idx="3991">
                  <c:v>40262</c:v>
                </c:pt>
                <c:pt idx="3992">
                  <c:v>40263</c:v>
                </c:pt>
                <c:pt idx="3993">
                  <c:v>40266</c:v>
                </c:pt>
                <c:pt idx="3994">
                  <c:v>40267</c:v>
                </c:pt>
                <c:pt idx="3995">
                  <c:v>40268</c:v>
                </c:pt>
                <c:pt idx="3996">
                  <c:v>40269</c:v>
                </c:pt>
                <c:pt idx="3997">
                  <c:v>40274</c:v>
                </c:pt>
                <c:pt idx="3998">
                  <c:v>40275</c:v>
                </c:pt>
                <c:pt idx="3999">
                  <c:v>40276</c:v>
                </c:pt>
                <c:pt idx="4000">
                  <c:v>40277</c:v>
                </c:pt>
                <c:pt idx="4001">
                  <c:v>40280</c:v>
                </c:pt>
                <c:pt idx="4002">
                  <c:v>40281</c:v>
                </c:pt>
                <c:pt idx="4003">
                  <c:v>40282</c:v>
                </c:pt>
                <c:pt idx="4004">
                  <c:v>40283</c:v>
                </c:pt>
                <c:pt idx="4005">
                  <c:v>40284</c:v>
                </c:pt>
                <c:pt idx="4006">
                  <c:v>40287</c:v>
                </c:pt>
                <c:pt idx="4007">
                  <c:v>40288</c:v>
                </c:pt>
                <c:pt idx="4008">
                  <c:v>40289</c:v>
                </c:pt>
                <c:pt idx="4009">
                  <c:v>40290</c:v>
                </c:pt>
                <c:pt idx="4010">
                  <c:v>40291</c:v>
                </c:pt>
                <c:pt idx="4011">
                  <c:v>40294</c:v>
                </c:pt>
                <c:pt idx="4012">
                  <c:v>40295</c:v>
                </c:pt>
                <c:pt idx="4013">
                  <c:v>40296</c:v>
                </c:pt>
                <c:pt idx="4014">
                  <c:v>40297</c:v>
                </c:pt>
                <c:pt idx="4015">
                  <c:v>40298</c:v>
                </c:pt>
                <c:pt idx="4016">
                  <c:v>40301</c:v>
                </c:pt>
                <c:pt idx="4017">
                  <c:v>40302</c:v>
                </c:pt>
                <c:pt idx="4018">
                  <c:v>40303</c:v>
                </c:pt>
                <c:pt idx="4019">
                  <c:v>40304</c:v>
                </c:pt>
                <c:pt idx="4020">
                  <c:v>40305</c:v>
                </c:pt>
                <c:pt idx="4021">
                  <c:v>40308</c:v>
                </c:pt>
                <c:pt idx="4022">
                  <c:v>40309</c:v>
                </c:pt>
                <c:pt idx="4023">
                  <c:v>40310</c:v>
                </c:pt>
                <c:pt idx="4024">
                  <c:v>40311</c:v>
                </c:pt>
                <c:pt idx="4025">
                  <c:v>40312</c:v>
                </c:pt>
                <c:pt idx="4026">
                  <c:v>40315</c:v>
                </c:pt>
                <c:pt idx="4027">
                  <c:v>40316</c:v>
                </c:pt>
                <c:pt idx="4028">
                  <c:v>40317</c:v>
                </c:pt>
                <c:pt idx="4029">
                  <c:v>40318</c:v>
                </c:pt>
                <c:pt idx="4030">
                  <c:v>40319</c:v>
                </c:pt>
                <c:pt idx="4031">
                  <c:v>40322</c:v>
                </c:pt>
                <c:pt idx="4032">
                  <c:v>40323</c:v>
                </c:pt>
                <c:pt idx="4033">
                  <c:v>40324</c:v>
                </c:pt>
                <c:pt idx="4034">
                  <c:v>40325</c:v>
                </c:pt>
                <c:pt idx="4035">
                  <c:v>40326</c:v>
                </c:pt>
                <c:pt idx="4036">
                  <c:v>40329</c:v>
                </c:pt>
                <c:pt idx="4037">
                  <c:v>40330</c:v>
                </c:pt>
                <c:pt idx="4038">
                  <c:v>40331</c:v>
                </c:pt>
                <c:pt idx="4039">
                  <c:v>40332</c:v>
                </c:pt>
                <c:pt idx="4040">
                  <c:v>40333</c:v>
                </c:pt>
                <c:pt idx="4041">
                  <c:v>40336</c:v>
                </c:pt>
                <c:pt idx="4042">
                  <c:v>40337</c:v>
                </c:pt>
                <c:pt idx="4043">
                  <c:v>40338</c:v>
                </c:pt>
                <c:pt idx="4044">
                  <c:v>40339</c:v>
                </c:pt>
                <c:pt idx="4045">
                  <c:v>40340</c:v>
                </c:pt>
                <c:pt idx="4046">
                  <c:v>40343</c:v>
                </c:pt>
                <c:pt idx="4047">
                  <c:v>40344</c:v>
                </c:pt>
                <c:pt idx="4048">
                  <c:v>40345</c:v>
                </c:pt>
                <c:pt idx="4049">
                  <c:v>40346</c:v>
                </c:pt>
                <c:pt idx="4050">
                  <c:v>40347</c:v>
                </c:pt>
                <c:pt idx="4051">
                  <c:v>40350</c:v>
                </c:pt>
                <c:pt idx="4052">
                  <c:v>40351</c:v>
                </c:pt>
                <c:pt idx="4053">
                  <c:v>40352</c:v>
                </c:pt>
                <c:pt idx="4054">
                  <c:v>40353</c:v>
                </c:pt>
                <c:pt idx="4055">
                  <c:v>40354</c:v>
                </c:pt>
                <c:pt idx="4056">
                  <c:v>40357</c:v>
                </c:pt>
                <c:pt idx="4057">
                  <c:v>40358</c:v>
                </c:pt>
                <c:pt idx="4058">
                  <c:v>40359</c:v>
                </c:pt>
                <c:pt idx="4059">
                  <c:v>40360</c:v>
                </c:pt>
                <c:pt idx="4060">
                  <c:v>40361</c:v>
                </c:pt>
                <c:pt idx="4061">
                  <c:v>40364</c:v>
                </c:pt>
                <c:pt idx="4062">
                  <c:v>40365</c:v>
                </c:pt>
                <c:pt idx="4063">
                  <c:v>40366</c:v>
                </c:pt>
                <c:pt idx="4064">
                  <c:v>40367</c:v>
                </c:pt>
                <c:pt idx="4065">
                  <c:v>40368</c:v>
                </c:pt>
                <c:pt idx="4066">
                  <c:v>40371</c:v>
                </c:pt>
                <c:pt idx="4067">
                  <c:v>40372</c:v>
                </c:pt>
                <c:pt idx="4068">
                  <c:v>40373</c:v>
                </c:pt>
                <c:pt idx="4069">
                  <c:v>40374</c:v>
                </c:pt>
                <c:pt idx="4070">
                  <c:v>40375</c:v>
                </c:pt>
                <c:pt idx="4071">
                  <c:v>40378</c:v>
                </c:pt>
                <c:pt idx="4072">
                  <c:v>40379</c:v>
                </c:pt>
                <c:pt idx="4073">
                  <c:v>40380</c:v>
                </c:pt>
                <c:pt idx="4074">
                  <c:v>40381</c:v>
                </c:pt>
                <c:pt idx="4075">
                  <c:v>40382</c:v>
                </c:pt>
                <c:pt idx="4076">
                  <c:v>40385</c:v>
                </c:pt>
                <c:pt idx="4077">
                  <c:v>40386</c:v>
                </c:pt>
                <c:pt idx="4078">
                  <c:v>40387</c:v>
                </c:pt>
                <c:pt idx="4079">
                  <c:v>40388</c:v>
                </c:pt>
                <c:pt idx="4080">
                  <c:v>40389</c:v>
                </c:pt>
                <c:pt idx="4081">
                  <c:v>40392</c:v>
                </c:pt>
                <c:pt idx="4082">
                  <c:v>40393</c:v>
                </c:pt>
                <c:pt idx="4083">
                  <c:v>40394</c:v>
                </c:pt>
                <c:pt idx="4084">
                  <c:v>40395</c:v>
                </c:pt>
                <c:pt idx="4085">
                  <c:v>40396</c:v>
                </c:pt>
                <c:pt idx="4086">
                  <c:v>40399</c:v>
                </c:pt>
                <c:pt idx="4087">
                  <c:v>40400</c:v>
                </c:pt>
                <c:pt idx="4088">
                  <c:v>40401</c:v>
                </c:pt>
                <c:pt idx="4089">
                  <c:v>40402</c:v>
                </c:pt>
                <c:pt idx="4090">
                  <c:v>40403</c:v>
                </c:pt>
                <c:pt idx="4091">
                  <c:v>40406</c:v>
                </c:pt>
                <c:pt idx="4092">
                  <c:v>40407</c:v>
                </c:pt>
                <c:pt idx="4093">
                  <c:v>40408</c:v>
                </c:pt>
                <c:pt idx="4094">
                  <c:v>40409</c:v>
                </c:pt>
                <c:pt idx="4095">
                  <c:v>40410</c:v>
                </c:pt>
                <c:pt idx="4096">
                  <c:v>40413</c:v>
                </c:pt>
                <c:pt idx="4097">
                  <c:v>40414</c:v>
                </c:pt>
                <c:pt idx="4098">
                  <c:v>40415</c:v>
                </c:pt>
                <c:pt idx="4099">
                  <c:v>40416</c:v>
                </c:pt>
                <c:pt idx="4100">
                  <c:v>40417</c:v>
                </c:pt>
                <c:pt idx="4101">
                  <c:v>40420</c:v>
                </c:pt>
                <c:pt idx="4102">
                  <c:v>40421</c:v>
                </c:pt>
                <c:pt idx="4103">
                  <c:v>40422</c:v>
                </c:pt>
                <c:pt idx="4104">
                  <c:v>40423</c:v>
                </c:pt>
                <c:pt idx="4105">
                  <c:v>40424</c:v>
                </c:pt>
                <c:pt idx="4106">
                  <c:v>40427</c:v>
                </c:pt>
                <c:pt idx="4107">
                  <c:v>40428</c:v>
                </c:pt>
                <c:pt idx="4108">
                  <c:v>40429</c:v>
                </c:pt>
                <c:pt idx="4109">
                  <c:v>40430</c:v>
                </c:pt>
                <c:pt idx="4110">
                  <c:v>40431</c:v>
                </c:pt>
                <c:pt idx="4111">
                  <c:v>40434</c:v>
                </c:pt>
                <c:pt idx="4112">
                  <c:v>40435</c:v>
                </c:pt>
                <c:pt idx="4113">
                  <c:v>40436</c:v>
                </c:pt>
                <c:pt idx="4114">
                  <c:v>40437</c:v>
                </c:pt>
                <c:pt idx="4115">
                  <c:v>40438</c:v>
                </c:pt>
                <c:pt idx="4116">
                  <c:v>40441</c:v>
                </c:pt>
                <c:pt idx="4117">
                  <c:v>40442</c:v>
                </c:pt>
                <c:pt idx="4118">
                  <c:v>40443</c:v>
                </c:pt>
                <c:pt idx="4119">
                  <c:v>40444</c:v>
                </c:pt>
                <c:pt idx="4120">
                  <c:v>40445</c:v>
                </c:pt>
                <c:pt idx="4121">
                  <c:v>40448</c:v>
                </c:pt>
                <c:pt idx="4122">
                  <c:v>40449</c:v>
                </c:pt>
                <c:pt idx="4123">
                  <c:v>40450</c:v>
                </c:pt>
                <c:pt idx="4124">
                  <c:v>40451</c:v>
                </c:pt>
                <c:pt idx="4125">
                  <c:v>40452</c:v>
                </c:pt>
                <c:pt idx="4126">
                  <c:v>40455</c:v>
                </c:pt>
                <c:pt idx="4127">
                  <c:v>40456</c:v>
                </c:pt>
                <c:pt idx="4128">
                  <c:v>40457</c:v>
                </c:pt>
                <c:pt idx="4129">
                  <c:v>40458</c:v>
                </c:pt>
                <c:pt idx="4130">
                  <c:v>40459</c:v>
                </c:pt>
                <c:pt idx="4131">
                  <c:v>40462</c:v>
                </c:pt>
                <c:pt idx="4132">
                  <c:v>40463</c:v>
                </c:pt>
                <c:pt idx="4133">
                  <c:v>40464</c:v>
                </c:pt>
                <c:pt idx="4134">
                  <c:v>40465</c:v>
                </c:pt>
                <c:pt idx="4135">
                  <c:v>40466</c:v>
                </c:pt>
                <c:pt idx="4136">
                  <c:v>40469</c:v>
                </c:pt>
                <c:pt idx="4137">
                  <c:v>40470</c:v>
                </c:pt>
                <c:pt idx="4138">
                  <c:v>40471</c:v>
                </c:pt>
                <c:pt idx="4139">
                  <c:v>40472</c:v>
                </c:pt>
                <c:pt idx="4140">
                  <c:v>40473</c:v>
                </c:pt>
                <c:pt idx="4141">
                  <c:v>40476</c:v>
                </c:pt>
                <c:pt idx="4142">
                  <c:v>40477</c:v>
                </c:pt>
                <c:pt idx="4143">
                  <c:v>40478</c:v>
                </c:pt>
                <c:pt idx="4144">
                  <c:v>40479</c:v>
                </c:pt>
                <c:pt idx="4145">
                  <c:v>40480</c:v>
                </c:pt>
                <c:pt idx="4146">
                  <c:v>40483</c:v>
                </c:pt>
                <c:pt idx="4147">
                  <c:v>40484</c:v>
                </c:pt>
                <c:pt idx="4148">
                  <c:v>40485</c:v>
                </c:pt>
                <c:pt idx="4149">
                  <c:v>40486</c:v>
                </c:pt>
                <c:pt idx="4150">
                  <c:v>40487</c:v>
                </c:pt>
                <c:pt idx="4151">
                  <c:v>40490</c:v>
                </c:pt>
                <c:pt idx="4152">
                  <c:v>40491</c:v>
                </c:pt>
                <c:pt idx="4153">
                  <c:v>40492</c:v>
                </c:pt>
                <c:pt idx="4154">
                  <c:v>40493</c:v>
                </c:pt>
                <c:pt idx="4155">
                  <c:v>40494</c:v>
                </c:pt>
                <c:pt idx="4156">
                  <c:v>40497</c:v>
                </c:pt>
                <c:pt idx="4157">
                  <c:v>40498</c:v>
                </c:pt>
                <c:pt idx="4158">
                  <c:v>40499</c:v>
                </c:pt>
                <c:pt idx="4159">
                  <c:v>40500</c:v>
                </c:pt>
                <c:pt idx="4160">
                  <c:v>40501</c:v>
                </c:pt>
                <c:pt idx="4161">
                  <c:v>40504</c:v>
                </c:pt>
                <c:pt idx="4162">
                  <c:v>40505</c:v>
                </c:pt>
                <c:pt idx="4163">
                  <c:v>40506</c:v>
                </c:pt>
                <c:pt idx="4164">
                  <c:v>40507</c:v>
                </c:pt>
                <c:pt idx="4165">
                  <c:v>40508</c:v>
                </c:pt>
                <c:pt idx="4166">
                  <c:v>40511</c:v>
                </c:pt>
                <c:pt idx="4167">
                  <c:v>40512</c:v>
                </c:pt>
                <c:pt idx="4168">
                  <c:v>40513</c:v>
                </c:pt>
                <c:pt idx="4169">
                  <c:v>40514</c:v>
                </c:pt>
                <c:pt idx="4170">
                  <c:v>40515</c:v>
                </c:pt>
                <c:pt idx="4171">
                  <c:v>40518</c:v>
                </c:pt>
                <c:pt idx="4172">
                  <c:v>40519</c:v>
                </c:pt>
                <c:pt idx="4173">
                  <c:v>40520</c:v>
                </c:pt>
                <c:pt idx="4174">
                  <c:v>40521</c:v>
                </c:pt>
                <c:pt idx="4175">
                  <c:v>40522</c:v>
                </c:pt>
                <c:pt idx="4176">
                  <c:v>40525</c:v>
                </c:pt>
                <c:pt idx="4177">
                  <c:v>40526</c:v>
                </c:pt>
                <c:pt idx="4178">
                  <c:v>40527</c:v>
                </c:pt>
                <c:pt idx="4179">
                  <c:v>40528</c:v>
                </c:pt>
                <c:pt idx="4180">
                  <c:v>40529</c:v>
                </c:pt>
                <c:pt idx="4181">
                  <c:v>40532</c:v>
                </c:pt>
                <c:pt idx="4182">
                  <c:v>40533</c:v>
                </c:pt>
                <c:pt idx="4183">
                  <c:v>40534</c:v>
                </c:pt>
                <c:pt idx="4184">
                  <c:v>40535</c:v>
                </c:pt>
                <c:pt idx="4185">
                  <c:v>40536</c:v>
                </c:pt>
                <c:pt idx="4186">
                  <c:v>40539</c:v>
                </c:pt>
                <c:pt idx="4187">
                  <c:v>40540</c:v>
                </c:pt>
                <c:pt idx="4188">
                  <c:v>40541</c:v>
                </c:pt>
                <c:pt idx="4189">
                  <c:v>40542</c:v>
                </c:pt>
                <c:pt idx="4190">
                  <c:v>40543</c:v>
                </c:pt>
                <c:pt idx="4191">
                  <c:v>40546</c:v>
                </c:pt>
                <c:pt idx="4192">
                  <c:v>40547</c:v>
                </c:pt>
                <c:pt idx="4193">
                  <c:v>40548</c:v>
                </c:pt>
                <c:pt idx="4194">
                  <c:v>40549</c:v>
                </c:pt>
                <c:pt idx="4195">
                  <c:v>40550</c:v>
                </c:pt>
                <c:pt idx="4196">
                  <c:v>40553</c:v>
                </c:pt>
                <c:pt idx="4197">
                  <c:v>40554</c:v>
                </c:pt>
                <c:pt idx="4198">
                  <c:v>40555</c:v>
                </c:pt>
                <c:pt idx="4199">
                  <c:v>40556</c:v>
                </c:pt>
                <c:pt idx="4200">
                  <c:v>40557</c:v>
                </c:pt>
                <c:pt idx="4201">
                  <c:v>40560</c:v>
                </c:pt>
                <c:pt idx="4202">
                  <c:v>40561</c:v>
                </c:pt>
                <c:pt idx="4203">
                  <c:v>40562</c:v>
                </c:pt>
                <c:pt idx="4204">
                  <c:v>40563</c:v>
                </c:pt>
                <c:pt idx="4205">
                  <c:v>40564</c:v>
                </c:pt>
                <c:pt idx="4206">
                  <c:v>40567</c:v>
                </c:pt>
                <c:pt idx="4207">
                  <c:v>40568</c:v>
                </c:pt>
                <c:pt idx="4208">
                  <c:v>40569</c:v>
                </c:pt>
                <c:pt idx="4209">
                  <c:v>40570</c:v>
                </c:pt>
                <c:pt idx="4210">
                  <c:v>40571</c:v>
                </c:pt>
                <c:pt idx="4211">
                  <c:v>40574</c:v>
                </c:pt>
                <c:pt idx="4212">
                  <c:v>40575</c:v>
                </c:pt>
                <c:pt idx="4213">
                  <c:v>40576</c:v>
                </c:pt>
                <c:pt idx="4214">
                  <c:v>40577</c:v>
                </c:pt>
                <c:pt idx="4215">
                  <c:v>40578</c:v>
                </c:pt>
                <c:pt idx="4216">
                  <c:v>40581</c:v>
                </c:pt>
                <c:pt idx="4217">
                  <c:v>40582</c:v>
                </c:pt>
                <c:pt idx="4218">
                  <c:v>40583</c:v>
                </c:pt>
                <c:pt idx="4219">
                  <c:v>40584</c:v>
                </c:pt>
                <c:pt idx="4220">
                  <c:v>40585</c:v>
                </c:pt>
                <c:pt idx="4221">
                  <c:v>40588</c:v>
                </c:pt>
                <c:pt idx="4222">
                  <c:v>40589</c:v>
                </c:pt>
                <c:pt idx="4223">
                  <c:v>40590</c:v>
                </c:pt>
                <c:pt idx="4224">
                  <c:v>40591</c:v>
                </c:pt>
                <c:pt idx="4225">
                  <c:v>40592</c:v>
                </c:pt>
                <c:pt idx="4226">
                  <c:v>40595</c:v>
                </c:pt>
                <c:pt idx="4227">
                  <c:v>40596</c:v>
                </c:pt>
                <c:pt idx="4228">
                  <c:v>40597</c:v>
                </c:pt>
                <c:pt idx="4229">
                  <c:v>40598</c:v>
                </c:pt>
                <c:pt idx="4230">
                  <c:v>40599</c:v>
                </c:pt>
                <c:pt idx="4231">
                  <c:v>40602</c:v>
                </c:pt>
                <c:pt idx="4232">
                  <c:v>40603</c:v>
                </c:pt>
                <c:pt idx="4233">
                  <c:v>40604</c:v>
                </c:pt>
                <c:pt idx="4234">
                  <c:v>40605</c:v>
                </c:pt>
                <c:pt idx="4235">
                  <c:v>40606</c:v>
                </c:pt>
                <c:pt idx="4236">
                  <c:v>40609</c:v>
                </c:pt>
                <c:pt idx="4237">
                  <c:v>40610</c:v>
                </c:pt>
                <c:pt idx="4238">
                  <c:v>40611</c:v>
                </c:pt>
                <c:pt idx="4239">
                  <c:v>40612</c:v>
                </c:pt>
                <c:pt idx="4240">
                  <c:v>40613</c:v>
                </c:pt>
                <c:pt idx="4241">
                  <c:v>40616</c:v>
                </c:pt>
                <c:pt idx="4242">
                  <c:v>40617</c:v>
                </c:pt>
                <c:pt idx="4243">
                  <c:v>40618</c:v>
                </c:pt>
                <c:pt idx="4244">
                  <c:v>40619</c:v>
                </c:pt>
                <c:pt idx="4245">
                  <c:v>40620</c:v>
                </c:pt>
                <c:pt idx="4246">
                  <c:v>40623</c:v>
                </c:pt>
                <c:pt idx="4247">
                  <c:v>40624</c:v>
                </c:pt>
                <c:pt idx="4248">
                  <c:v>40625</c:v>
                </c:pt>
                <c:pt idx="4249">
                  <c:v>40626</c:v>
                </c:pt>
                <c:pt idx="4250">
                  <c:v>40627</c:v>
                </c:pt>
                <c:pt idx="4251">
                  <c:v>40630</c:v>
                </c:pt>
                <c:pt idx="4252">
                  <c:v>40631</c:v>
                </c:pt>
                <c:pt idx="4253">
                  <c:v>40632</c:v>
                </c:pt>
                <c:pt idx="4254">
                  <c:v>40633</c:v>
                </c:pt>
                <c:pt idx="4255">
                  <c:v>40634</c:v>
                </c:pt>
                <c:pt idx="4256">
                  <c:v>40637</c:v>
                </c:pt>
                <c:pt idx="4257">
                  <c:v>40638</c:v>
                </c:pt>
                <c:pt idx="4258">
                  <c:v>40639</c:v>
                </c:pt>
                <c:pt idx="4259">
                  <c:v>40640</c:v>
                </c:pt>
                <c:pt idx="4260">
                  <c:v>40641</c:v>
                </c:pt>
                <c:pt idx="4261">
                  <c:v>40644</c:v>
                </c:pt>
                <c:pt idx="4262">
                  <c:v>40645</c:v>
                </c:pt>
                <c:pt idx="4263">
                  <c:v>40646</c:v>
                </c:pt>
                <c:pt idx="4264">
                  <c:v>40647</c:v>
                </c:pt>
                <c:pt idx="4265">
                  <c:v>40648</c:v>
                </c:pt>
                <c:pt idx="4266">
                  <c:v>40651</c:v>
                </c:pt>
                <c:pt idx="4267">
                  <c:v>40652</c:v>
                </c:pt>
                <c:pt idx="4268">
                  <c:v>40653</c:v>
                </c:pt>
                <c:pt idx="4269">
                  <c:v>40654</c:v>
                </c:pt>
                <c:pt idx="4270">
                  <c:v>40659</c:v>
                </c:pt>
                <c:pt idx="4271">
                  <c:v>40660</c:v>
                </c:pt>
                <c:pt idx="4272">
                  <c:v>40661</c:v>
                </c:pt>
                <c:pt idx="4273">
                  <c:v>40662</c:v>
                </c:pt>
                <c:pt idx="4274">
                  <c:v>40665</c:v>
                </c:pt>
                <c:pt idx="4275">
                  <c:v>40666</c:v>
                </c:pt>
                <c:pt idx="4276">
                  <c:v>40667</c:v>
                </c:pt>
                <c:pt idx="4277">
                  <c:v>40668</c:v>
                </c:pt>
                <c:pt idx="4278">
                  <c:v>40669</c:v>
                </c:pt>
                <c:pt idx="4279">
                  <c:v>40672</c:v>
                </c:pt>
                <c:pt idx="4280">
                  <c:v>40673</c:v>
                </c:pt>
                <c:pt idx="4281">
                  <c:v>40674</c:v>
                </c:pt>
                <c:pt idx="4282">
                  <c:v>40675</c:v>
                </c:pt>
                <c:pt idx="4283">
                  <c:v>40676</c:v>
                </c:pt>
                <c:pt idx="4284">
                  <c:v>40679</c:v>
                </c:pt>
                <c:pt idx="4285">
                  <c:v>40680</c:v>
                </c:pt>
                <c:pt idx="4286">
                  <c:v>40681</c:v>
                </c:pt>
                <c:pt idx="4287">
                  <c:v>40682</c:v>
                </c:pt>
                <c:pt idx="4288">
                  <c:v>40683</c:v>
                </c:pt>
                <c:pt idx="4289">
                  <c:v>40686</c:v>
                </c:pt>
                <c:pt idx="4290">
                  <c:v>40687</c:v>
                </c:pt>
                <c:pt idx="4291">
                  <c:v>40688</c:v>
                </c:pt>
                <c:pt idx="4292">
                  <c:v>40689</c:v>
                </c:pt>
                <c:pt idx="4293">
                  <c:v>40690</c:v>
                </c:pt>
                <c:pt idx="4294">
                  <c:v>40693</c:v>
                </c:pt>
                <c:pt idx="4295">
                  <c:v>40694</c:v>
                </c:pt>
                <c:pt idx="4296">
                  <c:v>40695</c:v>
                </c:pt>
                <c:pt idx="4297">
                  <c:v>40696</c:v>
                </c:pt>
                <c:pt idx="4298">
                  <c:v>40697</c:v>
                </c:pt>
                <c:pt idx="4299">
                  <c:v>40700</c:v>
                </c:pt>
                <c:pt idx="4300">
                  <c:v>40701</c:v>
                </c:pt>
                <c:pt idx="4301">
                  <c:v>40702</c:v>
                </c:pt>
                <c:pt idx="4302">
                  <c:v>40703</c:v>
                </c:pt>
                <c:pt idx="4303">
                  <c:v>40704</c:v>
                </c:pt>
                <c:pt idx="4304">
                  <c:v>40707</c:v>
                </c:pt>
                <c:pt idx="4305">
                  <c:v>40708</c:v>
                </c:pt>
                <c:pt idx="4306">
                  <c:v>40709</c:v>
                </c:pt>
                <c:pt idx="4307">
                  <c:v>40710</c:v>
                </c:pt>
                <c:pt idx="4308">
                  <c:v>40711</c:v>
                </c:pt>
                <c:pt idx="4309">
                  <c:v>40714</c:v>
                </c:pt>
                <c:pt idx="4310">
                  <c:v>40715</c:v>
                </c:pt>
                <c:pt idx="4311">
                  <c:v>40716</c:v>
                </c:pt>
                <c:pt idx="4312">
                  <c:v>40717</c:v>
                </c:pt>
                <c:pt idx="4313">
                  <c:v>40718</c:v>
                </c:pt>
                <c:pt idx="4314">
                  <c:v>40721</c:v>
                </c:pt>
                <c:pt idx="4315">
                  <c:v>40722</c:v>
                </c:pt>
                <c:pt idx="4316">
                  <c:v>40723</c:v>
                </c:pt>
                <c:pt idx="4317">
                  <c:v>40724</c:v>
                </c:pt>
                <c:pt idx="4318">
                  <c:v>40725</c:v>
                </c:pt>
                <c:pt idx="4319">
                  <c:v>40728</c:v>
                </c:pt>
                <c:pt idx="4320">
                  <c:v>40729</c:v>
                </c:pt>
                <c:pt idx="4321">
                  <c:v>40730</c:v>
                </c:pt>
                <c:pt idx="4322">
                  <c:v>40731</c:v>
                </c:pt>
                <c:pt idx="4323">
                  <c:v>40732</c:v>
                </c:pt>
                <c:pt idx="4324">
                  <c:v>40735</c:v>
                </c:pt>
                <c:pt idx="4325">
                  <c:v>40736</c:v>
                </c:pt>
                <c:pt idx="4326">
                  <c:v>40737</c:v>
                </c:pt>
                <c:pt idx="4327">
                  <c:v>40738</c:v>
                </c:pt>
                <c:pt idx="4328">
                  <c:v>40739</c:v>
                </c:pt>
                <c:pt idx="4329">
                  <c:v>40742</c:v>
                </c:pt>
                <c:pt idx="4330">
                  <c:v>40743</c:v>
                </c:pt>
                <c:pt idx="4331">
                  <c:v>40744</c:v>
                </c:pt>
                <c:pt idx="4332">
                  <c:v>40745</c:v>
                </c:pt>
                <c:pt idx="4333">
                  <c:v>40746</c:v>
                </c:pt>
                <c:pt idx="4334">
                  <c:v>40749</c:v>
                </c:pt>
                <c:pt idx="4335">
                  <c:v>40750</c:v>
                </c:pt>
                <c:pt idx="4336">
                  <c:v>40751</c:v>
                </c:pt>
                <c:pt idx="4337">
                  <c:v>40752</c:v>
                </c:pt>
                <c:pt idx="4338">
                  <c:v>40753</c:v>
                </c:pt>
                <c:pt idx="4339">
                  <c:v>40756</c:v>
                </c:pt>
                <c:pt idx="4340">
                  <c:v>40757</c:v>
                </c:pt>
                <c:pt idx="4341">
                  <c:v>40758</c:v>
                </c:pt>
                <c:pt idx="4342">
                  <c:v>40759</c:v>
                </c:pt>
                <c:pt idx="4343">
                  <c:v>40760</c:v>
                </c:pt>
                <c:pt idx="4344">
                  <c:v>40763</c:v>
                </c:pt>
                <c:pt idx="4345">
                  <c:v>40764</c:v>
                </c:pt>
                <c:pt idx="4346">
                  <c:v>40765</c:v>
                </c:pt>
                <c:pt idx="4347">
                  <c:v>40766</c:v>
                </c:pt>
                <c:pt idx="4348">
                  <c:v>40767</c:v>
                </c:pt>
                <c:pt idx="4349">
                  <c:v>40770</c:v>
                </c:pt>
                <c:pt idx="4350">
                  <c:v>40771</c:v>
                </c:pt>
                <c:pt idx="4351">
                  <c:v>40772</c:v>
                </c:pt>
                <c:pt idx="4352">
                  <c:v>40773</c:v>
                </c:pt>
                <c:pt idx="4353">
                  <c:v>40774</c:v>
                </c:pt>
                <c:pt idx="4354">
                  <c:v>40777</c:v>
                </c:pt>
                <c:pt idx="4355">
                  <c:v>40778</c:v>
                </c:pt>
                <c:pt idx="4356">
                  <c:v>40779</c:v>
                </c:pt>
                <c:pt idx="4357">
                  <c:v>40780</c:v>
                </c:pt>
                <c:pt idx="4358">
                  <c:v>40781</c:v>
                </c:pt>
                <c:pt idx="4359">
                  <c:v>40784</c:v>
                </c:pt>
                <c:pt idx="4360">
                  <c:v>40785</c:v>
                </c:pt>
                <c:pt idx="4361">
                  <c:v>40786</c:v>
                </c:pt>
                <c:pt idx="4362">
                  <c:v>40787</c:v>
                </c:pt>
                <c:pt idx="4363">
                  <c:v>40788</c:v>
                </c:pt>
                <c:pt idx="4364">
                  <c:v>40791</c:v>
                </c:pt>
                <c:pt idx="4365">
                  <c:v>40792</c:v>
                </c:pt>
                <c:pt idx="4366">
                  <c:v>40793</c:v>
                </c:pt>
                <c:pt idx="4367">
                  <c:v>40794</c:v>
                </c:pt>
                <c:pt idx="4368">
                  <c:v>40795</c:v>
                </c:pt>
                <c:pt idx="4369">
                  <c:v>40798</c:v>
                </c:pt>
                <c:pt idx="4370">
                  <c:v>40799</c:v>
                </c:pt>
                <c:pt idx="4371">
                  <c:v>40800</c:v>
                </c:pt>
                <c:pt idx="4372">
                  <c:v>40801</c:v>
                </c:pt>
                <c:pt idx="4373">
                  <c:v>40802</c:v>
                </c:pt>
                <c:pt idx="4374">
                  <c:v>40805</c:v>
                </c:pt>
                <c:pt idx="4375">
                  <c:v>40806</c:v>
                </c:pt>
                <c:pt idx="4376">
                  <c:v>40807</c:v>
                </c:pt>
                <c:pt idx="4377">
                  <c:v>40808</c:v>
                </c:pt>
                <c:pt idx="4378">
                  <c:v>40809</c:v>
                </c:pt>
                <c:pt idx="4379">
                  <c:v>40812</c:v>
                </c:pt>
                <c:pt idx="4380">
                  <c:v>40813</c:v>
                </c:pt>
                <c:pt idx="4381">
                  <c:v>40814</c:v>
                </c:pt>
                <c:pt idx="4382">
                  <c:v>40815</c:v>
                </c:pt>
                <c:pt idx="4383">
                  <c:v>40816</c:v>
                </c:pt>
                <c:pt idx="4384">
                  <c:v>40819</c:v>
                </c:pt>
                <c:pt idx="4385">
                  <c:v>40820</c:v>
                </c:pt>
                <c:pt idx="4386">
                  <c:v>40821</c:v>
                </c:pt>
                <c:pt idx="4387">
                  <c:v>40822</c:v>
                </c:pt>
                <c:pt idx="4388">
                  <c:v>40823</c:v>
                </c:pt>
                <c:pt idx="4389">
                  <c:v>40826</c:v>
                </c:pt>
                <c:pt idx="4390">
                  <c:v>40827</c:v>
                </c:pt>
                <c:pt idx="4391">
                  <c:v>40828</c:v>
                </c:pt>
                <c:pt idx="4392">
                  <c:v>40829</c:v>
                </c:pt>
                <c:pt idx="4393">
                  <c:v>40830</c:v>
                </c:pt>
                <c:pt idx="4394">
                  <c:v>40833</c:v>
                </c:pt>
                <c:pt idx="4395">
                  <c:v>40834</c:v>
                </c:pt>
                <c:pt idx="4396">
                  <c:v>40835</c:v>
                </c:pt>
                <c:pt idx="4397">
                  <c:v>40836</c:v>
                </c:pt>
                <c:pt idx="4398">
                  <c:v>40837</c:v>
                </c:pt>
                <c:pt idx="4399">
                  <c:v>40840</c:v>
                </c:pt>
                <c:pt idx="4400">
                  <c:v>40841</c:v>
                </c:pt>
                <c:pt idx="4401">
                  <c:v>40842</c:v>
                </c:pt>
                <c:pt idx="4402">
                  <c:v>40843</c:v>
                </c:pt>
                <c:pt idx="4403">
                  <c:v>40844</c:v>
                </c:pt>
                <c:pt idx="4404">
                  <c:v>40847</c:v>
                </c:pt>
                <c:pt idx="4405">
                  <c:v>40848</c:v>
                </c:pt>
                <c:pt idx="4406">
                  <c:v>40849</c:v>
                </c:pt>
                <c:pt idx="4407">
                  <c:v>40850</c:v>
                </c:pt>
                <c:pt idx="4408">
                  <c:v>40851</c:v>
                </c:pt>
                <c:pt idx="4409">
                  <c:v>40854</c:v>
                </c:pt>
                <c:pt idx="4410">
                  <c:v>40855</c:v>
                </c:pt>
                <c:pt idx="4411">
                  <c:v>40856</c:v>
                </c:pt>
                <c:pt idx="4412">
                  <c:v>40857</c:v>
                </c:pt>
                <c:pt idx="4413">
                  <c:v>40858</c:v>
                </c:pt>
                <c:pt idx="4414">
                  <c:v>40861</c:v>
                </c:pt>
                <c:pt idx="4415">
                  <c:v>40862</c:v>
                </c:pt>
                <c:pt idx="4416">
                  <c:v>40863</c:v>
                </c:pt>
                <c:pt idx="4417">
                  <c:v>40864</c:v>
                </c:pt>
                <c:pt idx="4418">
                  <c:v>40865</c:v>
                </c:pt>
                <c:pt idx="4419">
                  <c:v>40868</c:v>
                </c:pt>
                <c:pt idx="4420">
                  <c:v>40869</c:v>
                </c:pt>
                <c:pt idx="4421">
                  <c:v>40870</c:v>
                </c:pt>
                <c:pt idx="4422">
                  <c:v>40871</c:v>
                </c:pt>
                <c:pt idx="4423">
                  <c:v>40872</c:v>
                </c:pt>
                <c:pt idx="4424">
                  <c:v>40875</c:v>
                </c:pt>
                <c:pt idx="4425">
                  <c:v>40876</c:v>
                </c:pt>
                <c:pt idx="4426">
                  <c:v>40877</c:v>
                </c:pt>
                <c:pt idx="4427">
                  <c:v>40878</c:v>
                </c:pt>
                <c:pt idx="4428">
                  <c:v>40879</c:v>
                </c:pt>
                <c:pt idx="4429">
                  <c:v>40882</c:v>
                </c:pt>
                <c:pt idx="4430">
                  <c:v>40883</c:v>
                </c:pt>
                <c:pt idx="4431">
                  <c:v>40884</c:v>
                </c:pt>
                <c:pt idx="4432">
                  <c:v>40885</c:v>
                </c:pt>
                <c:pt idx="4433">
                  <c:v>40886</c:v>
                </c:pt>
                <c:pt idx="4434">
                  <c:v>40889</c:v>
                </c:pt>
                <c:pt idx="4435">
                  <c:v>40890</c:v>
                </c:pt>
                <c:pt idx="4436">
                  <c:v>40891</c:v>
                </c:pt>
                <c:pt idx="4437">
                  <c:v>40892</c:v>
                </c:pt>
                <c:pt idx="4438">
                  <c:v>40893</c:v>
                </c:pt>
                <c:pt idx="4439">
                  <c:v>40896</c:v>
                </c:pt>
                <c:pt idx="4440">
                  <c:v>40897</c:v>
                </c:pt>
                <c:pt idx="4441">
                  <c:v>40898</c:v>
                </c:pt>
                <c:pt idx="4442">
                  <c:v>40899</c:v>
                </c:pt>
                <c:pt idx="4443">
                  <c:v>40900</c:v>
                </c:pt>
                <c:pt idx="4444">
                  <c:v>40904</c:v>
                </c:pt>
                <c:pt idx="4445">
                  <c:v>40905</c:v>
                </c:pt>
                <c:pt idx="4446">
                  <c:v>40906</c:v>
                </c:pt>
                <c:pt idx="4447">
                  <c:v>40907</c:v>
                </c:pt>
                <c:pt idx="4448">
                  <c:v>40910</c:v>
                </c:pt>
                <c:pt idx="4449">
                  <c:v>40911</c:v>
                </c:pt>
                <c:pt idx="4450">
                  <c:v>40912</c:v>
                </c:pt>
                <c:pt idx="4451">
                  <c:v>40913</c:v>
                </c:pt>
                <c:pt idx="4452">
                  <c:v>40914</c:v>
                </c:pt>
                <c:pt idx="4453">
                  <c:v>40917</c:v>
                </c:pt>
                <c:pt idx="4454">
                  <c:v>40918</c:v>
                </c:pt>
                <c:pt idx="4455">
                  <c:v>40919</c:v>
                </c:pt>
                <c:pt idx="4456">
                  <c:v>40920</c:v>
                </c:pt>
                <c:pt idx="4457">
                  <c:v>40921</c:v>
                </c:pt>
                <c:pt idx="4458">
                  <c:v>40924</c:v>
                </c:pt>
                <c:pt idx="4459">
                  <c:v>40925</c:v>
                </c:pt>
                <c:pt idx="4460">
                  <c:v>40926</c:v>
                </c:pt>
                <c:pt idx="4461">
                  <c:v>40927</c:v>
                </c:pt>
                <c:pt idx="4462">
                  <c:v>40928</c:v>
                </c:pt>
                <c:pt idx="4463">
                  <c:v>40931</c:v>
                </c:pt>
                <c:pt idx="4464">
                  <c:v>40932</c:v>
                </c:pt>
                <c:pt idx="4465">
                  <c:v>40933</c:v>
                </c:pt>
                <c:pt idx="4466">
                  <c:v>40934</c:v>
                </c:pt>
                <c:pt idx="4467">
                  <c:v>40935</c:v>
                </c:pt>
                <c:pt idx="4468">
                  <c:v>40938</c:v>
                </c:pt>
                <c:pt idx="4469">
                  <c:v>40939</c:v>
                </c:pt>
                <c:pt idx="4470">
                  <c:v>40940</c:v>
                </c:pt>
                <c:pt idx="4471">
                  <c:v>40941</c:v>
                </c:pt>
                <c:pt idx="4472">
                  <c:v>40942</c:v>
                </c:pt>
                <c:pt idx="4473">
                  <c:v>40945</c:v>
                </c:pt>
                <c:pt idx="4474">
                  <c:v>40946</c:v>
                </c:pt>
                <c:pt idx="4475">
                  <c:v>40947</c:v>
                </c:pt>
                <c:pt idx="4476">
                  <c:v>40948</c:v>
                </c:pt>
                <c:pt idx="4477">
                  <c:v>40949</c:v>
                </c:pt>
                <c:pt idx="4478">
                  <c:v>40952</c:v>
                </c:pt>
                <c:pt idx="4479">
                  <c:v>40953</c:v>
                </c:pt>
                <c:pt idx="4480">
                  <c:v>40954</c:v>
                </c:pt>
                <c:pt idx="4481">
                  <c:v>40955</c:v>
                </c:pt>
                <c:pt idx="4482">
                  <c:v>40956</c:v>
                </c:pt>
                <c:pt idx="4483">
                  <c:v>40959</c:v>
                </c:pt>
                <c:pt idx="4484">
                  <c:v>40960</c:v>
                </c:pt>
                <c:pt idx="4485">
                  <c:v>40961</c:v>
                </c:pt>
                <c:pt idx="4486">
                  <c:v>40962</c:v>
                </c:pt>
                <c:pt idx="4487">
                  <c:v>40963</c:v>
                </c:pt>
                <c:pt idx="4488">
                  <c:v>40966</c:v>
                </c:pt>
                <c:pt idx="4489">
                  <c:v>40967</c:v>
                </c:pt>
                <c:pt idx="4490">
                  <c:v>40968</c:v>
                </c:pt>
                <c:pt idx="4491">
                  <c:v>40969</c:v>
                </c:pt>
                <c:pt idx="4492">
                  <c:v>40970</c:v>
                </c:pt>
                <c:pt idx="4493">
                  <c:v>40973</c:v>
                </c:pt>
                <c:pt idx="4494">
                  <c:v>40974</c:v>
                </c:pt>
                <c:pt idx="4495">
                  <c:v>40975</c:v>
                </c:pt>
                <c:pt idx="4496">
                  <c:v>40976</c:v>
                </c:pt>
                <c:pt idx="4497">
                  <c:v>40977</c:v>
                </c:pt>
                <c:pt idx="4498">
                  <c:v>40980</c:v>
                </c:pt>
                <c:pt idx="4499">
                  <c:v>40981</c:v>
                </c:pt>
                <c:pt idx="4500">
                  <c:v>40982</c:v>
                </c:pt>
                <c:pt idx="4501">
                  <c:v>40983</c:v>
                </c:pt>
                <c:pt idx="4502">
                  <c:v>40984</c:v>
                </c:pt>
                <c:pt idx="4503">
                  <c:v>40987</c:v>
                </c:pt>
                <c:pt idx="4504">
                  <c:v>40988</c:v>
                </c:pt>
                <c:pt idx="4505">
                  <c:v>40989</c:v>
                </c:pt>
                <c:pt idx="4506">
                  <c:v>40990</c:v>
                </c:pt>
                <c:pt idx="4507">
                  <c:v>40991</c:v>
                </c:pt>
                <c:pt idx="4508">
                  <c:v>40994</c:v>
                </c:pt>
                <c:pt idx="4509">
                  <c:v>40995</c:v>
                </c:pt>
                <c:pt idx="4510">
                  <c:v>40996</c:v>
                </c:pt>
                <c:pt idx="4511">
                  <c:v>40997</c:v>
                </c:pt>
                <c:pt idx="4512">
                  <c:v>40998</c:v>
                </c:pt>
                <c:pt idx="4513">
                  <c:v>41001</c:v>
                </c:pt>
                <c:pt idx="4514">
                  <c:v>41002</c:v>
                </c:pt>
                <c:pt idx="4515">
                  <c:v>41003</c:v>
                </c:pt>
                <c:pt idx="4516">
                  <c:v>41004</c:v>
                </c:pt>
                <c:pt idx="4517">
                  <c:v>41009</c:v>
                </c:pt>
                <c:pt idx="4518">
                  <c:v>41010</c:v>
                </c:pt>
                <c:pt idx="4519">
                  <c:v>41011</c:v>
                </c:pt>
                <c:pt idx="4520">
                  <c:v>41012</c:v>
                </c:pt>
                <c:pt idx="4521">
                  <c:v>41015</c:v>
                </c:pt>
                <c:pt idx="4522">
                  <c:v>41016</c:v>
                </c:pt>
                <c:pt idx="4523">
                  <c:v>41017</c:v>
                </c:pt>
                <c:pt idx="4524">
                  <c:v>41018</c:v>
                </c:pt>
                <c:pt idx="4525">
                  <c:v>41019</c:v>
                </c:pt>
                <c:pt idx="4526">
                  <c:v>41022</c:v>
                </c:pt>
                <c:pt idx="4527">
                  <c:v>41023</c:v>
                </c:pt>
                <c:pt idx="4528">
                  <c:v>41024</c:v>
                </c:pt>
                <c:pt idx="4529">
                  <c:v>41025</c:v>
                </c:pt>
                <c:pt idx="4530">
                  <c:v>41026</c:v>
                </c:pt>
                <c:pt idx="4531">
                  <c:v>41029</c:v>
                </c:pt>
                <c:pt idx="4532">
                  <c:v>41031</c:v>
                </c:pt>
                <c:pt idx="4533">
                  <c:v>41032</c:v>
                </c:pt>
                <c:pt idx="4534">
                  <c:v>41033</c:v>
                </c:pt>
                <c:pt idx="4535">
                  <c:v>41036</c:v>
                </c:pt>
                <c:pt idx="4536">
                  <c:v>41037</c:v>
                </c:pt>
                <c:pt idx="4537">
                  <c:v>41038</c:v>
                </c:pt>
                <c:pt idx="4538">
                  <c:v>41039</c:v>
                </c:pt>
                <c:pt idx="4539">
                  <c:v>41040</c:v>
                </c:pt>
                <c:pt idx="4540">
                  <c:v>41043</c:v>
                </c:pt>
                <c:pt idx="4541">
                  <c:v>41044</c:v>
                </c:pt>
                <c:pt idx="4542">
                  <c:v>41045</c:v>
                </c:pt>
                <c:pt idx="4543">
                  <c:v>41046</c:v>
                </c:pt>
                <c:pt idx="4544">
                  <c:v>41047</c:v>
                </c:pt>
                <c:pt idx="4545">
                  <c:v>41050</c:v>
                </c:pt>
                <c:pt idx="4546">
                  <c:v>41051</c:v>
                </c:pt>
                <c:pt idx="4547">
                  <c:v>41052</c:v>
                </c:pt>
                <c:pt idx="4548">
                  <c:v>41053</c:v>
                </c:pt>
                <c:pt idx="4549">
                  <c:v>41054</c:v>
                </c:pt>
                <c:pt idx="4550">
                  <c:v>41057</c:v>
                </c:pt>
                <c:pt idx="4551">
                  <c:v>41058</c:v>
                </c:pt>
                <c:pt idx="4552">
                  <c:v>41059</c:v>
                </c:pt>
                <c:pt idx="4553">
                  <c:v>41060</c:v>
                </c:pt>
                <c:pt idx="4554">
                  <c:v>41061</c:v>
                </c:pt>
                <c:pt idx="4555">
                  <c:v>41064</c:v>
                </c:pt>
                <c:pt idx="4556">
                  <c:v>41065</c:v>
                </c:pt>
                <c:pt idx="4557">
                  <c:v>41066</c:v>
                </c:pt>
                <c:pt idx="4558">
                  <c:v>41067</c:v>
                </c:pt>
                <c:pt idx="4559">
                  <c:v>41068</c:v>
                </c:pt>
                <c:pt idx="4560">
                  <c:v>41071</c:v>
                </c:pt>
                <c:pt idx="4561">
                  <c:v>41072</c:v>
                </c:pt>
                <c:pt idx="4562">
                  <c:v>41073</c:v>
                </c:pt>
                <c:pt idx="4563">
                  <c:v>41074</c:v>
                </c:pt>
                <c:pt idx="4564">
                  <c:v>41075</c:v>
                </c:pt>
                <c:pt idx="4565">
                  <c:v>41078</c:v>
                </c:pt>
                <c:pt idx="4566">
                  <c:v>41079</c:v>
                </c:pt>
                <c:pt idx="4567">
                  <c:v>41080</c:v>
                </c:pt>
                <c:pt idx="4568">
                  <c:v>41081</c:v>
                </c:pt>
                <c:pt idx="4569">
                  <c:v>41082</c:v>
                </c:pt>
                <c:pt idx="4570">
                  <c:v>41085</c:v>
                </c:pt>
                <c:pt idx="4571">
                  <c:v>41086</c:v>
                </c:pt>
                <c:pt idx="4572">
                  <c:v>41087</c:v>
                </c:pt>
                <c:pt idx="4573">
                  <c:v>41088</c:v>
                </c:pt>
                <c:pt idx="4574">
                  <c:v>41089</c:v>
                </c:pt>
                <c:pt idx="4575">
                  <c:v>41092</c:v>
                </c:pt>
                <c:pt idx="4576">
                  <c:v>41093</c:v>
                </c:pt>
                <c:pt idx="4577">
                  <c:v>41094</c:v>
                </c:pt>
                <c:pt idx="4578">
                  <c:v>41095</c:v>
                </c:pt>
                <c:pt idx="4579">
                  <c:v>41096</c:v>
                </c:pt>
                <c:pt idx="4580">
                  <c:v>41099</c:v>
                </c:pt>
                <c:pt idx="4581">
                  <c:v>41100</c:v>
                </c:pt>
                <c:pt idx="4582">
                  <c:v>41101</c:v>
                </c:pt>
                <c:pt idx="4583">
                  <c:v>41102</c:v>
                </c:pt>
                <c:pt idx="4584">
                  <c:v>41103</c:v>
                </c:pt>
                <c:pt idx="4585">
                  <c:v>41106</c:v>
                </c:pt>
                <c:pt idx="4586">
                  <c:v>41107</c:v>
                </c:pt>
                <c:pt idx="4587">
                  <c:v>41108</c:v>
                </c:pt>
                <c:pt idx="4588">
                  <c:v>41109</c:v>
                </c:pt>
                <c:pt idx="4589">
                  <c:v>41110</c:v>
                </c:pt>
                <c:pt idx="4590">
                  <c:v>41113</c:v>
                </c:pt>
                <c:pt idx="4591">
                  <c:v>41114</c:v>
                </c:pt>
                <c:pt idx="4592">
                  <c:v>41115</c:v>
                </c:pt>
                <c:pt idx="4593">
                  <c:v>41116</c:v>
                </c:pt>
                <c:pt idx="4594">
                  <c:v>41117</c:v>
                </c:pt>
                <c:pt idx="4595">
                  <c:v>41120</c:v>
                </c:pt>
                <c:pt idx="4596">
                  <c:v>41121</c:v>
                </c:pt>
                <c:pt idx="4597">
                  <c:v>41122</c:v>
                </c:pt>
                <c:pt idx="4598">
                  <c:v>41123</c:v>
                </c:pt>
                <c:pt idx="4599">
                  <c:v>41124</c:v>
                </c:pt>
                <c:pt idx="4600">
                  <c:v>41127</c:v>
                </c:pt>
                <c:pt idx="4601">
                  <c:v>41128</c:v>
                </c:pt>
                <c:pt idx="4602">
                  <c:v>41129</c:v>
                </c:pt>
                <c:pt idx="4603">
                  <c:v>41130</c:v>
                </c:pt>
                <c:pt idx="4604">
                  <c:v>41131</c:v>
                </c:pt>
                <c:pt idx="4605">
                  <c:v>41134</c:v>
                </c:pt>
                <c:pt idx="4606">
                  <c:v>41135</c:v>
                </c:pt>
                <c:pt idx="4607">
                  <c:v>41136</c:v>
                </c:pt>
                <c:pt idx="4608">
                  <c:v>41137</c:v>
                </c:pt>
                <c:pt idx="4609">
                  <c:v>41138</c:v>
                </c:pt>
                <c:pt idx="4610">
                  <c:v>41141</c:v>
                </c:pt>
                <c:pt idx="4611">
                  <c:v>41142</c:v>
                </c:pt>
                <c:pt idx="4612">
                  <c:v>41143</c:v>
                </c:pt>
                <c:pt idx="4613">
                  <c:v>41144</c:v>
                </c:pt>
                <c:pt idx="4614">
                  <c:v>41145</c:v>
                </c:pt>
                <c:pt idx="4615">
                  <c:v>41148</c:v>
                </c:pt>
                <c:pt idx="4616">
                  <c:v>41149</c:v>
                </c:pt>
                <c:pt idx="4617">
                  <c:v>41150</c:v>
                </c:pt>
                <c:pt idx="4618">
                  <c:v>41151</c:v>
                </c:pt>
                <c:pt idx="4619">
                  <c:v>41152</c:v>
                </c:pt>
                <c:pt idx="4620">
                  <c:v>41155</c:v>
                </c:pt>
                <c:pt idx="4621">
                  <c:v>41156</c:v>
                </c:pt>
                <c:pt idx="4622">
                  <c:v>41157</c:v>
                </c:pt>
                <c:pt idx="4623">
                  <c:v>41158</c:v>
                </c:pt>
                <c:pt idx="4624">
                  <c:v>41159</c:v>
                </c:pt>
                <c:pt idx="4625">
                  <c:v>41162</c:v>
                </c:pt>
                <c:pt idx="4626">
                  <c:v>41163</c:v>
                </c:pt>
                <c:pt idx="4627">
                  <c:v>41164</c:v>
                </c:pt>
                <c:pt idx="4628">
                  <c:v>41165</c:v>
                </c:pt>
                <c:pt idx="4629">
                  <c:v>41166</c:v>
                </c:pt>
                <c:pt idx="4630">
                  <c:v>41169</c:v>
                </c:pt>
                <c:pt idx="4631">
                  <c:v>41170</c:v>
                </c:pt>
                <c:pt idx="4632">
                  <c:v>41171</c:v>
                </c:pt>
                <c:pt idx="4633">
                  <c:v>41172</c:v>
                </c:pt>
                <c:pt idx="4634">
                  <c:v>41173</c:v>
                </c:pt>
                <c:pt idx="4635">
                  <c:v>41176</c:v>
                </c:pt>
                <c:pt idx="4636">
                  <c:v>41177</c:v>
                </c:pt>
                <c:pt idx="4637">
                  <c:v>41178</c:v>
                </c:pt>
                <c:pt idx="4638">
                  <c:v>41179</c:v>
                </c:pt>
                <c:pt idx="4639">
                  <c:v>41180</c:v>
                </c:pt>
                <c:pt idx="4640">
                  <c:v>41183</c:v>
                </c:pt>
                <c:pt idx="4641">
                  <c:v>41184</c:v>
                </c:pt>
                <c:pt idx="4642">
                  <c:v>41185</c:v>
                </c:pt>
                <c:pt idx="4643">
                  <c:v>41186</c:v>
                </c:pt>
                <c:pt idx="4644">
                  <c:v>41187</c:v>
                </c:pt>
                <c:pt idx="4645">
                  <c:v>41190</c:v>
                </c:pt>
                <c:pt idx="4646">
                  <c:v>41191</c:v>
                </c:pt>
                <c:pt idx="4647">
                  <c:v>41192</c:v>
                </c:pt>
                <c:pt idx="4648">
                  <c:v>41193</c:v>
                </c:pt>
                <c:pt idx="4649">
                  <c:v>41194</c:v>
                </c:pt>
                <c:pt idx="4650">
                  <c:v>41197</c:v>
                </c:pt>
                <c:pt idx="4651">
                  <c:v>41198</c:v>
                </c:pt>
                <c:pt idx="4652">
                  <c:v>41199</c:v>
                </c:pt>
                <c:pt idx="4653">
                  <c:v>41200</c:v>
                </c:pt>
                <c:pt idx="4654">
                  <c:v>41201</c:v>
                </c:pt>
                <c:pt idx="4655">
                  <c:v>41204</c:v>
                </c:pt>
                <c:pt idx="4656">
                  <c:v>41205</c:v>
                </c:pt>
                <c:pt idx="4657">
                  <c:v>41206</c:v>
                </c:pt>
                <c:pt idx="4658">
                  <c:v>41207</c:v>
                </c:pt>
                <c:pt idx="4659">
                  <c:v>41208</c:v>
                </c:pt>
                <c:pt idx="4660">
                  <c:v>41211</c:v>
                </c:pt>
                <c:pt idx="4661">
                  <c:v>41212</c:v>
                </c:pt>
                <c:pt idx="4662">
                  <c:v>41213</c:v>
                </c:pt>
                <c:pt idx="4663">
                  <c:v>41214</c:v>
                </c:pt>
                <c:pt idx="4664">
                  <c:v>41215</c:v>
                </c:pt>
                <c:pt idx="4665">
                  <c:v>41218</c:v>
                </c:pt>
                <c:pt idx="4666">
                  <c:v>41219</c:v>
                </c:pt>
                <c:pt idx="4667">
                  <c:v>41220</c:v>
                </c:pt>
                <c:pt idx="4668">
                  <c:v>41221</c:v>
                </c:pt>
                <c:pt idx="4669">
                  <c:v>41222</c:v>
                </c:pt>
                <c:pt idx="4670">
                  <c:v>41225</c:v>
                </c:pt>
                <c:pt idx="4671">
                  <c:v>41226</c:v>
                </c:pt>
                <c:pt idx="4672">
                  <c:v>41227</c:v>
                </c:pt>
                <c:pt idx="4673">
                  <c:v>41228</c:v>
                </c:pt>
                <c:pt idx="4674">
                  <c:v>41229</c:v>
                </c:pt>
                <c:pt idx="4675">
                  <c:v>41232</c:v>
                </c:pt>
                <c:pt idx="4676">
                  <c:v>41233</c:v>
                </c:pt>
                <c:pt idx="4677">
                  <c:v>41234</c:v>
                </c:pt>
                <c:pt idx="4678">
                  <c:v>41235</c:v>
                </c:pt>
                <c:pt idx="4679">
                  <c:v>41236</c:v>
                </c:pt>
                <c:pt idx="4680">
                  <c:v>41239</c:v>
                </c:pt>
                <c:pt idx="4681">
                  <c:v>41240</c:v>
                </c:pt>
                <c:pt idx="4682">
                  <c:v>41241</c:v>
                </c:pt>
                <c:pt idx="4683">
                  <c:v>41242</c:v>
                </c:pt>
                <c:pt idx="4684">
                  <c:v>41243</c:v>
                </c:pt>
                <c:pt idx="4685">
                  <c:v>41246</c:v>
                </c:pt>
                <c:pt idx="4686">
                  <c:v>41247</c:v>
                </c:pt>
                <c:pt idx="4687">
                  <c:v>41248</c:v>
                </c:pt>
                <c:pt idx="4688">
                  <c:v>41249</c:v>
                </c:pt>
                <c:pt idx="4689">
                  <c:v>41250</c:v>
                </c:pt>
                <c:pt idx="4690">
                  <c:v>41253</c:v>
                </c:pt>
                <c:pt idx="4691">
                  <c:v>41254</c:v>
                </c:pt>
                <c:pt idx="4692">
                  <c:v>41255</c:v>
                </c:pt>
                <c:pt idx="4693">
                  <c:v>41256</c:v>
                </c:pt>
                <c:pt idx="4694">
                  <c:v>41257</c:v>
                </c:pt>
                <c:pt idx="4695">
                  <c:v>41260</c:v>
                </c:pt>
                <c:pt idx="4696">
                  <c:v>41261</c:v>
                </c:pt>
                <c:pt idx="4697">
                  <c:v>41262</c:v>
                </c:pt>
                <c:pt idx="4698">
                  <c:v>41263</c:v>
                </c:pt>
                <c:pt idx="4699">
                  <c:v>41264</c:v>
                </c:pt>
                <c:pt idx="4700">
                  <c:v>41270</c:v>
                </c:pt>
                <c:pt idx="4701">
                  <c:v>41271</c:v>
                </c:pt>
                <c:pt idx="4702">
                  <c:v>41274</c:v>
                </c:pt>
                <c:pt idx="4703">
                  <c:v>41276</c:v>
                </c:pt>
                <c:pt idx="4704">
                  <c:v>41277</c:v>
                </c:pt>
                <c:pt idx="4705">
                  <c:v>41278</c:v>
                </c:pt>
                <c:pt idx="4706">
                  <c:v>41281</c:v>
                </c:pt>
                <c:pt idx="4707">
                  <c:v>41282</c:v>
                </c:pt>
                <c:pt idx="4708">
                  <c:v>41283</c:v>
                </c:pt>
                <c:pt idx="4709">
                  <c:v>41284</c:v>
                </c:pt>
                <c:pt idx="4710">
                  <c:v>41285</c:v>
                </c:pt>
                <c:pt idx="4711">
                  <c:v>41288</c:v>
                </c:pt>
                <c:pt idx="4712">
                  <c:v>41289</c:v>
                </c:pt>
                <c:pt idx="4713">
                  <c:v>41290</c:v>
                </c:pt>
                <c:pt idx="4714">
                  <c:v>41291</c:v>
                </c:pt>
                <c:pt idx="4715">
                  <c:v>41292</c:v>
                </c:pt>
                <c:pt idx="4716">
                  <c:v>41295</c:v>
                </c:pt>
                <c:pt idx="4717">
                  <c:v>41296</c:v>
                </c:pt>
                <c:pt idx="4718">
                  <c:v>41297</c:v>
                </c:pt>
                <c:pt idx="4719">
                  <c:v>41298</c:v>
                </c:pt>
                <c:pt idx="4720">
                  <c:v>41299</c:v>
                </c:pt>
                <c:pt idx="4721">
                  <c:v>41302</c:v>
                </c:pt>
                <c:pt idx="4722">
                  <c:v>41303</c:v>
                </c:pt>
                <c:pt idx="4723">
                  <c:v>41304</c:v>
                </c:pt>
                <c:pt idx="4724">
                  <c:v>41305</c:v>
                </c:pt>
                <c:pt idx="4725">
                  <c:v>41306</c:v>
                </c:pt>
                <c:pt idx="4726">
                  <c:v>41309</c:v>
                </c:pt>
                <c:pt idx="4727">
                  <c:v>41310</c:v>
                </c:pt>
                <c:pt idx="4728">
                  <c:v>41311</c:v>
                </c:pt>
                <c:pt idx="4729">
                  <c:v>41312</c:v>
                </c:pt>
                <c:pt idx="4730">
                  <c:v>41313</c:v>
                </c:pt>
                <c:pt idx="4731">
                  <c:v>41316</c:v>
                </c:pt>
                <c:pt idx="4732">
                  <c:v>41317</c:v>
                </c:pt>
                <c:pt idx="4733">
                  <c:v>41318</c:v>
                </c:pt>
                <c:pt idx="4734">
                  <c:v>41319</c:v>
                </c:pt>
                <c:pt idx="4735">
                  <c:v>41320</c:v>
                </c:pt>
                <c:pt idx="4736">
                  <c:v>41323</c:v>
                </c:pt>
                <c:pt idx="4737">
                  <c:v>41324</c:v>
                </c:pt>
                <c:pt idx="4738">
                  <c:v>41325</c:v>
                </c:pt>
                <c:pt idx="4739">
                  <c:v>41326</c:v>
                </c:pt>
                <c:pt idx="4740">
                  <c:v>41327</c:v>
                </c:pt>
                <c:pt idx="4741">
                  <c:v>41330</c:v>
                </c:pt>
                <c:pt idx="4742">
                  <c:v>41331</c:v>
                </c:pt>
                <c:pt idx="4743">
                  <c:v>41332</c:v>
                </c:pt>
                <c:pt idx="4744">
                  <c:v>41333</c:v>
                </c:pt>
                <c:pt idx="4745">
                  <c:v>41334</c:v>
                </c:pt>
                <c:pt idx="4746">
                  <c:v>41337</c:v>
                </c:pt>
                <c:pt idx="4747">
                  <c:v>41338</c:v>
                </c:pt>
                <c:pt idx="4748">
                  <c:v>41339</c:v>
                </c:pt>
                <c:pt idx="4749">
                  <c:v>41340</c:v>
                </c:pt>
                <c:pt idx="4750">
                  <c:v>41341</c:v>
                </c:pt>
                <c:pt idx="4751">
                  <c:v>41344</c:v>
                </c:pt>
                <c:pt idx="4752">
                  <c:v>41345</c:v>
                </c:pt>
                <c:pt idx="4753">
                  <c:v>41346</c:v>
                </c:pt>
                <c:pt idx="4754">
                  <c:v>41347</c:v>
                </c:pt>
                <c:pt idx="4755">
                  <c:v>41348</c:v>
                </c:pt>
                <c:pt idx="4756">
                  <c:v>41351</c:v>
                </c:pt>
                <c:pt idx="4757">
                  <c:v>41352</c:v>
                </c:pt>
                <c:pt idx="4758">
                  <c:v>41353</c:v>
                </c:pt>
                <c:pt idx="4759">
                  <c:v>41354</c:v>
                </c:pt>
                <c:pt idx="4760">
                  <c:v>41355</c:v>
                </c:pt>
                <c:pt idx="4761">
                  <c:v>41358</c:v>
                </c:pt>
                <c:pt idx="4762">
                  <c:v>41359</c:v>
                </c:pt>
                <c:pt idx="4763">
                  <c:v>41360</c:v>
                </c:pt>
                <c:pt idx="4764">
                  <c:v>41361</c:v>
                </c:pt>
                <c:pt idx="4765">
                  <c:v>41366</c:v>
                </c:pt>
                <c:pt idx="4766">
                  <c:v>41367</c:v>
                </c:pt>
                <c:pt idx="4767">
                  <c:v>41368</c:v>
                </c:pt>
                <c:pt idx="4768">
                  <c:v>41369</c:v>
                </c:pt>
                <c:pt idx="4769">
                  <c:v>41372</c:v>
                </c:pt>
                <c:pt idx="4770">
                  <c:v>41373</c:v>
                </c:pt>
                <c:pt idx="4771">
                  <c:v>41374</c:v>
                </c:pt>
                <c:pt idx="4772">
                  <c:v>41375</c:v>
                </c:pt>
                <c:pt idx="4773">
                  <c:v>41376</c:v>
                </c:pt>
                <c:pt idx="4774">
                  <c:v>41379</c:v>
                </c:pt>
                <c:pt idx="4775">
                  <c:v>41380</c:v>
                </c:pt>
                <c:pt idx="4776">
                  <c:v>41381</c:v>
                </c:pt>
                <c:pt idx="4777">
                  <c:v>41382</c:v>
                </c:pt>
                <c:pt idx="4778">
                  <c:v>41383</c:v>
                </c:pt>
                <c:pt idx="4779">
                  <c:v>41386</c:v>
                </c:pt>
                <c:pt idx="4780">
                  <c:v>41387</c:v>
                </c:pt>
                <c:pt idx="4781">
                  <c:v>41388</c:v>
                </c:pt>
                <c:pt idx="4782">
                  <c:v>41389</c:v>
                </c:pt>
                <c:pt idx="4783">
                  <c:v>41390</c:v>
                </c:pt>
                <c:pt idx="4784">
                  <c:v>41393</c:v>
                </c:pt>
                <c:pt idx="4785">
                  <c:v>41394</c:v>
                </c:pt>
                <c:pt idx="4786">
                  <c:v>41396</c:v>
                </c:pt>
                <c:pt idx="4787">
                  <c:v>41397</c:v>
                </c:pt>
                <c:pt idx="4788">
                  <c:v>41400</c:v>
                </c:pt>
                <c:pt idx="4789">
                  <c:v>41401</c:v>
                </c:pt>
                <c:pt idx="4790">
                  <c:v>41402</c:v>
                </c:pt>
                <c:pt idx="4791">
                  <c:v>41403</c:v>
                </c:pt>
                <c:pt idx="4792">
                  <c:v>41404</c:v>
                </c:pt>
                <c:pt idx="4793">
                  <c:v>41407</c:v>
                </c:pt>
                <c:pt idx="4794">
                  <c:v>41408</c:v>
                </c:pt>
                <c:pt idx="4795">
                  <c:v>41409</c:v>
                </c:pt>
                <c:pt idx="4796">
                  <c:v>41410</c:v>
                </c:pt>
                <c:pt idx="4797">
                  <c:v>41411</c:v>
                </c:pt>
                <c:pt idx="4798">
                  <c:v>41414</c:v>
                </c:pt>
                <c:pt idx="4799">
                  <c:v>41415</c:v>
                </c:pt>
                <c:pt idx="4800">
                  <c:v>41416</c:v>
                </c:pt>
                <c:pt idx="4801">
                  <c:v>41417</c:v>
                </c:pt>
                <c:pt idx="4802">
                  <c:v>41418</c:v>
                </c:pt>
                <c:pt idx="4803">
                  <c:v>41421</c:v>
                </c:pt>
                <c:pt idx="4804">
                  <c:v>41422</c:v>
                </c:pt>
                <c:pt idx="4805">
                  <c:v>41423</c:v>
                </c:pt>
                <c:pt idx="4806">
                  <c:v>41424</c:v>
                </c:pt>
                <c:pt idx="4807">
                  <c:v>41425</c:v>
                </c:pt>
                <c:pt idx="4808">
                  <c:v>41428</c:v>
                </c:pt>
                <c:pt idx="4809">
                  <c:v>41429</c:v>
                </c:pt>
                <c:pt idx="4810">
                  <c:v>41430</c:v>
                </c:pt>
                <c:pt idx="4811">
                  <c:v>41431</c:v>
                </c:pt>
                <c:pt idx="4812">
                  <c:v>41432</c:v>
                </c:pt>
                <c:pt idx="4813">
                  <c:v>41435</c:v>
                </c:pt>
                <c:pt idx="4814">
                  <c:v>41436</c:v>
                </c:pt>
                <c:pt idx="4815">
                  <c:v>41437</c:v>
                </c:pt>
                <c:pt idx="4816">
                  <c:v>41438</c:v>
                </c:pt>
                <c:pt idx="4817">
                  <c:v>41439</c:v>
                </c:pt>
                <c:pt idx="4818">
                  <c:v>41442</c:v>
                </c:pt>
                <c:pt idx="4819">
                  <c:v>41443</c:v>
                </c:pt>
                <c:pt idx="4820">
                  <c:v>41444</c:v>
                </c:pt>
                <c:pt idx="4821">
                  <c:v>41445</c:v>
                </c:pt>
                <c:pt idx="4822">
                  <c:v>41446</c:v>
                </c:pt>
                <c:pt idx="4823">
                  <c:v>41449</c:v>
                </c:pt>
                <c:pt idx="4824">
                  <c:v>41450</c:v>
                </c:pt>
                <c:pt idx="4825">
                  <c:v>41451</c:v>
                </c:pt>
                <c:pt idx="4826">
                  <c:v>41452</c:v>
                </c:pt>
                <c:pt idx="4827">
                  <c:v>41453</c:v>
                </c:pt>
                <c:pt idx="4828">
                  <c:v>41456</c:v>
                </c:pt>
                <c:pt idx="4829">
                  <c:v>41457</c:v>
                </c:pt>
                <c:pt idx="4830">
                  <c:v>41458</c:v>
                </c:pt>
                <c:pt idx="4831">
                  <c:v>41459</c:v>
                </c:pt>
                <c:pt idx="4832">
                  <c:v>41460</c:v>
                </c:pt>
                <c:pt idx="4833">
                  <c:v>41463</c:v>
                </c:pt>
                <c:pt idx="4834">
                  <c:v>41464</c:v>
                </c:pt>
                <c:pt idx="4835">
                  <c:v>41465</c:v>
                </c:pt>
                <c:pt idx="4836">
                  <c:v>41466</c:v>
                </c:pt>
                <c:pt idx="4837">
                  <c:v>41467</c:v>
                </c:pt>
                <c:pt idx="4838">
                  <c:v>41470</c:v>
                </c:pt>
                <c:pt idx="4839">
                  <c:v>41471</c:v>
                </c:pt>
                <c:pt idx="4840">
                  <c:v>41472</c:v>
                </c:pt>
                <c:pt idx="4841">
                  <c:v>41473</c:v>
                </c:pt>
                <c:pt idx="4842">
                  <c:v>41474</c:v>
                </c:pt>
                <c:pt idx="4843">
                  <c:v>41477</c:v>
                </c:pt>
                <c:pt idx="4844">
                  <c:v>41478</c:v>
                </c:pt>
                <c:pt idx="4845">
                  <c:v>41479</c:v>
                </c:pt>
                <c:pt idx="4846">
                  <c:v>41480</c:v>
                </c:pt>
                <c:pt idx="4847">
                  <c:v>41481</c:v>
                </c:pt>
                <c:pt idx="4848">
                  <c:v>41484</c:v>
                </c:pt>
                <c:pt idx="4849">
                  <c:v>41485</c:v>
                </c:pt>
                <c:pt idx="4850">
                  <c:v>41486</c:v>
                </c:pt>
                <c:pt idx="4851">
                  <c:v>41487</c:v>
                </c:pt>
                <c:pt idx="4852">
                  <c:v>41488</c:v>
                </c:pt>
                <c:pt idx="4853">
                  <c:v>41491</c:v>
                </c:pt>
                <c:pt idx="4854">
                  <c:v>41492</c:v>
                </c:pt>
                <c:pt idx="4855">
                  <c:v>41493</c:v>
                </c:pt>
                <c:pt idx="4856">
                  <c:v>41494</c:v>
                </c:pt>
                <c:pt idx="4857">
                  <c:v>41495</c:v>
                </c:pt>
                <c:pt idx="4858">
                  <c:v>41498</c:v>
                </c:pt>
                <c:pt idx="4859">
                  <c:v>41499</c:v>
                </c:pt>
                <c:pt idx="4860">
                  <c:v>41500</c:v>
                </c:pt>
                <c:pt idx="4861">
                  <c:v>41501</c:v>
                </c:pt>
                <c:pt idx="4862">
                  <c:v>41502</c:v>
                </c:pt>
                <c:pt idx="4863">
                  <c:v>41505</c:v>
                </c:pt>
                <c:pt idx="4864">
                  <c:v>41506</c:v>
                </c:pt>
                <c:pt idx="4865">
                  <c:v>41507</c:v>
                </c:pt>
                <c:pt idx="4866">
                  <c:v>41508</c:v>
                </c:pt>
                <c:pt idx="4867">
                  <c:v>41509</c:v>
                </c:pt>
                <c:pt idx="4868">
                  <c:v>41512</c:v>
                </c:pt>
                <c:pt idx="4869">
                  <c:v>41513</c:v>
                </c:pt>
                <c:pt idx="4870">
                  <c:v>41514</c:v>
                </c:pt>
                <c:pt idx="4871">
                  <c:v>41515</c:v>
                </c:pt>
                <c:pt idx="4872">
                  <c:v>41516</c:v>
                </c:pt>
                <c:pt idx="4873">
                  <c:v>41519</c:v>
                </c:pt>
                <c:pt idx="4874">
                  <c:v>41520</c:v>
                </c:pt>
                <c:pt idx="4875">
                  <c:v>41521</c:v>
                </c:pt>
                <c:pt idx="4876">
                  <c:v>41522</c:v>
                </c:pt>
                <c:pt idx="4877">
                  <c:v>41523</c:v>
                </c:pt>
                <c:pt idx="4878">
                  <c:v>41526</c:v>
                </c:pt>
                <c:pt idx="4879">
                  <c:v>41527</c:v>
                </c:pt>
                <c:pt idx="4880">
                  <c:v>41528</c:v>
                </c:pt>
                <c:pt idx="4881">
                  <c:v>41529</c:v>
                </c:pt>
                <c:pt idx="4882">
                  <c:v>41530</c:v>
                </c:pt>
                <c:pt idx="4883">
                  <c:v>41533</c:v>
                </c:pt>
                <c:pt idx="4884">
                  <c:v>41534</c:v>
                </c:pt>
                <c:pt idx="4885">
                  <c:v>41535</c:v>
                </c:pt>
                <c:pt idx="4886">
                  <c:v>41536</c:v>
                </c:pt>
                <c:pt idx="4887">
                  <c:v>41537</c:v>
                </c:pt>
                <c:pt idx="4888">
                  <c:v>41540</c:v>
                </c:pt>
                <c:pt idx="4889">
                  <c:v>41541</c:v>
                </c:pt>
                <c:pt idx="4890">
                  <c:v>41542</c:v>
                </c:pt>
                <c:pt idx="4891">
                  <c:v>41543</c:v>
                </c:pt>
                <c:pt idx="4892">
                  <c:v>41544</c:v>
                </c:pt>
                <c:pt idx="4893">
                  <c:v>41547</c:v>
                </c:pt>
                <c:pt idx="4894">
                  <c:v>41548</c:v>
                </c:pt>
                <c:pt idx="4895">
                  <c:v>41549</c:v>
                </c:pt>
                <c:pt idx="4896">
                  <c:v>41550</c:v>
                </c:pt>
                <c:pt idx="4897">
                  <c:v>41551</c:v>
                </c:pt>
                <c:pt idx="4898">
                  <c:v>41554</c:v>
                </c:pt>
                <c:pt idx="4899">
                  <c:v>41555</c:v>
                </c:pt>
                <c:pt idx="4900">
                  <c:v>41556</c:v>
                </c:pt>
                <c:pt idx="4901">
                  <c:v>41557</c:v>
                </c:pt>
                <c:pt idx="4902">
                  <c:v>41558</c:v>
                </c:pt>
                <c:pt idx="4903">
                  <c:v>41561</c:v>
                </c:pt>
                <c:pt idx="4904">
                  <c:v>41562</c:v>
                </c:pt>
                <c:pt idx="4905">
                  <c:v>41563</c:v>
                </c:pt>
                <c:pt idx="4906">
                  <c:v>41564</c:v>
                </c:pt>
                <c:pt idx="4907">
                  <c:v>41565</c:v>
                </c:pt>
                <c:pt idx="4908">
                  <c:v>41568</c:v>
                </c:pt>
                <c:pt idx="4909">
                  <c:v>41569</c:v>
                </c:pt>
                <c:pt idx="4910">
                  <c:v>41570</c:v>
                </c:pt>
                <c:pt idx="4911">
                  <c:v>41571</c:v>
                </c:pt>
                <c:pt idx="4912">
                  <c:v>41572</c:v>
                </c:pt>
                <c:pt idx="4913">
                  <c:v>41575</c:v>
                </c:pt>
                <c:pt idx="4914">
                  <c:v>41576</c:v>
                </c:pt>
                <c:pt idx="4915">
                  <c:v>41577</c:v>
                </c:pt>
                <c:pt idx="4916">
                  <c:v>41578</c:v>
                </c:pt>
                <c:pt idx="4917">
                  <c:v>41579</c:v>
                </c:pt>
                <c:pt idx="4918">
                  <c:v>41582</c:v>
                </c:pt>
                <c:pt idx="4919">
                  <c:v>41583</c:v>
                </c:pt>
                <c:pt idx="4920">
                  <c:v>41584</c:v>
                </c:pt>
                <c:pt idx="4921">
                  <c:v>41585</c:v>
                </c:pt>
                <c:pt idx="4922">
                  <c:v>41586</c:v>
                </c:pt>
                <c:pt idx="4923">
                  <c:v>41589</c:v>
                </c:pt>
                <c:pt idx="4924">
                  <c:v>41590</c:v>
                </c:pt>
                <c:pt idx="4925">
                  <c:v>41591</c:v>
                </c:pt>
                <c:pt idx="4926">
                  <c:v>41592</c:v>
                </c:pt>
                <c:pt idx="4927">
                  <c:v>41593</c:v>
                </c:pt>
                <c:pt idx="4928">
                  <c:v>41596</c:v>
                </c:pt>
                <c:pt idx="4929">
                  <c:v>41597</c:v>
                </c:pt>
                <c:pt idx="4930">
                  <c:v>41598</c:v>
                </c:pt>
                <c:pt idx="4931">
                  <c:v>41599</c:v>
                </c:pt>
                <c:pt idx="4932">
                  <c:v>41600</c:v>
                </c:pt>
                <c:pt idx="4933">
                  <c:v>41603</c:v>
                </c:pt>
                <c:pt idx="4934">
                  <c:v>41604</c:v>
                </c:pt>
                <c:pt idx="4935">
                  <c:v>41605</c:v>
                </c:pt>
                <c:pt idx="4936">
                  <c:v>41606</c:v>
                </c:pt>
                <c:pt idx="4937">
                  <c:v>41607</c:v>
                </c:pt>
                <c:pt idx="4938">
                  <c:v>41610</c:v>
                </c:pt>
                <c:pt idx="4939">
                  <c:v>41611</c:v>
                </c:pt>
                <c:pt idx="4940">
                  <c:v>41612</c:v>
                </c:pt>
                <c:pt idx="4941">
                  <c:v>41613</c:v>
                </c:pt>
                <c:pt idx="4942">
                  <c:v>41614</c:v>
                </c:pt>
                <c:pt idx="4943">
                  <c:v>41617</c:v>
                </c:pt>
                <c:pt idx="4944">
                  <c:v>41618</c:v>
                </c:pt>
                <c:pt idx="4945">
                  <c:v>41619</c:v>
                </c:pt>
                <c:pt idx="4946">
                  <c:v>41620</c:v>
                </c:pt>
                <c:pt idx="4947">
                  <c:v>41621</c:v>
                </c:pt>
                <c:pt idx="4948">
                  <c:v>41624</c:v>
                </c:pt>
                <c:pt idx="4949">
                  <c:v>41625</c:v>
                </c:pt>
                <c:pt idx="4950">
                  <c:v>41626</c:v>
                </c:pt>
                <c:pt idx="4951">
                  <c:v>41627</c:v>
                </c:pt>
                <c:pt idx="4952">
                  <c:v>41628</c:v>
                </c:pt>
                <c:pt idx="4953">
                  <c:v>41631</c:v>
                </c:pt>
                <c:pt idx="4954">
                  <c:v>41632</c:v>
                </c:pt>
                <c:pt idx="4955">
                  <c:v>41635</c:v>
                </c:pt>
                <c:pt idx="4956">
                  <c:v>41638</c:v>
                </c:pt>
                <c:pt idx="4957">
                  <c:v>41639</c:v>
                </c:pt>
                <c:pt idx="4958">
                  <c:v>41641</c:v>
                </c:pt>
                <c:pt idx="4959">
                  <c:v>41642</c:v>
                </c:pt>
                <c:pt idx="4960">
                  <c:v>41645</c:v>
                </c:pt>
                <c:pt idx="4961">
                  <c:v>41646</c:v>
                </c:pt>
                <c:pt idx="4962">
                  <c:v>41647</c:v>
                </c:pt>
                <c:pt idx="4963">
                  <c:v>41648</c:v>
                </c:pt>
                <c:pt idx="4964">
                  <c:v>41649</c:v>
                </c:pt>
                <c:pt idx="4965">
                  <c:v>41652</c:v>
                </c:pt>
                <c:pt idx="4966">
                  <c:v>41653</c:v>
                </c:pt>
                <c:pt idx="4967">
                  <c:v>41654</c:v>
                </c:pt>
                <c:pt idx="4968">
                  <c:v>41655</c:v>
                </c:pt>
                <c:pt idx="4969">
                  <c:v>41656</c:v>
                </c:pt>
                <c:pt idx="4970">
                  <c:v>41659</c:v>
                </c:pt>
                <c:pt idx="4971">
                  <c:v>41660</c:v>
                </c:pt>
                <c:pt idx="4972">
                  <c:v>41661</c:v>
                </c:pt>
                <c:pt idx="4973">
                  <c:v>41662</c:v>
                </c:pt>
                <c:pt idx="4974">
                  <c:v>41663</c:v>
                </c:pt>
                <c:pt idx="4975">
                  <c:v>41666</c:v>
                </c:pt>
                <c:pt idx="4976">
                  <c:v>41667</c:v>
                </c:pt>
                <c:pt idx="4977">
                  <c:v>41668</c:v>
                </c:pt>
                <c:pt idx="4978">
                  <c:v>41669</c:v>
                </c:pt>
                <c:pt idx="4979">
                  <c:v>41670</c:v>
                </c:pt>
                <c:pt idx="4980">
                  <c:v>41673</c:v>
                </c:pt>
                <c:pt idx="4981">
                  <c:v>41674</c:v>
                </c:pt>
                <c:pt idx="4982">
                  <c:v>41675</c:v>
                </c:pt>
                <c:pt idx="4983">
                  <c:v>41676</c:v>
                </c:pt>
                <c:pt idx="4984">
                  <c:v>41677</c:v>
                </c:pt>
                <c:pt idx="4985">
                  <c:v>41680</c:v>
                </c:pt>
                <c:pt idx="4986">
                  <c:v>41681</c:v>
                </c:pt>
                <c:pt idx="4987">
                  <c:v>41682</c:v>
                </c:pt>
                <c:pt idx="4988">
                  <c:v>41683</c:v>
                </c:pt>
                <c:pt idx="4989">
                  <c:v>41684</c:v>
                </c:pt>
                <c:pt idx="4990">
                  <c:v>41687</c:v>
                </c:pt>
                <c:pt idx="4991">
                  <c:v>41688</c:v>
                </c:pt>
                <c:pt idx="4992">
                  <c:v>41689</c:v>
                </c:pt>
                <c:pt idx="4993">
                  <c:v>41690</c:v>
                </c:pt>
                <c:pt idx="4994">
                  <c:v>41691</c:v>
                </c:pt>
                <c:pt idx="4995">
                  <c:v>41694</c:v>
                </c:pt>
                <c:pt idx="4996">
                  <c:v>41695</c:v>
                </c:pt>
                <c:pt idx="4997">
                  <c:v>41696</c:v>
                </c:pt>
                <c:pt idx="4998">
                  <c:v>41697</c:v>
                </c:pt>
                <c:pt idx="4999">
                  <c:v>41698</c:v>
                </c:pt>
              </c:numCache>
            </c:numRef>
          </c:cat>
          <c:val>
            <c:numRef>
              <c:f>Sheet1!$B$1:$B$5000</c:f>
              <c:numCache>
                <c:formatCode>0.0000</c:formatCode>
                <c:ptCount val="5000"/>
                <c:pt idx="0">
                  <c:v>7.7320000000000002</c:v>
                </c:pt>
                <c:pt idx="1">
                  <c:v>7.7039999999999997</c:v>
                </c:pt>
                <c:pt idx="2">
                  <c:v>7.7729999999999997</c:v>
                </c:pt>
                <c:pt idx="3">
                  <c:v>7.649</c:v>
                </c:pt>
                <c:pt idx="4">
                  <c:v>7.6589999999999998</c:v>
                </c:pt>
                <c:pt idx="5">
                  <c:v>7.76</c:v>
                </c:pt>
                <c:pt idx="6">
                  <c:v>7.8220000000000001</c:v>
                </c:pt>
                <c:pt idx="7">
                  <c:v>7.8079999999999998</c:v>
                </c:pt>
                <c:pt idx="8">
                  <c:v>7.7919999999999998</c:v>
                </c:pt>
                <c:pt idx="9">
                  <c:v>7.6870000000000003</c:v>
                </c:pt>
                <c:pt idx="10">
                  <c:v>7.6950000000000003</c:v>
                </c:pt>
                <c:pt idx="11">
                  <c:v>7.782</c:v>
                </c:pt>
                <c:pt idx="12">
                  <c:v>7.8280000000000003</c:v>
                </c:pt>
                <c:pt idx="13">
                  <c:v>7.8719999999999999</c:v>
                </c:pt>
                <c:pt idx="14">
                  <c:v>7.9720000000000004</c:v>
                </c:pt>
                <c:pt idx="15">
                  <c:v>7.9809999999999999</c:v>
                </c:pt>
                <c:pt idx="16">
                  <c:v>8.09</c:v>
                </c:pt>
                <c:pt idx="17">
                  <c:v>8.3070000000000004</c:v>
                </c:pt>
                <c:pt idx="18">
                  <c:v>8.2509999999999994</c:v>
                </c:pt>
                <c:pt idx="19">
                  <c:v>8.3030000000000008</c:v>
                </c:pt>
                <c:pt idx="20">
                  <c:v>8.4130000000000003</c:v>
                </c:pt>
                <c:pt idx="21">
                  <c:v>8.4830000000000005</c:v>
                </c:pt>
                <c:pt idx="22">
                  <c:v>8.4909999999999997</c:v>
                </c:pt>
                <c:pt idx="23">
                  <c:v>8.4420000000000002</c:v>
                </c:pt>
                <c:pt idx="24">
                  <c:v>8.4320000000000004</c:v>
                </c:pt>
                <c:pt idx="25">
                  <c:v>8.3819999999999997</c:v>
                </c:pt>
                <c:pt idx="26">
                  <c:v>8.3390000000000004</c:v>
                </c:pt>
                <c:pt idx="27">
                  <c:v>8.2959999999999994</c:v>
                </c:pt>
                <c:pt idx="28">
                  <c:v>8.3460000000000001</c:v>
                </c:pt>
                <c:pt idx="29">
                  <c:v>8.3970000000000002</c:v>
                </c:pt>
                <c:pt idx="30">
                  <c:v>8.407</c:v>
                </c:pt>
                <c:pt idx="31">
                  <c:v>8.3870000000000005</c:v>
                </c:pt>
                <c:pt idx="32">
                  <c:v>8.4819999999999993</c:v>
                </c:pt>
                <c:pt idx="33">
                  <c:v>8.5990000000000002</c:v>
                </c:pt>
                <c:pt idx="34">
                  <c:v>8.6039999999999992</c:v>
                </c:pt>
                <c:pt idx="35">
                  <c:v>8.5190000000000001</c:v>
                </c:pt>
                <c:pt idx="36">
                  <c:v>8.6129999999999995</c:v>
                </c:pt>
                <c:pt idx="37">
                  <c:v>8.6430000000000007</c:v>
                </c:pt>
                <c:pt idx="38">
                  <c:v>8.6210000000000004</c:v>
                </c:pt>
                <c:pt idx="39">
                  <c:v>8.67</c:v>
                </c:pt>
                <c:pt idx="40">
                  <c:v>8.6430000000000007</c:v>
                </c:pt>
                <c:pt idx="41">
                  <c:v>8.7449999999999992</c:v>
                </c:pt>
                <c:pt idx="42">
                  <c:v>8.7059999999999995</c:v>
                </c:pt>
                <c:pt idx="43">
                  <c:v>8.8049999999999997</c:v>
                </c:pt>
                <c:pt idx="44">
                  <c:v>8.8160000000000007</c:v>
                </c:pt>
                <c:pt idx="45">
                  <c:v>8.8119999999999994</c:v>
                </c:pt>
                <c:pt idx="46">
                  <c:v>8.7050000000000001</c:v>
                </c:pt>
                <c:pt idx="47">
                  <c:v>8.6969999999999992</c:v>
                </c:pt>
                <c:pt idx="48">
                  <c:v>8.6910000000000007</c:v>
                </c:pt>
                <c:pt idx="49">
                  <c:v>8.5950000000000006</c:v>
                </c:pt>
                <c:pt idx="50">
                  <c:v>8.6349999999999998</c:v>
                </c:pt>
                <c:pt idx="51">
                  <c:v>8.6460000000000008</c:v>
                </c:pt>
                <c:pt idx="52">
                  <c:v>8.7479999999999993</c:v>
                </c:pt>
                <c:pt idx="53">
                  <c:v>8.718</c:v>
                </c:pt>
                <c:pt idx="54">
                  <c:v>8.7959999999999994</c:v>
                </c:pt>
                <c:pt idx="55">
                  <c:v>8.7829999999999995</c:v>
                </c:pt>
                <c:pt idx="56">
                  <c:v>8.766</c:v>
                </c:pt>
                <c:pt idx="57">
                  <c:v>8.6720000000000006</c:v>
                </c:pt>
                <c:pt idx="58">
                  <c:v>8.5909999999999993</c:v>
                </c:pt>
                <c:pt idx="59">
                  <c:v>8.6039999999999992</c:v>
                </c:pt>
                <c:pt idx="60">
                  <c:v>8.4510000000000005</c:v>
                </c:pt>
                <c:pt idx="61">
                  <c:v>8.4700000000000006</c:v>
                </c:pt>
                <c:pt idx="62">
                  <c:v>8.4030000000000005</c:v>
                </c:pt>
                <c:pt idx="63">
                  <c:v>8.4329999999999998</c:v>
                </c:pt>
                <c:pt idx="64">
                  <c:v>8.4879999999999995</c:v>
                </c:pt>
                <c:pt idx="65">
                  <c:v>8.5079999999999991</c:v>
                </c:pt>
                <c:pt idx="66">
                  <c:v>8.5860000000000003</c:v>
                </c:pt>
                <c:pt idx="67">
                  <c:v>8.6059999999999999</c:v>
                </c:pt>
                <c:pt idx="68">
                  <c:v>8.7230000000000008</c:v>
                </c:pt>
                <c:pt idx="69">
                  <c:v>8.7759999999999998</c:v>
                </c:pt>
                <c:pt idx="70">
                  <c:v>8.7309999999999999</c:v>
                </c:pt>
                <c:pt idx="71">
                  <c:v>8.6649999999999991</c:v>
                </c:pt>
                <c:pt idx="72">
                  <c:v>8.7040000000000006</c:v>
                </c:pt>
                <c:pt idx="73">
                  <c:v>8.7089999999999996</c:v>
                </c:pt>
                <c:pt idx="74">
                  <c:v>8.7560000000000002</c:v>
                </c:pt>
                <c:pt idx="75">
                  <c:v>8.7260000000000009</c:v>
                </c:pt>
                <c:pt idx="76">
                  <c:v>8.6259999999999994</c:v>
                </c:pt>
                <c:pt idx="77">
                  <c:v>8.6720000000000006</c:v>
                </c:pt>
                <c:pt idx="78">
                  <c:v>8.6959999999999997</c:v>
                </c:pt>
                <c:pt idx="79">
                  <c:v>8.5760000000000005</c:v>
                </c:pt>
                <c:pt idx="80">
                  <c:v>8.5410000000000004</c:v>
                </c:pt>
                <c:pt idx="81">
                  <c:v>8.5990000000000002</c:v>
                </c:pt>
                <c:pt idx="82">
                  <c:v>8.532</c:v>
                </c:pt>
                <c:pt idx="83">
                  <c:v>8.4659999999999993</c:v>
                </c:pt>
                <c:pt idx="84">
                  <c:v>8.5009999999999994</c:v>
                </c:pt>
                <c:pt idx="85">
                  <c:v>8.58</c:v>
                </c:pt>
                <c:pt idx="86">
                  <c:v>8.593</c:v>
                </c:pt>
                <c:pt idx="87">
                  <c:v>8.5500000000000007</c:v>
                </c:pt>
                <c:pt idx="88">
                  <c:v>8.5210000000000008</c:v>
                </c:pt>
                <c:pt idx="89">
                  <c:v>8.4060000000000006</c:v>
                </c:pt>
                <c:pt idx="90">
                  <c:v>8.36</c:v>
                </c:pt>
                <c:pt idx="91">
                  <c:v>8.3490000000000002</c:v>
                </c:pt>
                <c:pt idx="92">
                  <c:v>8.3279999999999994</c:v>
                </c:pt>
                <c:pt idx="93">
                  <c:v>8.3810000000000002</c:v>
                </c:pt>
                <c:pt idx="94">
                  <c:v>8.3049999999999997</c:v>
                </c:pt>
                <c:pt idx="95">
                  <c:v>8.3179999999999996</c:v>
                </c:pt>
                <c:pt idx="96">
                  <c:v>8.2159999999999993</c:v>
                </c:pt>
                <c:pt idx="97">
                  <c:v>8.1839999999999993</c:v>
                </c:pt>
                <c:pt idx="98">
                  <c:v>8.2609999999999992</c:v>
                </c:pt>
                <c:pt idx="99">
                  <c:v>8.3160000000000007</c:v>
                </c:pt>
                <c:pt idx="100">
                  <c:v>8.3569999999999993</c:v>
                </c:pt>
                <c:pt idx="101">
                  <c:v>8.3170000000000002</c:v>
                </c:pt>
                <c:pt idx="102">
                  <c:v>8.4559999999999995</c:v>
                </c:pt>
                <c:pt idx="103">
                  <c:v>8.5809999999999995</c:v>
                </c:pt>
                <c:pt idx="104">
                  <c:v>8.5180000000000007</c:v>
                </c:pt>
                <c:pt idx="105">
                  <c:v>8.5389999999999997</c:v>
                </c:pt>
                <c:pt idx="106">
                  <c:v>8.4960000000000004</c:v>
                </c:pt>
                <c:pt idx="107">
                  <c:v>8.5540000000000003</c:v>
                </c:pt>
                <c:pt idx="108">
                  <c:v>8.6029999999999998</c:v>
                </c:pt>
                <c:pt idx="109">
                  <c:v>8.593</c:v>
                </c:pt>
                <c:pt idx="110">
                  <c:v>8.5020000000000007</c:v>
                </c:pt>
                <c:pt idx="111">
                  <c:v>8.5190000000000001</c:v>
                </c:pt>
                <c:pt idx="112">
                  <c:v>8.4960000000000004</c:v>
                </c:pt>
                <c:pt idx="113">
                  <c:v>8.6389999999999993</c:v>
                </c:pt>
                <c:pt idx="114">
                  <c:v>8.7319999999999993</c:v>
                </c:pt>
                <c:pt idx="115">
                  <c:v>8.7720000000000002</c:v>
                </c:pt>
                <c:pt idx="116">
                  <c:v>8.7509999999999994</c:v>
                </c:pt>
                <c:pt idx="117">
                  <c:v>8.8030000000000008</c:v>
                </c:pt>
                <c:pt idx="118">
                  <c:v>8.782</c:v>
                </c:pt>
                <c:pt idx="119">
                  <c:v>8.782</c:v>
                </c:pt>
                <c:pt idx="120">
                  <c:v>8.7620000000000005</c:v>
                </c:pt>
                <c:pt idx="121">
                  <c:v>8.7249999999999996</c:v>
                </c:pt>
                <c:pt idx="122">
                  <c:v>8.718</c:v>
                </c:pt>
                <c:pt idx="123">
                  <c:v>8.6259999999999994</c:v>
                </c:pt>
                <c:pt idx="124">
                  <c:v>8.6150000000000002</c:v>
                </c:pt>
                <c:pt idx="125">
                  <c:v>8.6140000000000008</c:v>
                </c:pt>
                <c:pt idx="126">
                  <c:v>8.5579999999999998</c:v>
                </c:pt>
                <c:pt idx="127">
                  <c:v>8.6020000000000003</c:v>
                </c:pt>
                <c:pt idx="128">
                  <c:v>8.6010000000000009</c:v>
                </c:pt>
                <c:pt idx="129">
                  <c:v>8.6869999999999994</c:v>
                </c:pt>
                <c:pt idx="130">
                  <c:v>8.6579999999999995</c:v>
                </c:pt>
                <c:pt idx="131">
                  <c:v>8.6530000000000005</c:v>
                </c:pt>
                <c:pt idx="132">
                  <c:v>8.5470000000000006</c:v>
                </c:pt>
                <c:pt idx="133">
                  <c:v>8.51</c:v>
                </c:pt>
                <c:pt idx="134">
                  <c:v>8.5050000000000008</c:v>
                </c:pt>
                <c:pt idx="135">
                  <c:v>8.5299999999999994</c:v>
                </c:pt>
                <c:pt idx="136">
                  <c:v>8.4969999999999999</c:v>
                </c:pt>
                <c:pt idx="137">
                  <c:v>8.5370000000000008</c:v>
                </c:pt>
                <c:pt idx="138">
                  <c:v>8.468</c:v>
                </c:pt>
                <c:pt idx="139">
                  <c:v>8.4290000000000003</c:v>
                </c:pt>
                <c:pt idx="140">
                  <c:v>8.3810000000000002</c:v>
                </c:pt>
                <c:pt idx="141">
                  <c:v>8.3829999999999991</c:v>
                </c:pt>
                <c:pt idx="142">
                  <c:v>8.359</c:v>
                </c:pt>
                <c:pt idx="143">
                  <c:v>8.3849999999999998</c:v>
                </c:pt>
                <c:pt idx="144">
                  <c:v>8.4619999999999997</c:v>
                </c:pt>
                <c:pt idx="145">
                  <c:v>8.4280000000000008</c:v>
                </c:pt>
                <c:pt idx="146">
                  <c:v>8.4130000000000003</c:v>
                </c:pt>
                <c:pt idx="147">
                  <c:v>8.4239999999999995</c:v>
                </c:pt>
                <c:pt idx="148">
                  <c:v>8.4</c:v>
                </c:pt>
                <c:pt idx="149">
                  <c:v>8.41</c:v>
                </c:pt>
                <c:pt idx="150">
                  <c:v>8.4730000000000008</c:v>
                </c:pt>
                <c:pt idx="151">
                  <c:v>8.5269999999999992</c:v>
                </c:pt>
                <c:pt idx="152">
                  <c:v>8.4109999999999996</c:v>
                </c:pt>
                <c:pt idx="153">
                  <c:v>8.4600000000000009</c:v>
                </c:pt>
                <c:pt idx="154">
                  <c:v>8.4079999999999995</c:v>
                </c:pt>
                <c:pt idx="155">
                  <c:v>8.4410000000000007</c:v>
                </c:pt>
                <c:pt idx="156">
                  <c:v>8.4090000000000007</c:v>
                </c:pt>
                <c:pt idx="157">
                  <c:v>8.4489999999999998</c:v>
                </c:pt>
                <c:pt idx="158">
                  <c:v>8.5180000000000007</c:v>
                </c:pt>
                <c:pt idx="159">
                  <c:v>8.5760000000000005</c:v>
                </c:pt>
                <c:pt idx="160">
                  <c:v>8.7490000000000006</c:v>
                </c:pt>
                <c:pt idx="161">
                  <c:v>8.7729999999999997</c:v>
                </c:pt>
                <c:pt idx="162">
                  <c:v>8.7639999999999993</c:v>
                </c:pt>
                <c:pt idx="163">
                  <c:v>8.6910000000000007</c:v>
                </c:pt>
                <c:pt idx="164">
                  <c:v>8.6750000000000007</c:v>
                </c:pt>
                <c:pt idx="165">
                  <c:v>8.6110000000000007</c:v>
                </c:pt>
                <c:pt idx="166">
                  <c:v>8.4949999999999992</c:v>
                </c:pt>
                <c:pt idx="167">
                  <c:v>8.52</c:v>
                </c:pt>
                <c:pt idx="168">
                  <c:v>8.4770000000000003</c:v>
                </c:pt>
                <c:pt idx="169">
                  <c:v>8.4700000000000006</c:v>
                </c:pt>
                <c:pt idx="170">
                  <c:v>8.4130000000000003</c:v>
                </c:pt>
                <c:pt idx="171">
                  <c:v>8.3949999999999996</c:v>
                </c:pt>
                <c:pt idx="172">
                  <c:v>8.42</c:v>
                </c:pt>
                <c:pt idx="173">
                  <c:v>8.33</c:v>
                </c:pt>
                <c:pt idx="174">
                  <c:v>8.35</c:v>
                </c:pt>
                <c:pt idx="175">
                  <c:v>8.3699999999999992</c:v>
                </c:pt>
                <c:pt idx="176">
                  <c:v>8.4220000000000006</c:v>
                </c:pt>
                <c:pt idx="177">
                  <c:v>8.2899999999999991</c:v>
                </c:pt>
                <c:pt idx="178">
                  <c:v>8.3960000000000008</c:v>
                </c:pt>
                <c:pt idx="179">
                  <c:v>8.3350000000000009</c:v>
                </c:pt>
                <c:pt idx="180">
                  <c:v>8.2759999999999998</c:v>
                </c:pt>
                <c:pt idx="181">
                  <c:v>8.2289999999999992</c:v>
                </c:pt>
                <c:pt idx="182">
                  <c:v>8.202</c:v>
                </c:pt>
                <c:pt idx="183">
                  <c:v>8.1180000000000003</c:v>
                </c:pt>
                <c:pt idx="184">
                  <c:v>8.2189999999999994</c:v>
                </c:pt>
                <c:pt idx="185">
                  <c:v>8.2509999999999994</c:v>
                </c:pt>
                <c:pt idx="186">
                  <c:v>8.2309999999999999</c:v>
                </c:pt>
                <c:pt idx="187">
                  <c:v>8.157</c:v>
                </c:pt>
                <c:pt idx="188">
                  <c:v>8.1760000000000002</c:v>
                </c:pt>
                <c:pt idx="189">
                  <c:v>8.2439999999999998</c:v>
                </c:pt>
                <c:pt idx="190">
                  <c:v>8.2010000000000005</c:v>
                </c:pt>
                <c:pt idx="191">
                  <c:v>8.17</c:v>
                </c:pt>
                <c:pt idx="192">
                  <c:v>8.1430000000000007</c:v>
                </c:pt>
                <c:pt idx="193">
                  <c:v>8.1609999999999996</c:v>
                </c:pt>
                <c:pt idx="194">
                  <c:v>8.1530000000000005</c:v>
                </c:pt>
                <c:pt idx="195">
                  <c:v>8.1470000000000002</c:v>
                </c:pt>
                <c:pt idx="196">
                  <c:v>8.1430000000000007</c:v>
                </c:pt>
                <c:pt idx="197">
                  <c:v>8.1760000000000002</c:v>
                </c:pt>
                <c:pt idx="198">
                  <c:v>8.1059999999999999</c:v>
                </c:pt>
                <c:pt idx="199">
                  <c:v>8.0660000000000007</c:v>
                </c:pt>
                <c:pt idx="200">
                  <c:v>8.032</c:v>
                </c:pt>
                <c:pt idx="201">
                  <c:v>7.9649999999999999</c:v>
                </c:pt>
                <c:pt idx="202">
                  <c:v>7.9240000000000004</c:v>
                </c:pt>
                <c:pt idx="203">
                  <c:v>7.8280000000000003</c:v>
                </c:pt>
                <c:pt idx="204">
                  <c:v>7.8319999999999999</c:v>
                </c:pt>
                <c:pt idx="205">
                  <c:v>7.85</c:v>
                </c:pt>
                <c:pt idx="206">
                  <c:v>7.88</c:v>
                </c:pt>
                <c:pt idx="207">
                  <c:v>7.798</c:v>
                </c:pt>
                <c:pt idx="208">
                  <c:v>7.8029999999999999</c:v>
                </c:pt>
                <c:pt idx="209">
                  <c:v>7.7919999999999998</c:v>
                </c:pt>
                <c:pt idx="210">
                  <c:v>7.8120000000000003</c:v>
                </c:pt>
                <c:pt idx="211">
                  <c:v>7.8019999999999996</c:v>
                </c:pt>
                <c:pt idx="212">
                  <c:v>7.8090000000000002</c:v>
                </c:pt>
                <c:pt idx="213">
                  <c:v>7.758</c:v>
                </c:pt>
                <c:pt idx="214">
                  <c:v>7.7939999999999996</c:v>
                </c:pt>
                <c:pt idx="215">
                  <c:v>7.8129999999999997</c:v>
                </c:pt>
                <c:pt idx="216">
                  <c:v>7.7789999999999999</c:v>
                </c:pt>
                <c:pt idx="217">
                  <c:v>7.7489999999999997</c:v>
                </c:pt>
                <c:pt idx="218">
                  <c:v>7.7009999999999996</c:v>
                </c:pt>
                <c:pt idx="219">
                  <c:v>7.6239999999999997</c:v>
                </c:pt>
                <c:pt idx="220">
                  <c:v>7.5549999999999997</c:v>
                </c:pt>
                <c:pt idx="221">
                  <c:v>7.5819999999999999</c:v>
                </c:pt>
                <c:pt idx="222">
                  <c:v>7.641</c:v>
                </c:pt>
                <c:pt idx="223">
                  <c:v>7.8040000000000003</c:v>
                </c:pt>
                <c:pt idx="224">
                  <c:v>7.8550000000000004</c:v>
                </c:pt>
                <c:pt idx="225">
                  <c:v>7.734</c:v>
                </c:pt>
                <c:pt idx="226">
                  <c:v>7.7919999999999998</c:v>
                </c:pt>
                <c:pt idx="227">
                  <c:v>7.7990000000000004</c:v>
                </c:pt>
                <c:pt idx="228">
                  <c:v>7.851</c:v>
                </c:pt>
                <c:pt idx="229">
                  <c:v>7.7869999999999999</c:v>
                </c:pt>
                <c:pt idx="230">
                  <c:v>7.7729999999999997</c:v>
                </c:pt>
                <c:pt idx="231">
                  <c:v>7.8159999999999998</c:v>
                </c:pt>
                <c:pt idx="232">
                  <c:v>7.7880000000000003</c:v>
                </c:pt>
                <c:pt idx="233">
                  <c:v>7.8339999999999996</c:v>
                </c:pt>
                <c:pt idx="234">
                  <c:v>7.8659999999999997</c:v>
                </c:pt>
                <c:pt idx="235">
                  <c:v>7.8970000000000002</c:v>
                </c:pt>
                <c:pt idx="236">
                  <c:v>7.9550000000000001</c:v>
                </c:pt>
                <c:pt idx="237">
                  <c:v>7.98</c:v>
                </c:pt>
                <c:pt idx="238">
                  <c:v>8.0510000000000002</c:v>
                </c:pt>
                <c:pt idx="239">
                  <c:v>8.048</c:v>
                </c:pt>
                <c:pt idx="240">
                  <c:v>8.0250000000000004</c:v>
                </c:pt>
                <c:pt idx="241">
                  <c:v>7.9219999999999997</c:v>
                </c:pt>
                <c:pt idx="242">
                  <c:v>8.0060000000000002</c:v>
                </c:pt>
                <c:pt idx="243">
                  <c:v>7.8319999999999999</c:v>
                </c:pt>
                <c:pt idx="244">
                  <c:v>7.7590000000000003</c:v>
                </c:pt>
                <c:pt idx="245">
                  <c:v>7.7809999999999997</c:v>
                </c:pt>
                <c:pt idx="246">
                  <c:v>7.7960000000000003</c:v>
                </c:pt>
                <c:pt idx="247">
                  <c:v>7.81</c:v>
                </c:pt>
                <c:pt idx="248">
                  <c:v>7.8170000000000002</c:v>
                </c:pt>
                <c:pt idx="249">
                  <c:v>7.7990000000000004</c:v>
                </c:pt>
                <c:pt idx="250">
                  <c:v>7.83</c:v>
                </c:pt>
                <c:pt idx="251">
                  <c:v>7.8360000000000003</c:v>
                </c:pt>
                <c:pt idx="252">
                  <c:v>7.9770000000000003</c:v>
                </c:pt>
                <c:pt idx="253">
                  <c:v>7.9249999999999998</c:v>
                </c:pt>
                <c:pt idx="254">
                  <c:v>7.8220000000000001</c:v>
                </c:pt>
                <c:pt idx="255">
                  <c:v>7.8170000000000002</c:v>
                </c:pt>
                <c:pt idx="256">
                  <c:v>7.79</c:v>
                </c:pt>
                <c:pt idx="257">
                  <c:v>7.7850000000000001</c:v>
                </c:pt>
                <c:pt idx="258">
                  <c:v>7.7809999999999997</c:v>
                </c:pt>
                <c:pt idx="259">
                  <c:v>7.798</c:v>
                </c:pt>
                <c:pt idx="260">
                  <c:v>7.7809999999999997</c:v>
                </c:pt>
                <c:pt idx="261">
                  <c:v>7.6689999999999996</c:v>
                </c:pt>
                <c:pt idx="262">
                  <c:v>7.6660000000000004</c:v>
                </c:pt>
                <c:pt idx="263">
                  <c:v>7.6459999999999999</c:v>
                </c:pt>
                <c:pt idx="264">
                  <c:v>7.61</c:v>
                </c:pt>
                <c:pt idx="265">
                  <c:v>7.5970000000000004</c:v>
                </c:pt>
                <c:pt idx="266">
                  <c:v>7.6130000000000004</c:v>
                </c:pt>
                <c:pt idx="267">
                  <c:v>7.5949999999999998</c:v>
                </c:pt>
                <c:pt idx="268">
                  <c:v>7.6159999999999997</c:v>
                </c:pt>
                <c:pt idx="269">
                  <c:v>7.657</c:v>
                </c:pt>
                <c:pt idx="270">
                  <c:v>7.6950000000000003</c:v>
                </c:pt>
                <c:pt idx="271">
                  <c:v>7.6909999999999998</c:v>
                </c:pt>
                <c:pt idx="272">
                  <c:v>7.7039999999999997</c:v>
                </c:pt>
                <c:pt idx="273">
                  <c:v>7.6740000000000004</c:v>
                </c:pt>
                <c:pt idx="274">
                  <c:v>7.6230000000000002</c:v>
                </c:pt>
                <c:pt idx="275">
                  <c:v>7.609</c:v>
                </c:pt>
                <c:pt idx="276">
                  <c:v>7.601</c:v>
                </c:pt>
                <c:pt idx="277">
                  <c:v>7.609</c:v>
                </c:pt>
                <c:pt idx="278">
                  <c:v>7.5739999999999998</c:v>
                </c:pt>
                <c:pt idx="279">
                  <c:v>7.6390000000000002</c:v>
                </c:pt>
                <c:pt idx="280">
                  <c:v>7.5880000000000001</c:v>
                </c:pt>
                <c:pt idx="281">
                  <c:v>7.585</c:v>
                </c:pt>
                <c:pt idx="282">
                  <c:v>7.62</c:v>
                </c:pt>
                <c:pt idx="283">
                  <c:v>7.5860000000000003</c:v>
                </c:pt>
                <c:pt idx="284">
                  <c:v>7.5540000000000003</c:v>
                </c:pt>
                <c:pt idx="285">
                  <c:v>7.5270000000000001</c:v>
                </c:pt>
                <c:pt idx="286">
                  <c:v>7.4980000000000002</c:v>
                </c:pt>
                <c:pt idx="287">
                  <c:v>7.4939999999999998</c:v>
                </c:pt>
                <c:pt idx="288">
                  <c:v>7.5010000000000003</c:v>
                </c:pt>
                <c:pt idx="289">
                  <c:v>7.5389999999999997</c:v>
                </c:pt>
                <c:pt idx="290">
                  <c:v>7.5359999999999996</c:v>
                </c:pt>
                <c:pt idx="291">
                  <c:v>7.4820000000000002</c:v>
                </c:pt>
                <c:pt idx="292">
                  <c:v>7.45</c:v>
                </c:pt>
                <c:pt idx="293">
                  <c:v>7.4450000000000003</c:v>
                </c:pt>
                <c:pt idx="294">
                  <c:v>7.4539999999999997</c:v>
                </c:pt>
                <c:pt idx="295">
                  <c:v>7.4459999999999997</c:v>
                </c:pt>
                <c:pt idx="296">
                  <c:v>7.4359999999999999</c:v>
                </c:pt>
                <c:pt idx="297">
                  <c:v>7.4420000000000002</c:v>
                </c:pt>
                <c:pt idx="298">
                  <c:v>7.7750000000000004</c:v>
                </c:pt>
                <c:pt idx="299">
                  <c:v>7.8259999999999996</c:v>
                </c:pt>
                <c:pt idx="300">
                  <c:v>7.6959999999999997</c:v>
                </c:pt>
                <c:pt idx="301">
                  <c:v>7.81</c:v>
                </c:pt>
                <c:pt idx="302">
                  <c:v>7.8</c:v>
                </c:pt>
                <c:pt idx="303">
                  <c:v>7.7809999999999997</c:v>
                </c:pt>
                <c:pt idx="304">
                  <c:v>7.7</c:v>
                </c:pt>
                <c:pt idx="305">
                  <c:v>7.6909999999999998</c:v>
                </c:pt>
                <c:pt idx="306">
                  <c:v>7.67</c:v>
                </c:pt>
                <c:pt idx="307">
                  <c:v>7.7290000000000001</c:v>
                </c:pt>
                <c:pt idx="308">
                  <c:v>7.8520000000000003</c:v>
                </c:pt>
                <c:pt idx="309">
                  <c:v>7.8579999999999997</c:v>
                </c:pt>
                <c:pt idx="310">
                  <c:v>7.7960000000000003</c:v>
                </c:pt>
                <c:pt idx="311">
                  <c:v>7.758</c:v>
                </c:pt>
                <c:pt idx="312">
                  <c:v>7.7670000000000003</c:v>
                </c:pt>
                <c:pt idx="313">
                  <c:v>7.7060000000000004</c:v>
                </c:pt>
                <c:pt idx="314">
                  <c:v>7.7359999999999998</c:v>
                </c:pt>
                <c:pt idx="315">
                  <c:v>7.7350000000000003</c:v>
                </c:pt>
                <c:pt idx="316">
                  <c:v>7.7060000000000004</c:v>
                </c:pt>
                <c:pt idx="317">
                  <c:v>7.69</c:v>
                </c:pt>
                <c:pt idx="318">
                  <c:v>7.702</c:v>
                </c:pt>
                <c:pt idx="319">
                  <c:v>7.7380000000000004</c:v>
                </c:pt>
                <c:pt idx="320">
                  <c:v>7.7039999999999997</c:v>
                </c:pt>
                <c:pt idx="321">
                  <c:v>7.6440000000000001</c:v>
                </c:pt>
                <c:pt idx="322">
                  <c:v>7.65</c:v>
                </c:pt>
                <c:pt idx="323">
                  <c:v>7.6340000000000003</c:v>
                </c:pt>
                <c:pt idx="324">
                  <c:v>7.6189999999999998</c:v>
                </c:pt>
                <c:pt idx="325">
                  <c:v>7.593</c:v>
                </c:pt>
                <c:pt idx="326">
                  <c:v>7.5579999999999998</c:v>
                </c:pt>
                <c:pt idx="327">
                  <c:v>7.5679999999999996</c:v>
                </c:pt>
                <c:pt idx="328">
                  <c:v>7.5679999999999996</c:v>
                </c:pt>
                <c:pt idx="329">
                  <c:v>7.6120000000000001</c:v>
                </c:pt>
                <c:pt idx="330">
                  <c:v>7.5170000000000003</c:v>
                </c:pt>
                <c:pt idx="331">
                  <c:v>7.4240000000000004</c:v>
                </c:pt>
                <c:pt idx="332">
                  <c:v>7.4269999999999996</c:v>
                </c:pt>
                <c:pt idx="333">
                  <c:v>7.4740000000000002</c:v>
                </c:pt>
                <c:pt idx="334">
                  <c:v>7.4029999999999996</c:v>
                </c:pt>
                <c:pt idx="335">
                  <c:v>7.3929999999999998</c:v>
                </c:pt>
                <c:pt idx="336">
                  <c:v>7.3490000000000002</c:v>
                </c:pt>
                <c:pt idx="337">
                  <c:v>7.3339999999999996</c:v>
                </c:pt>
                <c:pt idx="338">
                  <c:v>7.3319999999999999</c:v>
                </c:pt>
                <c:pt idx="339">
                  <c:v>7.335</c:v>
                </c:pt>
                <c:pt idx="340">
                  <c:v>7.3319999999999999</c:v>
                </c:pt>
                <c:pt idx="341">
                  <c:v>7.266</c:v>
                </c:pt>
                <c:pt idx="342">
                  <c:v>7.1740000000000004</c:v>
                </c:pt>
                <c:pt idx="343">
                  <c:v>7.0810000000000004</c:v>
                </c:pt>
                <c:pt idx="344">
                  <c:v>6.9989999999999997</c:v>
                </c:pt>
                <c:pt idx="345">
                  <c:v>7.0270000000000001</c:v>
                </c:pt>
                <c:pt idx="346">
                  <c:v>7.1040000000000001</c:v>
                </c:pt>
                <c:pt idx="347">
                  <c:v>7.09</c:v>
                </c:pt>
                <c:pt idx="348">
                  <c:v>7.0860000000000003</c:v>
                </c:pt>
                <c:pt idx="349">
                  <c:v>7.1379999999999999</c:v>
                </c:pt>
                <c:pt idx="350">
                  <c:v>7.0190000000000001</c:v>
                </c:pt>
                <c:pt idx="351">
                  <c:v>7.0170000000000003</c:v>
                </c:pt>
                <c:pt idx="352">
                  <c:v>7.0469999999999997</c:v>
                </c:pt>
                <c:pt idx="353">
                  <c:v>7.03</c:v>
                </c:pt>
                <c:pt idx="354">
                  <c:v>7.0439999999999996</c:v>
                </c:pt>
                <c:pt idx="355">
                  <c:v>7.01</c:v>
                </c:pt>
                <c:pt idx="356">
                  <c:v>7.0439999999999996</c:v>
                </c:pt>
                <c:pt idx="357">
                  <c:v>6.9589999999999996</c:v>
                </c:pt>
                <c:pt idx="358">
                  <c:v>6.9</c:v>
                </c:pt>
                <c:pt idx="359">
                  <c:v>6.915</c:v>
                </c:pt>
                <c:pt idx="360">
                  <c:v>7.0140000000000002</c:v>
                </c:pt>
                <c:pt idx="361">
                  <c:v>6.9409999999999998</c:v>
                </c:pt>
                <c:pt idx="362">
                  <c:v>7.0119999999999996</c:v>
                </c:pt>
                <c:pt idx="363">
                  <c:v>6.9770000000000003</c:v>
                </c:pt>
                <c:pt idx="364">
                  <c:v>6.9290000000000003</c:v>
                </c:pt>
                <c:pt idx="365">
                  <c:v>6.9</c:v>
                </c:pt>
                <c:pt idx="366">
                  <c:v>6.8979999999999997</c:v>
                </c:pt>
                <c:pt idx="367">
                  <c:v>6.8159999999999998</c:v>
                </c:pt>
                <c:pt idx="368">
                  <c:v>6.7949999999999999</c:v>
                </c:pt>
                <c:pt idx="369">
                  <c:v>6.7629999999999999</c:v>
                </c:pt>
                <c:pt idx="370">
                  <c:v>6.78</c:v>
                </c:pt>
                <c:pt idx="371">
                  <c:v>6.8869999999999996</c:v>
                </c:pt>
                <c:pt idx="372">
                  <c:v>6.8470000000000004</c:v>
                </c:pt>
                <c:pt idx="373">
                  <c:v>6.8150000000000004</c:v>
                </c:pt>
                <c:pt idx="374">
                  <c:v>6.8449999999999998</c:v>
                </c:pt>
                <c:pt idx="375">
                  <c:v>6.8129999999999997</c:v>
                </c:pt>
                <c:pt idx="376">
                  <c:v>6.7939999999999996</c:v>
                </c:pt>
                <c:pt idx="377">
                  <c:v>6.6619999999999999</c:v>
                </c:pt>
                <c:pt idx="378">
                  <c:v>6.673</c:v>
                </c:pt>
                <c:pt idx="379">
                  <c:v>6.6349999999999998</c:v>
                </c:pt>
                <c:pt idx="380">
                  <c:v>6.6349999999999998</c:v>
                </c:pt>
                <c:pt idx="381">
                  <c:v>6.6609999999999996</c:v>
                </c:pt>
                <c:pt idx="382">
                  <c:v>6.7060000000000004</c:v>
                </c:pt>
                <c:pt idx="383">
                  <c:v>6.67</c:v>
                </c:pt>
                <c:pt idx="384">
                  <c:v>6.7009999999999996</c:v>
                </c:pt>
                <c:pt idx="385">
                  <c:v>6.8049999999999997</c:v>
                </c:pt>
                <c:pt idx="386">
                  <c:v>6.8650000000000002</c:v>
                </c:pt>
                <c:pt idx="387">
                  <c:v>6.8070000000000004</c:v>
                </c:pt>
                <c:pt idx="388">
                  <c:v>6.8049999999999997</c:v>
                </c:pt>
                <c:pt idx="389">
                  <c:v>6.7930000000000001</c:v>
                </c:pt>
                <c:pt idx="390">
                  <c:v>6.8090000000000002</c:v>
                </c:pt>
                <c:pt idx="391">
                  <c:v>6.9509999999999996</c:v>
                </c:pt>
                <c:pt idx="392">
                  <c:v>6.9279999999999999</c:v>
                </c:pt>
                <c:pt idx="393">
                  <c:v>6.89</c:v>
                </c:pt>
                <c:pt idx="394">
                  <c:v>6.9169999999999998</c:v>
                </c:pt>
                <c:pt idx="395">
                  <c:v>6.9279999999999999</c:v>
                </c:pt>
                <c:pt idx="396">
                  <c:v>6.93</c:v>
                </c:pt>
                <c:pt idx="397">
                  <c:v>6.8840000000000003</c:v>
                </c:pt>
                <c:pt idx="398">
                  <c:v>6.9320000000000004</c:v>
                </c:pt>
                <c:pt idx="399">
                  <c:v>6.9930000000000003</c:v>
                </c:pt>
                <c:pt idx="400">
                  <c:v>6.9850000000000003</c:v>
                </c:pt>
                <c:pt idx="401">
                  <c:v>7.149</c:v>
                </c:pt>
                <c:pt idx="402">
                  <c:v>7.2320000000000002</c:v>
                </c:pt>
                <c:pt idx="403">
                  <c:v>7.2670000000000003</c:v>
                </c:pt>
                <c:pt idx="404">
                  <c:v>7.1989999999999998</c:v>
                </c:pt>
                <c:pt idx="405">
                  <c:v>7.0919999999999996</c:v>
                </c:pt>
                <c:pt idx="406">
                  <c:v>7.2409999999999997</c:v>
                </c:pt>
                <c:pt idx="407">
                  <c:v>7.2309999999999999</c:v>
                </c:pt>
                <c:pt idx="408">
                  <c:v>7.1849999999999996</c:v>
                </c:pt>
                <c:pt idx="409">
                  <c:v>7.1849999999999996</c:v>
                </c:pt>
                <c:pt idx="410">
                  <c:v>7.0590000000000002</c:v>
                </c:pt>
                <c:pt idx="411">
                  <c:v>7.0110000000000001</c:v>
                </c:pt>
                <c:pt idx="412">
                  <c:v>6.9729999999999999</c:v>
                </c:pt>
                <c:pt idx="413">
                  <c:v>6.9820000000000002</c:v>
                </c:pt>
                <c:pt idx="414">
                  <c:v>7.0469999999999997</c:v>
                </c:pt>
                <c:pt idx="415">
                  <c:v>7.1879999999999997</c:v>
                </c:pt>
                <c:pt idx="416">
                  <c:v>7.274</c:v>
                </c:pt>
                <c:pt idx="417">
                  <c:v>7.391</c:v>
                </c:pt>
                <c:pt idx="418">
                  <c:v>7.31</c:v>
                </c:pt>
                <c:pt idx="419">
                  <c:v>7.306</c:v>
                </c:pt>
                <c:pt idx="420">
                  <c:v>7.327</c:v>
                </c:pt>
                <c:pt idx="421">
                  <c:v>7.3129999999999997</c:v>
                </c:pt>
                <c:pt idx="422">
                  <c:v>7.28</c:v>
                </c:pt>
                <c:pt idx="423">
                  <c:v>7.2279999999999998</c:v>
                </c:pt>
                <c:pt idx="424">
                  <c:v>7.25</c:v>
                </c:pt>
                <c:pt idx="425">
                  <c:v>7.2830000000000004</c:v>
                </c:pt>
                <c:pt idx="426">
                  <c:v>7.1139999999999999</c:v>
                </c:pt>
                <c:pt idx="427">
                  <c:v>7.1459999999999999</c:v>
                </c:pt>
                <c:pt idx="428">
                  <c:v>7.0979999999999999</c:v>
                </c:pt>
                <c:pt idx="429">
                  <c:v>7.1360000000000001</c:v>
                </c:pt>
                <c:pt idx="430">
                  <c:v>7.0970000000000004</c:v>
                </c:pt>
                <c:pt idx="431">
                  <c:v>7.0190000000000001</c:v>
                </c:pt>
                <c:pt idx="432">
                  <c:v>6.9939999999999998</c:v>
                </c:pt>
                <c:pt idx="433">
                  <c:v>6.9939999999999998</c:v>
                </c:pt>
                <c:pt idx="434">
                  <c:v>7.0359999999999996</c:v>
                </c:pt>
                <c:pt idx="435">
                  <c:v>7.0789999999999997</c:v>
                </c:pt>
                <c:pt idx="436">
                  <c:v>7.0330000000000004</c:v>
                </c:pt>
                <c:pt idx="437">
                  <c:v>7.1130000000000004</c:v>
                </c:pt>
                <c:pt idx="438">
                  <c:v>7.0069999999999997</c:v>
                </c:pt>
                <c:pt idx="439">
                  <c:v>7.0060000000000002</c:v>
                </c:pt>
                <c:pt idx="440">
                  <c:v>6.9720000000000004</c:v>
                </c:pt>
                <c:pt idx="441">
                  <c:v>6.9939999999999998</c:v>
                </c:pt>
                <c:pt idx="442">
                  <c:v>6.9340000000000002</c:v>
                </c:pt>
                <c:pt idx="443">
                  <c:v>6.8520000000000003</c:v>
                </c:pt>
                <c:pt idx="444">
                  <c:v>6.7880000000000003</c:v>
                </c:pt>
                <c:pt idx="445">
                  <c:v>6.75</c:v>
                </c:pt>
                <c:pt idx="446">
                  <c:v>6.7560000000000002</c:v>
                </c:pt>
                <c:pt idx="447">
                  <c:v>6.7709999999999999</c:v>
                </c:pt>
                <c:pt idx="448">
                  <c:v>6.726</c:v>
                </c:pt>
                <c:pt idx="449">
                  <c:v>6.76</c:v>
                </c:pt>
                <c:pt idx="450">
                  <c:v>6.7880000000000003</c:v>
                </c:pt>
                <c:pt idx="451">
                  <c:v>6.8879999999999999</c:v>
                </c:pt>
                <c:pt idx="452">
                  <c:v>6.952</c:v>
                </c:pt>
                <c:pt idx="453">
                  <c:v>6.9340000000000002</c:v>
                </c:pt>
                <c:pt idx="454">
                  <c:v>6.9829999999999997</c:v>
                </c:pt>
                <c:pt idx="455">
                  <c:v>6.9630000000000001</c:v>
                </c:pt>
                <c:pt idx="456">
                  <c:v>6.91</c:v>
                </c:pt>
                <c:pt idx="457">
                  <c:v>6.9340000000000002</c:v>
                </c:pt>
                <c:pt idx="458">
                  <c:v>6.8760000000000003</c:v>
                </c:pt>
                <c:pt idx="459">
                  <c:v>6.9009999999999998</c:v>
                </c:pt>
                <c:pt idx="460">
                  <c:v>6.8869999999999996</c:v>
                </c:pt>
                <c:pt idx="461">
                  <c:v>6.8789999999999996</c:v>
                </c:pt>
                <c:pt idx="462">
                  <c:v>6.8719999999999999</c:v>
                </c:pt>
                <c:pt idx="463">
                  <c:v>6.9169999999999998</c:v>
                </c:pt>
                <c:pt idx="464">
                  <c:v>6.8769999999999998</c:v>
                </c:pt>
                <c:pt idx="465">
                  <c:v>6.86</c:v>
                </c:pt>
                <c:pt idx="466">
                  <c:v>6.8730000000000002</c:v>
                </c:pt>
                <c:pt idx="467">
                  <c:v>6.8710000000000004</c:v>
                </c:pt>
                <c:pt idx="468">
                  <c:v>6.9489999999999998</c:v>
                </c:pt>
                <c:pt idx="469">
                  <c:v>6.976</c:v>
                </c:pt>
                <c:pt idx="470">
                  <c:v>6.9969999999999999</c:v>
                </c:pt>
                <c:pt idx="471">
                  <c:v>6.9589999999999996</c:v>
                </c:pt>
                <c:pt idx="472">
                  <c:v>6.984</c:v>
                </c:pt>
                <c:pt idx="473">
                  <c:v>6.9329999999999998</c:v>
                </c:pt>
                <c:pt idx="474">
                  <c:v>6.9809999999999999</c:v>
                </c:pt>
                <c:pt idx="475">
                  <c:v>6.9740000000000002</c:v>
                </c:pt>
                <c:pt idx="476">
                  <c:v>6.9809999999999999</c:v>
                </c:pt>
                <c:pt idx="477">
                  <c:v>6.9850000000000003</c:v>
                </c:pt>
                <c:pt idx="478">
                  <c:v>7.0940000000000003</c:v>
                </c:pt>
                <c:pt idx="479">
                  <c:v>7.157</c:v>
                </c:pt>
                <c:pt idx="480">
                  <c:v>7.181</c:v>
                </c:pt>
                <c:pt idx="481">
                  <c:v>7.1429999999999998</c:v>
                </c:pt>
                <c:pt idx="482">
                  <c:v>7.1479999999999997</c:v>
                </c:pt>
                <c:pt idx="483">
                  <c:v>7.16</c:v>
                </c:pt>
                <c:pt idx="484">
                  <c:v>7.0940000000000003</c:v>
                </c:pt>
                <c:pt idx="485">
                  <c:v>7.0919999999999996</c:v>
                </c:pt>
                <c:pt idx="486">
                  <c:v>7.0490000000000004</c:v>
                </c:pt>
                <c:pt idx="487">
                  <c:v>7.0389999999999997</c:v>
                </c:pt>
                <c:pt idx="488">
                  <c:v>7.0720000000000001</c:v>
                </c:pt>
                <c:pt idx="489">
                  <c:v>6.9409999999999998</c:v>
                </c:pt>
                <c:pt idx="490">
                  <c:v>6.9820000000000002</c:v>
                </c:pt>
                <c:pt idx="491">
                  <c:v>7.0209999999999999</c:v>
                </c:pt>
                <c:pt idx="492">
                  <c:v>7.0309999999999997</c:v>
                </c:pt>
                <c:pt idx="493">
                  <c:v>7.0209999999999999</c:v>
                </c:pt>
                <c:pt idx="494">
                  <c:v>7.08</c:v>
                </c:pt>
                <c:pt idx="495">
                  <c:v>7.1159999999999997</c:v>
                </c:pt>
                <c:pt idx="496">
                  <c:v>7.1</c:v>
                </c:pt>
                <c:pt idx="497">
                  <c:v>7.0609999999999999</c:v>
                </c:pt>
                <c:pt idx="498">
                  <c:v>7.0650000000000004</c:v>
                </c:pt>
                <c:pt idx="499">
                  <c:v>7.0330000000000004</c:v>
                </c:pt>
                <c:pt idx="500">
                  <c:v>7.056</c:v>
                </c:pt>
                <c:pt idx="501">
                  <c:v>7.0229999999999997</c:v>
                </c:pt>
                <c:pt idx="502">
                  <c:v>6.9649999999999999</c:v>
                </c:pt>
                <c:pt idx="503">
                  <c:v>6.9359999999999999</c:v>
                </c:pt>
                <c:pt idx="504">
                  <c:v>6.9240000000000004</c:v>
                </c:pt>
                <c:pt idx="505">
                  <c:v>6.8929999999999998</c:v>
                </c:pt>
                <c:pt idx="506">
                  <c:v>6.8860000000000001</c:v>
                </c:pt>
                <c:pt idx="507">
                  <c:v>6.8719999999999999</c:v>
                </c:pt>
                <c:pt idx="508">
                  <c:v>6.8949999999999996</c:v>
                </c:pt>
                <c:pt idx="509">
                  <c:v>6.9130000000000003</c:v>
                </c:pt>
                <c:pt idx="510">
                  <c:v>6.931</c:v>
                </c:pt>
                <c:pt idx="511">
                  <c:v>6.9160000000000004</c:v>
                </c:pt>
                <c:pt idx="512">
                  <c:v>6.899</c:v>
                </c:pt>
                <c:pt idx="513">
                  <c:v>6.8959999999999999</c:v>
                </c:pt>
                <c:pt idx="514">
                  <c:v>6.82</c:v>
                </c:pt>
                <c:pt idx="515">
                  <c:v>6.8280000000000003</c:v>
                </c:pt>
                <c:pt idx="516">
                  <c:v>6.8650000000000002</c:v>
                </c:pt>
                <c:pt idx="517">
                  <c:v>6.8689999999999998</c:v>
                </c:pt>
                <c:pt idx="518">
                  <c:v>6.883</c:v>
                </c:pt>
                <c:pt idx="519">
                  <c:v>6.8890000000000002</c:v>
                </c:pt>
                <c:pt idx="520">
                  <c:v>6.9039999999999999</c:v>
                </c:pt>
                <c:pt idx="521">
                  <c:v>6.9050000000000002</c:v>
                </c:pt>
                <c:pt idx="522">
                  <c:v>6.9009999999999998</c:v>
                </c:pt>
                <c:pt idx="523">
                  <c:v>6.8339999999999996</c:v>
                </c:pt>
                <c:pt idx="524">
                  <c:v>6.859</c:v>
                </c:pt>
                <c:pt idx="525">
                  <c:v>6.8470000000000004</c:v>
                </c:pt>
                <c:pt idx="526">
                  <c:v>6.9109999999999996</c:v>
                </c:pt>
                <c:pt idx="527">
                  <c:v>6.8280000000000003</c:v>
                </c:pt>
                <c:pt idx="528">
                  <c:v>6.8940000000000001</c:v>
                </c:pt>
                <c:pt idx="529">
                  <c:v>6.9109999999999996</c:v>
                </c:pt>
                <c:pt idx="530">
                  <c:v>6.9329999999999998</c:v>
                </c:pt>
                <c:pt idx="531">
                  <c:v>6.944</c:v>
                </c:pt>
                <c:pt idx="532">
                  <c:v>6.9130000000000003</c:v>
                </c:pt>
                <c:pt idx="533">
                  <c:v>6.92</c:v>
                </c:pt>
                <c:pt idx="534">
                  <c:v>6.9189999999999996</c:v>
                </c:pt>
                <c:pt idx="535">
                  <c:v>6.9279999999999999</c:v>
                </c:pt>
                <c:pt idx="536">
                  <c:v>6.9279999999999999</c:v>
                </c:pt>
                <c:pt idx="537">
                  <c:v>6.9059999999999997</c:v>
                </c:pt>
                <c:pt idx="538">
                  <c:v>6.8849999999999998</c:v>
                </c:pt>
                <c:pt idx="539">
                  <c:v>6.8710000000000004</c:v>
                </c:pt>
                <c:pt idx="540">
                  <c:v>6.8659999999999997</c:v>
                </c:pt>
                <c:pt idx="541">
                  <c:v>6.8250000000000002</c:v>
                </c:pt>
                <c:pt idx="542">
                  <c:v>6.8040000000000003</c:v>
                </c:pt>
                <c:pt idx="543">
                  <c:v>6.6829999999999998</c:v>
                </c:pt>
                <c:pt idx="544">
                  <c:v>6.633</c:v>
                </c:pt>
                <c:pt idx="545">
                  <c:v>6.5949999999999998</c:v>
                </c:pt>
                <c:pt idx="546">
                  <c:v>6.625</c:v>
                </c:pt>
                <c:pt idx="547">
                  <c:v>6.59</c:v>
                </c:pt>
                <c:pt idx="548">
                  <c:v>6.51</c:v>
                </c:pt>
                <c:pt idx="549">
                  <c:v>6.5019999999999998</c:v>
                </c:pt>
                <c:pt idx="550">
                  <c:v>6.484</c:v>
                </c:pt>
                <c:pt idx="551">
                  <c:v>6.4269999999999996</c:v>
                </c:pt>
                <c:pt idx="552">
                  <c:v>6.375</c:v>
                </c:pt>
                <c:pt idx="553">
                  <c:v>6.4160000000000004</c:v>
                </c:pt>
                <c:pt idx="554">
                  <c:v>6.4279999999999999</c:v>
                </c:pt>
                <c:pt idx="555">
                  <c:v>6.3940000000000001</c:v>
                </c:pt>
                <c:pt idx="556">
                  <c:v>6.3490000000000002</c:v>
                </c:pt>
                <c:pt idx="557">
                  <c:v>6.3440000000000003</c:v>
                </c:pt>
                <c:pt idx="558">
                  <c:v>6.2830000000000004</c:v>
                </c:pt>
                <c:pt idx="559">
                  <c:v>6.319</c:v>
                </c:pt>
                <c:pt idx="560">
                  <c:v>6.2930000000000001</c:v>
                </c:pt>
                <c:pt idx="561">
                  <c:v>6.27</c:v>
                </c:pt>
                <c:pt idx="562">
                  <c:v>6.3010000000000002</c:v>
                </c:pt>
                <c:pt idx="563">
                  <c:v>6.3090000000000002</c:v>
                </c:pt>
                <c:pt idx="564">
                  <c:v>6.3449999999999998</c:v>
                </c:pt>
                <c:pt idx="565">
                  <c:v>6.2949999999999999</c:v>
                </c:pt>
                <c:pt idx="566">
                  <c:v>6.3680000000000003</c:v>
                </c:pt>
                <c:pt idx="567">
                  <c:v>6.3630000000000004</c:v>
                </c:pt>
                <c:pt idx="568">
                  <c:v>6.3109999999999999</c:v>
                </c:pt>
                <c:pt idx="569">
                  <c:v>6.3369999999999997</c:v>
                </c:pt>
                <c:pt idx="570">
                  <c:v>6.3019999999999996</c:v>
                </c:pt>
                <c:pt idx="571">
                  <c:v>6.3380000000000001</c:v>
                </c:pt>
                <c:pt idx="572">
                  <c:v>6.3730000000000002</c:v>
                </c:pt>
                <c:pt idx="573">
                  <c:v>6.3360000000000003</c:v>
                </c:pt>
                <c:pt idx="574">
                  <c:v>6.3479999999999999</c:v>
                </c:pt>
                <c:pt idx="575">
                  <c:v>6.3440000000000003</c:v>
                </c:pt>
                <c:pt idx="576">
                  <c:v>6.3890000000000002</c:v>
                </c:pt>
                <c:pt idx="577">
                  <c:v>6.367</c:v>
                </c:pt>
                <c:pt idx="578">
                  <c:v>6.3959999999999999</c:v>
                </c:pt>
                <c:pt idx="579">
                  <c:v>6.31</c:v>
                </c:pt>
                <c:pt idx="580">
                  <c:v>6.2649999999999997</c:v>
                </c:pt>
                <c:pt idx="581">
                  <c:v>6.28</c:v>
                </c:pt>
                <c:pt idx="582">
                  <c:v>6.3040000000000003</c:v>
                </c:pt>
                <c:pt idx="583">
                  <c:v>6.2759999999999998</c:v>
                </c:pt>
                <c:pt idx="584">
                  <c:v>6.282</c:v>
                </c:pt>
                <c:pt idx="585">
                  <c:v>6.2320000000000002</c:v>
                </c:pt>
                <c:pt idx="586">
                  <c:v>6.226</c:v>
                </c:pt>
                <c:pt idx="587">
                  <c:v>6.2</c:v>
                </c:pt>
                <c:pt idx="588">
                  <c:v>6.1790000000000003</c:v>
                </c:pt>
                <c:pt idx="589">
                  <c:v>6.2279999999999998</c:v>
                </c:pt>
                <c:pt idx="590">
                  <c:v>6.2359999999999998</c:v>
                </c:pt>
                <c:pt idx="591">
                  <c:v>6.2160000000000002</c:v>
                </c:pt>
                <c:pt idx="592">
                  <c:v>6.2050000000000001</c:v>
                </c:pt>
                <c:pt idx="593">
                  <c:v>6.173</c:v>
                </c:pt>
                <c:pt idx="594">
                  <c:v>6.1829999999999998</c:v>
                </c:pt>
                <c:pt idx="595">
                  <c:v>6.1509999999999998</c:v>
                </c:pt>
                <c:pt idx="596">
                  <c:v>6.0359999999999996</c:v>
                </c:pt>
                <c:pt idx="597">
                  <c:v>6.0129999999999999</c:v>
                </c:pt>
                <c:pt idx="598">
                  <c:v>5.9589999999999996</c:v>
                </c:pt>
                <c:pt idx="599">
                  <c:v>6.0069999999999997</c:v>
                </c:pt>
                <c:pt idx="600">
                  <c:v>6.0629999999999997</c:v>
                </c:pt>
                <c:pt idx="601">
                  <c:v>6.1980000000000004</c:v>
                </c:pt>
                <c:pt idx="602">
                  <c:v>6.0730000000000004</c:v>
                </c:pt>
                <c:pt idx="603">
                  <c:v>6.117</c:v>
                </c:pt>
                <c:pt idx="604">
                  <c:v>6.1959999999999997</c:v>
                </c:pt>
                <c:pt idx="605">
                  <c:v>6.21</c:v>
                </c:pt>
                <c:pt idx="606">
                  <c:v>6.1909999999999998</c:v>
                </c:pt>
                <c:pt idx="607">
                  <c:v>6.1639999999999997</c:v>
                </c:pt>
                <c:pt idx="608">
                  <c:v>6.2080000000000002</c:v>
                </c:pt>
                <c:pt idx="609">
                  <c:v>6.181</c:v>
                </c:pt>
                <c:pt idx="610">
                  <c:v>6.1639999999999997</c:v>
                </c:pt>
                <c:pt idx="611">
                  <c:v>6.133</c:v>
                </c:pt>
                <c:pt idx="612">
                  <c:v>6.1219999999999999</c:v>
                </c:pt>
                <c:pt idx="613">
                  <c:v>6.1180000000000003</c:v>
                </c:pt>
                <c:pt idx="614">
                  <c:v>6.0839999999999996</c:v>
                </c:pt>
                <c:pt idx="615">
                  <c:v>6.0640000000000001</c:v>
                </c:pt>
                <c:pt idx="616">
                  <c:v>6.2409999999999997</c:v>
                </c:pt>
                <c:pt idx="617">
                  <c:v>6.2489999999999997</c:v>
                </c:pt>
                <c:pt idx="618">
                  <c:v>6.2629999999999999</c:v>
                </c:pt>
                <c:pt idx="619">
                  <c:v>6.2770000000000001</c:v>
                </c:pt>
                <c:pt idx="620">
                  <c:v>6.234</c:v>
                </c:pt>
                <c:pt idx="621">
                  <c:v>6.1790000000000003</c:v>
                </c:pt>
                <c:pt idx="622">
                  <c:v>6.173</c:v>
                </c:pt>
                <c:pt idx="623">
                  <c:v>6.0590000000000002</c:v>
                </c:pt>
                <c:pt idx="624">
                  <c:v>6.0049999999999999</c:v>
                </c:pt>
                <c:pt idx="625">
                  <c:v>5.9640000000000004</c:v>
                </c:pt>
                <c:pt idx="626">
                  <c:v>5.8940000000000001</c:v>
                </c:pt>
                <c:pt idx="627">
                  <c:v>5.9189999999999996</c:v>
                </c:pt>
                <c:pt idx="628">
                  <c:v>5.9119999999999999</c:v>
                </c:pt>
                <c:pt idx="629">
                  <c:v>5.9009999999999998</c:v>
                </c:pt>
                <c:pt idx="630">
                  <c:v>5.8819999999999997</c:v>
                </c:pt>
                <c:pt idx="631">
                  <c:v>5.9909999999999997</c:v>
                </c:pt>
                <c:pt idx="632">
                  <c:v>6.0519999999999996</c:v>
                </c:pt>
                <c:pt idx="633">
                  <c:v>6.0510000000000002</c:v>
                </c:pt>
                <c:pt idx="634">
                  <c:v>6.0179999999999998</c:v>
                </c:pt>
                <c:pt idx="635">
                  <c:v>6.0750000000000002</c:v>
                </c:pt>
                <c:pt idx="636">
                  <c:v>6.0679999999999996</c:v>
                </c:pt>
                <c:pt idx="637">
                  <c:v>6.0380000000000003</c:v>
                </c:pt>
                <c:pt idx="638">
                  <c:v>6.0419999999999998</c:v>
                </c:pt>
                <c:pt idx="639">
                  <c:v>6.0449999999999999</c:v>
                </c:pt>
                <c:pt idx="640">
                  <c:v>6.0039999999999996</c:v>
                </c:pt>
                <c:pt idx="641">
                  <c:v>6.016</c:v>
                </c:pt>
                <c:pt idx="642">
                  <c:v>5.976</c:v>
                </c:pt>
                <c:pt idx="643">
                  <c:v>5.9509999999999996</c:v>
                </c:pt>
                <c:pt idx="644">
                  <c:v>5.9279999999999999</c:v>
                </c:pt>
                <c:pt idx="645">
                  <c:v>5.915</c:v>
                </c:pt>
                <c:pt idx="646">
                  <c:v>5.9160000000000004</c:v>
                </c:pt>
                <c:pt idx="647">
                  <c:v>5.8220000000000001</c:v>
                </c:pt>
                <c:pt idx="648">
                  <c:v>5.8209999999999997</c:v>
                </c:pt>
                <c:pt idx="649">
                  <c:v>5.7869999999999999</c:v>
                </c:pt>
                <c:pt idx="650">
                  <c:v>5.8150000000000004</c:v>
                </c:pt>
                <c:pt idx="651">
                  <c:v>5.8479999999999999</c:v>
                </c:pt>
                <c:pt idx="652">
                  <c:v>5.8529999999999998</c:v>
                </c:pt>
                <c:pt idx="653">
                  <c:v>5.8879999999999999</c:v>
                </c:pt>
                <c:pt idx="654">
                  <c:v>5.88</c:v>
                </c:pt>
                <c:pt idx="655">
                  <c:v>5.9279999999999999</c:v>
                </c:pt>
                <c:pt idx="656">
                  <c:v>5.907</c:v>
                </c:pt>
                <c:pt idx="657">
                  <c:v>5.992</c:v>
                </c:pt>
                <c:pt idx="658">
                  <c:v>6.032</c:v>
                </c:pt>
                <c:pt idx="659">
                  <c:v>5.9770000000000003</c:v>
                </c:pt>
                <c:pt idx="660">
                  <c:v>6.0490000000000004</c:v>
                </c:pt>
                <c:pt idx="661">
                  <c:v>6.07</c:v>
                </c:pt>
                <c:pt idx="662">
                  <c:v>6.11</c:v>
                </c:pt>
                <c:pt idx="663">
                  <c:v>6.0659999999999998</c:v>
                </c:pt>
                <c:pt idx="664">
                  <c:v>6.0810000000000004</c:v>
                </c:pt>
                <c:pt idx="665">
                  <c:v>6.0970000000000004</c:v>
                </c:pt>
                <c:pt idx="666">
                  <c:v>6.157</c:v>
                </c:pt>
                <c:pt idx="667">
                  <c:v>6.1589999999999998</c:v>
                </c:pt>
                <c:pt idx="668">
                  <c:v>6.335</c:v>
                </c:pt>
                <c:pt idx="669">
                  <c:v>6.4269999999999996</c:v>
                </c:pt>
                <c:pt idx="670">
                  <c:v>6.4050000000000002</c:v>
                </c:pt>
                <c:pt idx="671">
                  <c:v>6.4459999999999997</c:v>
                </c:pt>
                <c:pt idx="672">
                  <c:v>6.375</c:v>
                </c:pt>
                <c:pt idx="673">
                  <c:v>6.367</c:v>
                </c:pt>
                <c:pt idx="674">
                  <c:v>6.343</c:v>
                </c:pt>
                <c:pt idx="675">
                  <c:v>6.3230000000000004</c:v>
                </c:pt>
                <c:pt idx="676">
                  <c:v>6.2939999999999996</c:v>
                </c:pt>
                <c:pt idx="677">
                  <c:v>6.4269999999999996</c:v>
                </c:pt>
                <c:pt idx="678">
                  <c:v>6.4390000000000001</c:v>
                </c:pt>
                <c:pt idx="679">
                  <c:v>6.4610000000000003</c:v>
                </c:pt>
                <c:pt idx="680">
                  <c:v>6.43</c:v>
                </c:pt>
                <c:pt idx="681">
                  <c:v>6.2750000000000004</c:v>
                </c:pt>
                <c:pt idx="682">
                  <c:v>6.2619999999999996</c:v>
                </c:pt>
                <c:pt idx="683">
                  <c:v>6.2450000000000001</c:v>
                </c:pt>
                <c:pt idx="684">
                  <c:v>6.27</c:v>
                </c:pt>
                <c:pt idx="685">
                  <c:v>6.2990000000000004</c:v>
                </c:pt>
                <c:pt idx="686">
                  <c:v>6.2880000000000003</c:v>
                </c:pt>
                <c:pt idx="687">
                  <c:v>6.1820000000000004</c:v>
                </c:pt>
                <c:pt idx="688">
                  <c:v>6.1890000000000001</c:v>
                </c:pt>
                <c:pt idx="689">
                  <c:v>6.1920000000000002</c:v>
                </c:pt>
                <c:pt idx="690">
                  <c:v>6.226</c:v>
                </c:pt>
                <c:pt idx="691">
                  <c:v>6.36</c:v>
                </c:pt>
                <c:pt idx="692">
                  <c:v>6.3559999999999999</c:v>
                </c:pt>
                <c:pt idx="693">
                  <c:v>6.3319999999999999</c:v>
                </c:pt>
                <c:pt idx="694">
                  <c:v>6.3369999999999997</c:v>
                </c:pt>
                <c:pt idx="695">
                  <c:v>6.3490000000000002</c:v>
                </c:pt>
                <c:pt idx="696">
                  <c:v>6.34</c:v>
                </c:pt>
                <c:pt idx="697">
                  <c:v>6.2569999999999997</c:v>
                </c:pt>
                <c:pt idx="698">
                  <c:v>6.218</c:v>
                </c:pt>
                <c:pt idx="699">
                  <c:v>6.1529999999999996</c:v>
                </c:pt>
                <c:pt idx="700">
                  <c:v>6.1520000000000001</c:v>
                </c:pt>
                <c:pt idx="701">
                  <c:v>6.149</c:v>
                </c:pt>
                <c:pt idx="702">
                  <c:v>6.1479999999999997</c:v>
                </c:pt>
                <c:pt idx="703">
                  <c:v>6.1310000000000002</c:v>
                </c:pt>
                <c:pt idx="704">
                  <c:v>6.0339999999999998</c:v>
                </c:pt>
                <c:pt idx="705">
                  <c:v>6.032</c:v>
                </c:pt>
                <c:pt idx="706">
                  <c:v>5.9950000000000001</c:v>
                </c:pt>
                <c:pt idx="707">
                  <c:v>6.0289999999999999</c:v>
                </c:pt>
                <c:pt idx="708">
                  <c:v>6.0430000000000001</c:v>
                </c:pt>
                <c:pt idx="709">
                  <c:v>6.0679999999999996</c:v>
                </c:pt>
                <c:pt idx="710">
                  <c:v>6.0869999999999997</c:v>
                </c:pt>
                <c:pt idx="711">
                  <c:v>6.1879999999999997</c:v>
                </c:pt>
                <c:pt idx="712">
                  <c:v>6.1630000000000003</c:v>
                </c:pt>
                <c:pt idx="713">
                  <c:v>6.28</c:v>
                </c:pt>
                <c:pt idx="714">
                  <c:v>6.2839999999999998</c:v>
                </c:pt>
                <c:pt idx="715">
                  <c:v>6.2869999999999999</c:v>
                </c:pt>
                <c:pt idx="716">
                  <c:v>6.2809999999999997</c:v>
                </c:pt>
                <c:pt idx="717">
                  <c:v>6.2329999999999997</c:v>
                </c:pt>
                <c:pt idx="718">
                  <c:v>6.2590000000000003</c:v>
                </c:pt>
                <c:pt idx="719">
                  <c:v>6.1420000000000003</c:v>
                </c:pt>
                <c:pt idx="720">
                  <c:v>6.2089999999999996</c:v>
                </c:pt>
                <c:pt idx="721">
                  <c:v>6.181</c:v>
                </c:pt>
                <c:pt idx="722">
                  <c:v>6.2060000000000004</c:v>
                </c:pt>
                <c:pt idx="723">
                  <c:v>6.2060000000000004</c:v>
                </c:pt>
                <c:pt idx="724">
                  <c:v>6.202</c:v>
                </c:pt>
                <c:pt idx="725">
                  <c:v>6.1360000000000001</c:v>
                </c:pt>
                <c:pt idx="726">
                  <c:v>6.0919999999999996</c:v>
                </c:pt>
                <c:pt idx="727">
                  <c:v>6.0090000000000003</c:v>
                </c:pt>
                <c:pt idx="728">
                  <c:v>5.9790000000000001</c:v>
                </c:pt>
                <c:pt idx="729">
                  <c:v>6.0330000000000004</c:v>
                </c:pt>
                <c:pt idx="730">
                  <c:v>6.0460000000000003</c:v>
                </c:pt>
                <c:pt idx="731">
                  <c:v>6.08</c:v>
                </c:pt>
                <c:pt idx="732">
                  <c:v>6.0890000000000004</c:v>
                </c:pt>
                <c:pt idx="733">
                  <c:v>6.0819999999999999</c:v>
                </c:pt>
                <c:pt idx="734">
                  <c:v>6.0250000000000004</c:v>
                </c:pt>
                <c:pt idx="735">
                  <c:v>6.0010000000000003</c:v>
                </c:pt>
                <c:pt idx="736">
                  <c:v>5.968</c:v>
                </c:pt>
                <c:pt idx="737">
                  <c:v>5.9710000000000001</c:v>
                </c:pt>
                <c:pt idx="738">
                  <c:v>6.0030000000000001</c:v>
                </c:pt>
                <c:pt idx="739">
                  <c:v>5.9859999999999998</c:v>
                </c:pt>
                <c:pt idx="740">
                  <c:v>5.9560000000000004</c:v>
                </c:pt>
                <c:pt idx="741">
                  <c:v>5.9290000000000003</c:v>
                </c:pt>
                <c:pt idx="742">
                  <c:v>5.9160000000000004</c:v>
                </c:pt>
                <c:pt idx="743">
                  <c:v>5.8579999999999997</c:v>
                </c:pt>
                <c:pt idx="744">
                  <c:v>5.8609999999999998</c:v>
                </c:pt>
                <c:pt idx="745">
                  <c:v>5.8250000000000002</c:v>
                </c:pt>
                <c:pt idx="746">
                  <c:v>5.8609999999999998</c:v>
                </c:pt>
                <c:pt idx="747">
                  <c:v>5.8570000000000002</c:v>
                </c:pt>
                <c:pt idx="748">
                  <c:v>5.851</c:v>
                </c:pt>
                <c:pt idx="749">
                  <c:v>5.9420000000000002</c:v>
                </c:pt>
                <c:pt idx="750">
                  <c:v>5.9059999999999997</c:v>
                </c:pt>
                <c:pt idx="751">
                  <c:v>5.8710000000000004</c:v>
                </c:pt>
                <c:pt idx="752">
                  <c:v>5.8739999999999997</c:v>
                </c:pt>
                <c:pt idx="753">
                  <c:v>5.835</c:v>
                </c:pt>
                <c:pt idx="754">
                  <c:v>5.8010000000000002</c:v>
                </c:pt>
                <c:pt idx="755">
                  <c:v>5.7759999999999998</c:v>
                </c:pt>
                <c:pt idx="756">
                  <c:v>5.7919999999999998</c:v>
                </c:pt>
                <c:pt idx="757">
                  <c:v>5.8280000000000003</c:v>
                </c:pt>
                <c:pt idx="758">
                  <c:v>5.8170000000000002</c:v>
                </c:pt>
                <c:pt idx="759">
                  <c:v>5.8029999999999999</c:v>
                </c:pt>
                <c:pt idx="760">
                  <c:v>5.7809999999999997</c:v>
                </c:pt>
                <c:pt idx="761">
                  <c:v>5.8019999999999996</c:v>
                </c:pt>
                <c:pt idx="762">
                  <c:v>5.8920000000000003</c:v>
                </c:pt>
                <c:pt idx="763">
                  <c:v>5.9029999999999996</c:v>
                </c:pt>
                <c:pt idx="764">
                  <c:v>6.0110000000000001</c:v>
                </c:pt>
                <c:pt idx="765">
                  <c:v>5.99</c:v>
                </c:pt>
                <c:pt idx="766">
                  <c:v>6.01</c:v>
                </c:pt>
                <c:pt idx="767">
                  <c:v>6.0229999999999997</c:v>
                </c:pt>
                <c:pt idx="768">
                  <c:v>5.9660000000000002</c:v>
                </c:pt>
                <c:pt idx="769">
                  <c:v>5.9589999999999996</c:v>
                </c:pt>
                <c:pt idx="770">
                  <c:v>5.9690000000000003</c:v>
                </c:pt>
                <c:pt idx="771">
                  <c:v>5.9409999999999998</c:v>
                </c:pt>
                <c:pt idx="772">
                  <c:v>5.9409999999999998</c:v>
                </c:pt>
                <c:pt idx="773">
                  <c:v>5.9080000000000004</c:v>
                </c:pt>
                <c:pt idx="774">
                  <c:v>5.8550000000000004</c:v>
                </c:pt>
                <c:pt idx="775">
                  <c:v>5.8849999999999998</c:v>
                </c:pt>
                <c:pt idx="776">
                  <c:v>5.9139999999999997</c:v>
                </c:pt>
                <c:pt idx="777">
                  <c:v>5.9740000000000002</c:v>
                </c:pt>
                <c:pt idx="778">
                  <c:v>5.968</c:v>
                </c:pt>
                <c:pt idx="779">
                  <c:v>5.97</c:v>
                </c:pt>
                <c:pt idx="780">
                  <c:v>5.9829999999999997</c:v>
                </c:pt>
                <c:pt idx="781">
                  <c:v>5.9180000000000001</c:v>
                </c:pt>
                <c:pt idx="782">
                  <c:v>5.97</c:v>
                </c:pt>
                <c:pt idx="783">
                  <c:v>5.9480000000000004</c:v>
                </c:pt>
                <c:pt idx="784">
                  <c:v>5.9480000000000004</c:v>
                </c:pt>
                <c:pt idx="785">
                  <c:v>5.9550000000000001</c:v>
                </c:pt>
                <c:pt idx="786">
                  <c:v>5.9370000000000003</c:v>
                </c:pt>
                <c:pt idx="787">
                  <c:v>5.9420000000000002</c:v>
                </c:pt>
                <c:pt idx="788">
                  <c:v>5.9039999999999999</c:v>
                </c:pt>
                <c:pt idx="789">
                  <c:v>5.8869999999999996</c:v>
                </c:pt>
                <c:pt idx="790">
                  <c:v>5.8860000000000001</c:v>
                </c:pt>
                <c:pt idx="791">
                  <c:v>5.9020000000000001</c:v>
                </c:pt>
                <c:pt idx="792">
                  <c:v>5.8630000000000004</c:v>
                </c:pt>
                <c:pt idx="793">
                  <c:v>5.8579999999999997</c:v>
                </c:pt>
                <c:pt idx="794">
                  <c:v>5.8159999999999998</c:v>
                </c:pt>
                <c:pt idx="795">
                  <c:v>5.782</c:v>
                </c:pt>
                <c:pt idx="796">
                  <c:v>5.7279999999999998</c:v>
                </c:pt>
                <c:pt idx="797">
                  <c:v>5.7359999999999998</c:v>
                </c:pt>
                <c:pt idx="798">
                  <c:v>5.7050000000000001</c:v>
                </c:pt>
                <c:pt idx="799">
                  <c:v>5.7110000000000003</c:v>
                </c:pt>
                <c:pt idx="800">
                  <c:v>5.69</c:v>
                </c:pt>
                <c:pt idx="801">
                  <c:v>5.71</c:v>
                </c:pt>
                <c:pt idx="802">
                  <c:v>5.7050000000000001</c:v>
                </c:pt>
                <c:pt idx="803">
                  <c:v>5.7210000000000001</c:v>
                </c:pt>
                <c:pt idx="804">
                  <c:v>5.7069999999999999</c:v>
                </c:pt>
                <c:pt idx="805">
                  <c:v>5.657</c:v>
                </c:pt>
                <c:pt idx="806">
                  <c:v>5.6429999999999998</c:v>
                </c:pt>
                <c:pt idx="807">
                  <c:v>5.59</c:v>
                </c:pt>
                <c:pt idx="808">
                  <c:v>5.5890000000000004</c:v>
                </c:pt>
                <c:pt idx="809">
                  <c:v>5.6050000000000004</c:v>
                </c:pt>
                <c:pt idx="810">
                  <c:v>5.6369999999999996</c:v>
                </c:pt>
                <c:pt idx="811">
                  <c:v>5.7489999999999997</c:v>
                </c:pt>
                <c:pt idx="812">
                  <c:v>5.79</c:v>
                </c:pt>
                <c:pt idx="813">
                  <c:v>5.77</c:v>
                </c:pt>
                <c:pt idx="814">
                  <c:v>5.72</c:v>
                </c:pt>
                <c:pt idx="815">
                  <c:v>5.79</c:v>
                </c:pt>
                <c:pt idx="816">
                  <c:v>5.86</c:v>
                </c:pt>
                <c:pt idx="817">
                  <c:v>5.87</c:v>
                </c:pt>
                <c:pt idx="818">
                  <c:v>5.8460000000000001</c:v>
                </c:pt>
                <c:pt idx="819">
                  <c:v>5.8639999999999999</c:v>
                </c:pt>
                <c:pt idx="820">
                  <c:v>5.8890000000000002</c:v>
                </c:pt>
                <c:pt idx="821">
                  <c:v>5.8380000000000001</c:v>
                </c:pt>
                <c:pt idx="822">
                  <c:v>5.859</c:v>
                </c:pt>
                <c:pt idx="823">
                  <c:v>5.82</c:v>
                </c:pt>
                <c:pt idx="824">
                  <c:v>5.8250000000000002</c:v>
                </c:pt>
                <c:pt idx="825">
                  <c:v>5.806</c:v>
                </c:pt>
                <c:pt idx="826">
                  <c:v>5.7670000000000003</c:v>
                </c:pt>
                <c:pt idx="827">
                  <c:v>5.7460000000000004</c:v>
                </c:pt>
                <c:pt idx="828">
                  <c:v>5.7969999999999997</c:v>
                </c:pt>
                <c:pt idx="829">
                  <c:v>5.774</c:v>
                </c:pt>
                <c:pt idx="830">
                  <c:v>5.7889999999999997</c:v>
                </c:pt>
                <c:pt idx="831">
                  <c:v>5.8140000000000001</c:v>
                </c:pt>
                <c:pt idx="832">
                  <c:v>5.7709999999999999</c:v>
                </c:pt>
                <c:pt idx="833">
                  <c:v>5.774</c:v>
                </c:pt>
                <c:pt idx="834">
                  <c:v>5.8029999999999999</c:v>
                </c:pt>
                <c:pt idx="835">
                  <c:v>5.8090000000000002</c:v>
                </c:pt>
                <c:pt idx="836">
                  <c:v>5.7460000000000004</c:v>
                </c:pt>
                <c:pt idx="837">
                  <c:v>5.7469999999999999</c:v>
                </c:pt>
                <c:pt idx="838">
                  <c:v>5.742</c:v>
                </c:pt>
                <c:pt idx="839">
                  <c:v>5.6879999999999997</c:v>
                </c:pt>
                <c:pt idx="840">
                  <c:v>5.66</c:v>
                </c:pt>
                <c:pt idx="841">
                  <c:v>5.6790000000000003</c:v>
                </c:pt>
                <c:pt idx="842">
                  <c:v>5.6420000000000003</c:v>
                </c:pt>
                <c:pt idx="843">
                  <c:v>5.6120000000000001</c:v>
                </c:pt>
                <c:pt idx="844">
                  <c:v>5.6340000000000003</c:v>
                </c:pt>
                <c:pt idx="845">
                  <c:v>5.6390000000000002</c:v>
                </c:pt>
                <c:pt idx="846">
                  <c:v>5.5919999999999996</c:v>
                </c:pt>
                <c:pt idx="847">
                  <c:v>5.5819999999999999</c:v>
                </c:pt>
                <c:pt idx="848">
                  <c:v>5.5449999999999999</c:v>
                </c:pt>
                <c:pt idx="849">
                  <c:v>5.5570000000000004</c:v>
                </c:pt>
                <c:pt idx="850">
                  <c:v>5.5279999999999996</c:v>
                </c:pt>
                <c:pt idx="851">
                  <c:v>5.5650000000000004</c:v>
                </c:pt>
                <c:pt idx="852">
                  <c:v>5.5060000000000002</c:v>
                </c:pt>
                <c:pt idx="853">
                  <c:v>5.5279999999999996</c:v>
                </c:pt>
                <c:pt idx="854">
                  <c:v>5.5289999999999999</c:v>
                </c:pt>
                <c:pt idx="855">
                  <c:v>5.44</c:v>
                </c:pt>
                <c:pt idx="856">
                  <c:v>5.399</c:v>
                </c:pt>
                <c:pt idx="857">
                  <c:v>5.399</c:v>
                </c:pt>
                <c:pt idx="858">
                  <c:v>5.4130000000000003</c:v>
                </c:pt>
                <c:pt idx="859">
                  <c:v>5.4459999999999997</c:v>
                </c:pt>
                <c:pt idx="860">
                  <c:v>5.4039999999999999</c:v>
                </c:pt>
                <c:pt idx="861">
                  <c:v>5.3659999999999997</c:v>
                </c:pt>
                <c:pt idx="862">
                  <c:v>5.3680000000000003</c:v>
                </c:pt>
                <c:pt idx="863">
                  <c:v>5.3550000000000004</c:v>
                </c:pt>
                <c:pt idx="864">
                  <c:v>5.3689999999999998</c:v>
                </c:pt>
                <c:pt idx="865">
                  <c:v>5.4749999999999996</c:v>
                </c:pt>
                <c:pt idx="866">
                  <c:v>5.4429999999999996</c:v>
                </c:pt>
                <c:pt idx="867">
                  <c:v>5.3029999999999999</c:v>
                </c:pt>
                <c:pt idx="868">
                  <c:v>5.3159999999999998</c:v>
                </c:pt>
                <c:pt idx="869">
                  <c:v>5.2910000000000004</c:v>
                </c:pt>
                <c:pt idx="870">
                  <c:v>5.2519999999999998</c:v>
                </c:pt>
                <c:pt idx="871">
                  <c:v>5.2060000000000004</c:v>
                </c:pt>
                <c:pt idx="872">
                  <c:v>5.1680000000000001</c:v>
                </c:pt>
                <c:pt idx="873">
                  <c:v>5.1639999999999997</c:v>
                </c:pt>
                <c:pt idx="874">
                  <c:v>5.1689999999999996</c:v>
                </c:pt>
                <c:pt idx="875">
                  <c:v>5.1909999999999998</c:v>
                </c:pt>
                <c:pt idx="876">
                  <c:v>5.1959999999999997</c:v>
                </c:pt>
                <c:pt idx="877">
                  <c:v>5.1920000000000002</c:v>
                </c:pt>
                <c:pt idx="878">
                  <c:v>5.181</c:v>
                </c:pt>
                <c:pt idx="879">
                  <c:v>5.2320000000000002</c:v>
                </c:pt>
                <c:pt idx="880">
                  <c:v>5.2220000000000004</c:v>
                </c:pt>
                <c:pt idx="881">
                  <c:v>5.2380000000000004</c:v>
                </c:pt>
                <c:pt idx="882">
                  <c:v>5.194</c:v>
                </c:pt>
                <c:pt idx="883">
                  <c:v>5.1950000000000003</c:v>
                </c:pt>
                <c:pt idx="884">
                  <c:v>5.21</c:v>
                </c:pt>
                <c:pt idx="885">
                  <c:v>5.1849999999999996</c:v>
                </c:pt>
                <c:pt idx="886">
                  <c:v>5.1619999999999999</c:v>
                </c:pt>
                <c:pt idx="887">
                  <c:v>5.16</c:v>
                </c:pt>
                <c:pt idx="888">
                  <c:v>5.1669999999999998</c:v>
                </c:pt>
                <c:pt idx="889">
                  <c:v>5.22</c:v>
                </c:pt>
                <c:pt idx="890">
                  <c:v>5.2140000000000004</c:v>
                </c:pt>
                <c:pt idx="891">
                  <c:v>5.2030000000000003</c:v>
                </c:pt>
                <c:pt idx="892">
                  <c:v>5.2169999999999996</c:v>
                </c:pt>
                <c:pt idx="893">
                  <c:v>5.18</c:v>
                </c:pt>
                <c:pt idx="894">
                  <c:v>5.1150000000000002</c:v>
                </c:pt>
                <c:pt idx="895">
                  <c:v>5.1020000000000003</c:v>
                </c:pt>
                <c:pt idx="896">
                  <c:v>5.09</c:v>
                </c:pt>
                <c:pt idx="897">
                  <c:v>5.0810000000000004</c:v>
                </c:pt>
                <c:pt idx="898">
                  <c:v>5.0339999999999998</c:v>
                </c:pt>
                <c:pt idx="899">
                  <c:v>5.0510000000000002</c:v>
                </c:pt>
                <c:pt idx="900">
                  <c:v>5.0529999999999999</c:v>
                </c:pt>
                <c:pt idx="901">
                  <c:v>5.07</c:v>
                </c:pt>
                <c:pt idx="902">
                  <c:v>5.05</c:v>
                </c:pt>
                <c:pt idx="903">
                  <c:v>5.0679999999999996</c:v>
                </c:pt>
                <c:pt idx="904">
                  <c:v>5.0380000000000003</c:v>
                </c:pt>
                <c:pt idx="905">
                  <c:v>5.0129999999999999</c:v>
                </c:pt>
                <c:pt idx="906">
                  <c:v>5.04</c:v>
                </c:pt>
                <c:pt idx="907">
                  <c:v>5.0270000000000001</c:v>
                </c:pt>
                <c:pt idx="908">
                  <c:v>5.0629999999999997</c:v>
                </c:pt>
                <c:pt idx="909">
                  <c:v>5.1340000000000003</c:v>
                </c:pt>
                <c:pt idx="910">
                  <c:v>5.1219999999999999</c:v>
                </c:pt>
                <c:pt idx="911">
                  <c:v>5.0819999999999999</c:v>
                </c:pt>
                <c:pt idx="912">
                  <c:v>5.032</c:v>
                </c:pt>
                <c:pt idx="913">
                  <c:v>5.0179999999999998</c:v>
                </c:pt>
                <c:pt idx="914">
                  <c:v>4.9880000000000004</c:v>
                </c:pt>
                <c:pt idx="915">
                  <c:v>4.9489999999999998</c:v>
                </c:pt>
                <c:pt idx="916">
                  <c:v>4.9720000000000004</c:v>
                </c:pt>
                <c:pt idx="917">
                  <c:v>4.96</c:v>
                </c:pt>
                <c:pt idx="918">
                  <c:v>4.9489999999999998</c:v>
                </c:pt>
                <c:pt idx="919">
                  <c:v>4.9400000000000004</c:v>
                </c:pt>
                <c:pt idx="920">
                  <c:v>5.03</c:v>
                </c:pt>
                <c:pt idx="921">
                  <c:v>4.9939999999999998</c:v>
                </c:pt>
                <c:pt idx="922">
                  <c:v>5.0060000000000002</c:v>
                </c:pt>
                <c:pt idx="923">
                  <c:v>4.9790000000000001</c:v>
                </c:pt>
                <c:pt idx="924">
                  <c:v>4.9850000000000003</c:v>
                </c:pt>
                <c:pt idx="925">
                  <c:v>4.9930000000000003</c:v>
                </c:pt>
                <c:pt idx="926">
                  <c:v>5.01</c:v>
                </c:pt>
                <c:pt idx="927">
                  <c:v>5.0419999999999998</c:v>
                </c:pt>
                <c:pt idx="928">
                  <c:v>5.0449999999999999</c:v>
                </c:pt>
                <c:pt idx="929">
                  <c:v>5.0549999999999997</c:v>
                </c:pt>
                <c:pt idx="930">
                  <c:v>5.03</c:v>
                </c:pt>
                <c:pt idx="931">
                  <c:v>4.9589999999999996</c:v>
                </c:pt>
                <c:pt idx="932">
                  <c:v>4.9770000000000003</c:v>
                </c:pt>
                <c:pt idx="933">
                  <c:v>4.9740000000000002</c:v>
                </c:pt>
                <c:pt idx="934">
                  <c:v>4.9800000000000004</c:v>
                </c:pt>
                <c:pt idx="935">
                  <c:v>4.9859999999999998</c:v>
                </c:pt>
                <c:pt idx="936">
                  <c:v>4.992</c:v>
                </c:pt>
                <c:pt idx="937">
                  <c:v>4.9889999999999999</c:v>
                </c:pt>
                <c:pt idx="938">
                  <c:v>4.9809999999999999</c:v>
                </c:pt>
                <c:pt idx="939">
                  <c:v>5.0030000000000001</c:v>
                </c:pt>
                <c:pt idx="940">
                  <c:v>5.0140000000000002</c:v>
                </c:pt>
                <c:pt idx="941">
                  <c:v>5.0549999999999997</c:v>
                </c:pt>
                <c:pt idx="942">
                  <c:v>5.0460000000000003</c:v>
                </c:pt>
                <c:pt idx="943">
                  <c:v>5.05</c:v>
                </c:pt>
                <c:pt idx="944">
                  <c:v>5.1379999999999999</c:v>
                </c:pt>
                <c:pt idx="945">
                  <c:v>5.15</c:v>
                </c:pt>
                <c:pt idx="946">
                  <c:v>5.1630000000000003</c:v>
                </c:pt>
                <c:pt idx="947">
                  <c:v>5.0999999999999996</c:v>
                </c:pt>
                <c:pt idx="948">
                  <c:v>5.0609999999999999</c:v>
                </c:pt>
                <c:pt idx="949">
                  <c:v>5.0890000000000004</c:v>
                </c:pt>
                <c:pt idx="950">
                  <c:v>5.0999999999999996</c:v>
                </c:pt>
                <c:pt idx="951">
                  <c:v>5.1130000000000004</c:v>
                </c:pt>
                <c:pt idx="952">
                  <c:v>5.0780000000000003</c:v>
                </c:pt>
                <c:pt idx="953">
                  <c:v>5.0910000000000002</c:v>
                </c:pt>
                <c:pt idx="954">
                  <c:v>5.1479999999999997</c:v>
                </c:pt>
                <c:pt idx="955">
                  <c:v>5.1079999999999997</c:v>
                </c:pt>
                <c:pt idx="956">
                  <c:v>5.101</c:v>
                </c:pt>
                <c:pt idx="957">
                  <c:v>5.1180000000000003</c:v>
                </c:pt>
                <c:pt idx="958">
                  <c:v>5.1059999999999999</c:v>
                </c:pt>
                <c:pt idx="959">
                  <c:v>5.0880000000000001</c:v>
                </c:pt>
                <c:pt idx="960">
                  <c:v>5.0439999999999996</c:v>
                </c:pt>
                <c:pt idx="961">
                  <c:v>5.0529999999999999</c:v>
                </c:pt>
                <c:pt idx="962">
                  <c:v>5.0359999999999996</c:v>
                </c:pt>
                <c:pt idx="963">
                  <c:v>5.0229999999999997</c:v>
                </c:pt>
                <c:pt idx="964">
                  <c:v>4.9880000000000004</c:v>
                </c:pt>
                <c:pt idx="965">
                  <c:v>4.9850000000000003</c:v>
                </c:pt>
                <c:pt idx="966">
                  <c:v>5</c:v>
                </c:pt>
                <c:pt idx="967">
                  <c:v>4.968</c:v>
                </c:pt>
                <c:pt idx="968">
                  <c:v>4.9269999999999996</c:v>
                </c:pt>
                <c:pt idx="969">
                  <c:v>4.952</c:v>
                </c:pt>
                <c:pt idx="970">
                  <c:v>4.9610000000000003</c:v>
                </c:pt>
                <c:pt idx="971">
                  <c:v>4.9710000000000001</c:v>
                </c:pt>
                <c:pt idx="972">
                  <c:v>4.9560000000000004</c:v>
                </c:pt>
                <c:pt idx="973">
                  <c:v>4.9480000000000004</c:v>
                </c:pt>
                <c:pt idx="974">
                  <c:v>4.9630000000000001</c:v>
                </c:pt>
                <c:pt idx="975">
                  <c:v>4.9180000000000001</c:v>
                </c:pt>
                <c:pt idx="976">
                  <c:v>4.8710000000000004</c:v>
                </c:pt>
                <c:pt idx="977">
                  <c:v>4.8719999999999999</c:v>
                </c:pt>
                <c:pt idx="978">
                  <c:v>4.851</c:v>
                </c:pt>
                <c:pt idx="979">
                  <c:v>4.883</c:v>
                </c:pt>
                <c:pt idx="980">
                  <c:v>4.9210000000000003</c:v>
                </c:pt>
                <c:pt idx="981">
                  <c:v>4.9020000000000001</c:v>
                </c:pt>
                <c:pt idx="982">
                  <c:v>4.9210000000000003</c:v>
                </c:pt>
                <c:pt idx="983">
                  <c:v>4.8789999999999996</c:v>
                </c:pt>
                <c:pt idx="984">
                  <c:v>4.8689999999999998</c:v>
                </c:pt>
                <c:pt idx="985">
                  <c:v>4.8609999999999998</c:v>
                </c:pt>
                <c:pt idx="986">
                  <c:v>4.8760000000000003</c:v>
                </c:pt>
                <c:pt idx="987">
                  <c:v>4.8689999999999998</c:v>
                </c:pt>
                <c:pt idx="988">
                  <c:v>4.8659999999999997</c:v>
                </c:pt>
                <c:pt idx="989">
                  <c:v>4.8780000000000001</c:v>
                </c:pt>
                <c:pt idx="990">
                  <c:v>4.8810000000000002</c:v>
                </c:pt>
                <c:pt idx="991">
                  <c:v>4.8410000000000002</c:v>
                </c:pt>
                <c:pt idx="992">
                  <c:v>4.8419999999999996</c:v>
                </c:pt>
                <c:pt idx="993">
                  <c:v>4.8170000000000002</c:v>
                </c:pt>
                <c:pt idx="994">
                  <c:v>4.8259999999999996</c:v>
                </c:pt>
                <c:pt idx="995">
                  <c:v>4.8360000000000003</c:v>
                </c:pt>
                <c:pt idx="996">
                  <c:v>4.8289999999999997</c:v>
                </c:pt>
                <c:pt idx="997">
                  <c:v>4.8090000000000002</c:v>
                </c:pt>
                <c:pt idx="998">
                  <c:v>4.8419999999999996</c:v>
                </c:pt>
                <c:pt idx="999">
                  <c:v>4.8479999999999999</c:v>
                </c:pt>
                <c:pt idx="1000">
                  <c:v>4.8369999999999997</c:v>
                </c:pt>
                <c:pt idx="1001">
                  <c:v>4.835</c:v>
                </c:pt>
                <c:pt idx="1002">
                  <c:v>4.843</c:v>
                </c:pt>
                <c:pt idx="1003">
                  <c:v>4.8319999999999999</c:v>
                </c:pt>
                <c:pt idx="1004">
                  <c:v>4.7939999999999996</c:v>
                </c:pt>
                <c:pt idx="1005">
                  <c:v>4.8019999999999996</c:v>
                </c:pt>
                <c:pt idx="1006">
                  <c:v>4.8049999999999997</c:v>
                </c:pt>
                <c:pt idx="1007">
                  <c:v>4.7939999999999996</c:v>
                </c:pt>
                <c:pt idx="1008">
                  <c:v>4.7869999999999999</c:v>
                </c:pt>
                <c:pt idx="1009">
                  <c:v>4.7830000000000004</c:v>
                </c:pt>
                <c:pt idx="1010">
                  <c:v>4.7850000000000001</c:v>
                </c:pt>
                <c:pt idx="1011">
                  <c:v>4.7880000000000003</c:v>
                </c:pt>
                <c:pt idx="1012">
                  <c:v>4.78</c:v>
                </c:pt>
                <c:pt idx="1013">
                  <c:v>4.766</c:v>
                </c:pt>
                <c:pt idx="1014">
                  <c:v>4.7370000000000001</c:v>
                </c:pt>
                <c:pt idx="1015">
                  <c:v>4.7309999999999999</c:v>
                </c:pt>
                <c:pt idx="1016">
                  <c:v>4.7290000000000001</c:v>
                </c:pt>
                <c:pt idx="1017">
                  <c:v>4.6859999999999999</c:v>
                </c:pt>
                <c:pt idx="1018">
                  <c:v>4.6550000000000002</c:v>
                </c:pt>
                <c:pt idx="1019">
                  <c:v>4.6020000000000003</c:v>
                </c:pt>
                <c:pt idx="1020">
                  <c:v>4.6390000000000002</c:v>
                </c:pt>
                <c:pt idx="1021">
                  <c:v>4.6369999999999996</c:v>
                </c:pt>
                <c:pt idx="1022">
                  <c:v>4.6210000000000004</c:v>
                </c:pt>
                <c:pt idx="1023">
                  <c:v>4.5890000000000004</c:v>
                </c:pt>
                <c:pt idx="1024">
                  <c:v>4.5949999999999998</c:v>
                </c:pt>
                <c:pt idx="1025">
                  <c:v>4.6020000000000003</c:v>
                </c:pt>
                <c:pt idx="1026">
                  <c:v>4.5199999999999996</c:v>
                </c:pt>
                <c:pt idx="1027">
                  <c:v>4.4119999999999999</c:v>
                </c:pt>
                <c:pt idx="1028">
                  <c:v>4.4530000000000003</c:v>
                </c:pt>
                <c:pt idx="1029">
                  <c:v>4.3620000000000001</c:v>
                </c:pt>
                <c:pt idx="1030">
                  <c:v>4.4240000000000004</c:v>
                </c:pt>
                <c:pt idx="1031">
                  <c:v>4.3550000000000004</c:v>
                </c:pt>
                <c:pt idx="1032">
                  <c:v>4.3520000000000003</c:v>
                </c:pt>
                <c:pt idx="1033">
                  <c:v>4.38</c:v>
                </c:pt>
                <c:pt idx="1034">
                  <c:v>4.431</c:v>
                </c:pt>
                <c:pt idx="1035">
                  <c:v>4.4329999999999998</c:v>
                </c:pt>
                <c:pt idx="1036">
                  <c:v>4.415</c:v>
                </c:pt>
                <c:pt idx="1037">
                  <c:v>4.4210000000000003</c:v>
                </c:pt>
                <c:pt idx="1038">
                  <c:v>4.42</c:v>
                </c:pt>
                <c:pt idx="1039">
                  <c:v>4.4340000000000002</c:v>
                </c:pt>
                <c:pt idx="1040">
                  <c:v>4.335</c:v>
                </c:pt>
                <c:pt idx="1041">
                  <c:v>4.2370000000000001</c:v>
                </c:pt>
                <c:pt idx="1042">
                  <c:v>4.2229999999999999</c:v>
                </c:pt>
                <c:pt idx="1043">
                  <c:v>4.2560000000000002</c:v>
                </c:pt>
                <c:pt idx="1044">
                  <c:v>4.2140000000000004</c:v>
                </c:pt>
                <c:pt idx="1045">
                  <c:v>4.2249999999999996</c:v>
                </c:pt>
                <c:pt idx="1046">
                  <c:v>4.1479999999999997</c:v>
                </c:pt>
                <c:pt idx="1047">
                  <c:v>4.165</c:v>
                </c:pt>
                <c:pt idx="1048">
                  <c:v>4.0979999999999999</c:v>
                </c:pt>
                <c:pt idx="1049">
                  <c:v>4.1429999999999998</c:v>
                </c:pt>
                <c:pt idx="1050">
                  <c:v>4.1849999999999996</c:v>
                </c:pt>
                <c:pt idx="1051">
                  <c:v>4.1689999999999996</c:v>
                </c:pt>
                <c:pt idx="1052">
                  <c:v>4.1509999999999998</c:v>
                </c:pt>
                <c:pt idx="1053">
                  <c:v>4.1470000000000002</c:v>
                </c:pt>
                <c:pt idx="1054">
                  <c:v>4.1360000000000001</c:v>
                </c:pt>
                <c:pt idx="1055">
                  <c:v>4.0579999999999998</c:v>
                </c:pt>
                <c:pt idx="1056">
                  <c:v>3.996</c:v>
                </c:pt>
                <c:pt idx="1057">
                  <c:v>4.01</c:v>
                </c:pt>
                <c:pt idx="1058">
                  <c:v>3.972</c:v>
                </c:pt>
                <c:pt idx="1059">
                  <c:v>3.9990000000000001</c:v>
                </c:pt>
                <c:pt idx="1060">
                  <c:v>4.0439999999999996</c:v>
                </c:pt>
                <c:pt idx="1061">
                  <c:v>4.2380000000000004</c:v>
                </c:pt>
                <c:pt idx="1062">
                  <c:v>4.4550000000000001</c:v>
                </c:pt>
                <c:pt idx="1063">
                  <c:v>4.452</c:v>
                </c:pt>
                <c:pt idx="1064">
                  <c:v>4.367</c:v>
                </c:pt>
                <c:pt idx="1065">
                  <c:v>4.3129999999999997</c:v>
                </c:pt>
                <c:pt idx="1066">
                  <c:v>4.226</c:v>
                </c:pt>
                <c:pt idx="1067">
                  <c:v>4.2519999999999998</c:v>
                </c:pt>
                <c:pt idx="1068">
                  <c:v>4.2329999999999997</c:v>
                </c:pt>
                <c:pt idx="1069">
                  <c:v>4.2530000000000001</c:v>
                </c:pt>
                <c:pt idx="1070">
                  <c:v>4.2469999999999999</c:v>
                </c:pt>
                <c:pt idx="1071">
                  <c:v>4.2320000000000002</c:v>
                </c:pt>
                <c:pt idx="1072">
                  <c:v>4.242</c:v>
                </c:pt>
                <c:pt idx="1073">
                  <c:v>4.2889999999999997</c:v>
                </c:pt>
                <c:pt idx="1074">
                  <c:v>4.2430000000000003</c:v>
                </c:pt>
                <c:pt idx="1075">
                  <c:v>4.24</c:v>
                </c:pt>
                <c:pt idx="1076">
                  <c:v>4.2560000000000002</c:v>
                </c:pt>
                <c:pt idx="1077">
                  <c:v>4.2670000000000003</c:v>
                </c:pt>
                <c:pt idx="1078">
                  <c:v>4.3010000000000002</c:v>
                </c:pt>
                <c:pt idx="1079">
                  <c:v>4.2560000000000002</c:v>
                </c:pt>
                <c:pt idx="1080">
                  <c:v>4.2759999999999998</c:v>
                </c:pt>
                <c:pt idx="1081">
                  <c:v>4.2729999999999997</c:v>
                </c:pt>
                <c:pt idx="1082">
                  <c:v>4.3040000000000003</c:v>
                </c:pt>
                <c:pt idx="1083">
                  <c:v>4.2969999999999997</c:v>
                </c:pt>
                <c:pt idx="1084">
                  <c:v>4.29</c:v>
                </c:pt>
                <c:pt idx="1085">
                  <c:v>4.3390000000000004</c:v>
                </c:pt>
                <c:pt idx="1086">
                  <c:v>4.2939999999999996</c:v>
                </c:pt>
                <c:pt idx="1087">
                  <c:v>4.2910000000000004</c:v>
                </c:pt>
                <c:pt idx="1088">
                  <c:v>4.327</c:v>
                </c:pt>
                <c:pt idx="1089">
                  <c:v>4.3010000000000002</c:v>
                </c:pt>
                <c:pt idx="1090">
                  <c:v>4.2270000000000003</c:v>
                </c:pt>
                <c:pt idx="1091">
                  <c:v>4.1950000000000003</c:v>
                </c:pt>
                <c:pt idx="1092">
                  <c:v>4.1840000000000002</c:v>
                </c:pt>
                <c:pt idx="1093">
                  <c:v>4.1660000000000004</c:v>
                </c:pt>
                <c:pt idx="1094">
                  <c:v>4.1719999999999997</c:v>
                </c:pt>
                <c:pt idx="1095">
                  <c:v>4.1849999999999996</c:v>
                </c:pt>
                <c:pt idx="1096">
                  <c:v>4.1520000000000001</c:v>
                </c:pt>
                <c:pt idx="1097">
                  <c:v>4.1319999999999997</c:v>
                </c:pt>
                <c:pt idx="1098">
                  <c:v>4.1100000000000003</c:v>
                </c:pt>
                <c:pt idx="1099">
                  <c:v>4.0679999999999996</c:v>
                </c:pt>
                <c:pt idx="1100">
                  <c:v>4.0419999999999998</c:v>
                </c:pt>
                <c:pt idx="1101">
                  <c:v>4.0720000000000001</c:v>
                </c:pt>
                <c:pt idx="1102">
                  <c:v>4.0369999999999999</c:v>
                </c:pt>
                <c:pt idx="1103">
                  <c:v>4.0229999999999997</c:v>
                </c:pt>
                <c:pt idx="1104">
                  <c:v>3.9910000000000001</c:v>
                </c:pt>
                <c:pt idx="1105">
                  <c:v>3.923</c:v>
                </c:pt>
                <c:pt idx="1106">
                  <c:v>3.9020000000000001</c:v>
                </c:pt>
                <c:pt idx="1107">
                  <c:v>3.91</c:v>
                </c:pt>
                <c:pt idx="1108">
                  <c:v>3.923</c:v>
                </c:pt>
                <c:pt idx="1109">
                  <c:v>3.9289999999999998</c:v>
                </c:pt>
                <c:pt idx="1110">
                  <c:v>3.9540000000000002</c:v>
                </c:pt>
                <c:pt idx="1111">
                  <c:v>3.9359999999999999</c:v>
                </c:pt>
                <c:pt idx="1112">
                  <c:v>3.891</c:v>
                </c:pt>
                <c:pt idx="1113">
                  <c:v>3.9409999999999998</c:v>
                </c:pt>
                <c:pt idx="1114">
                  <c:v>3.9889999999999999</c:v>
                </c:pt>
                <c:pt idx="1115">
                  <c:v>3.9780000000000002</c:v>
                </c:pt>
                <c:pt idx="1116">
                  <c:v>4.0110000000000001</c:v>
                </c:pt>
                <c:pt idx="1117">
                  <c:v>3.9809999999999999</c:v>
                </c:pt>
                <c:pt idx="1118">
                  <c:v>3.9340000000000002</c:v>
                </c:pt>
                <c:pt idx="1119">
                  <c:v>3.786</c:v>
                </c:pt>
                <c:pt idx="1120">
                  <c:v>3.794</c:v>
                </c:pt>
                <c:pt idx="1121">
                  <c:v>3.7759999999999998</c:v>
                </c:pt>
                <c:pt idx="1122">
                  <c:v>3.7919999999999998</c:v>
                </c:pt>
                <c:pt idx="1123">
                  <c:v>3.7650000000000001</c:v>
                </c:pt>
                <c:pt idx="1124">
                  <c:v>3.8359999999999999</c:v>
                </c:pt>
                <c:pt idx="1125">
                  <c:v>3.8149999999999999</c:v>
                </c:pt>
                <c:pt idx="1126">
                  <c:v>3.7069999999999999</c:v>
                </c:pt>
                <c:pt idx="1127">
                  <c:v>3.6779999999999999</c:v>
                </c:pt>
                <c:pt idx="1128">
                  <c:v>3.694</c:v>
                </c:pt>
                <c:pt idx="1129">
                  <c:v>3.6720000000000002</c:v>
                </c:pt>
                <c:pt idx="1130">
                  <c:v>3.661</c:v>
                </c:pt>
                <c:pt idx="1131">
                  <c:v>3.69</c:v>
                </c:pt>
                <c:pt idx="1132">
                  <c:v>3.6619999999999999</c:v>
                </c:pt>
                <c:pt idx="1133">
                  <c:v>3.6379999999999999</c:v>
                </c:pt>
                <c:pt idx="1134">
                  <c:v>3.6389999999999998</c:v>
                </c:pt>
                <c:pt idx="1135">
                  <c:v>3.64</c:v>
                </c:pt>
                <c:pt idx="1136">
                  <c:v>3.64</c:v>
                </c:pt>
                <c:pt idx="1137">
                  <c:v>3.641</c:v>
                </c:pt>
                <c:pt idx="1138">
                  <c:v>3.6320000000000001</c:v>
                </c:pt>
                <c:pt idx="1139">
                  <c:v>3.673</c:v>
                </c:pt>
                <c:pt idx="1140">
                  <c:v>3.6890000000000001</c:v>
                </c:pt>
                <c:pt idx="1141">
                  <c:v>3.7269999999999999</c:v>
                </c:pt>
                <c:pt idx="1142">
                  <c:v>3.8090000000000002</c:v>
                </c:pt>
                <c:pt idx="1143">
                  <c:v>3.7810000000000001</c:v>
                </c:pt>
                <c:pt idx="1144">
                  <c:v>3.8380000000000001</c:v>
                </c:pt>
                <c:pt idx="1145">
                  <c:v>3.7930000000000001</c:v>
                </c:pt>
                <c:pt idx="1146">
                  <c:v>3.794</c:v>
                </c:pt>
                <c:pt idx="1147">
                  <c:v>3.778</c:v>
                </c:pt>
                <c:pt idx="1148">
                  <c:v>3.839</c:v>
                </c:pt>
                <c:pt idx="1149">
                  <c:v>3.9119999999999999</c:v>
                </c:pt>
                <c:pt idx="1150">
                  <c:v>3.9140000000000001</c:v>
                </c:pt>
                <c:pt idx="1151">
                  <c:v>3.8969999999999998</c:v>
                </c:pt>
                <c:pt idx="1152">
                  <c:v>3.923</c:v>
                </c:pt>
                <c:pt idx="1153">
                  <c:v>3.9</c:v>
                </c:pt>
                <c:pt idx="1154">
                  <c:v>3.883</c:v>
                </c:pt>
                <c:pt idx="1155">
                  <c:v>3.86</c:v>
                </c:pt>
                <c:pt idx="1156">
                  <c:v>3.8769999999999998</c:v>
                </c:pt>
                <c:pt idx="1157">
                  <c:v>3.9540000000000002</c:v>
                </c:pt>
                <c:pt idx="1158">
                  <c:v>4.0110000000000001</c:v>
                </c:pt>
                <c:pt idx="1159">
                  <c:v>4.0970000000000004</c:v>
                </c:pt>
                <c:pt idx="1160">
                  <c:v>4.08</c:v>
                </c:pt>
                <c:pt idx="1161">
                  <c:v>4.1310000000000002</c:v>
                </c:pt>
                <c:pt idx="1162">
                  <c:v>4.1760000000000002</c:v>
                </c:pt>
                <c:pt idx="1163">
                  <c:v>4.0119999999999996</c:v>
                </c:pt>
                <c:pt idx="1164">
                  <c:v>4.0609999999999999</c:v>
                </c:pt>
                <c:pt idx="1165">
                  <c:v>4.1070000000000002</c:v>
                </c:pt>
                <c:pt idx="1166">
                  <c:v>4.0830000000000002</c:v>
                </c:pt>
                <c:pt idx="1167">
                  <c:v>4.0190000000000001</c:v>
                </c:pt>
                <c:pt idx="1168">
                  <c:v>4.0279999999999996</c:v>
                </c:pt>
                <c:pt idx="1169">
                  <c:v>4.0190000000000001</c:v>
                </c:pt>
                <c:pt idx="1170">
                  <c:v>3.9820000000000002</c:v>
                </c:pt>
                <c:pt idx="1171">
                  <c:v>3.9420000000000002</c:v>
                </c:pt>
                <c:pt idx="1172">
                  <c:v>3.9180000000000001</c:v>
                </c:pt>
                <c:pt idx="1173">
                  <c:v>3.9249999999999998</c:v>
                </c:pt>
                <c:pt idx="1174">
                  <c:v>3.972</c:v>
                </c:pt>
                <c:pt idx="1175">
                  <c:v>4</c:v>
                </c:pt>
                <c:pt idx="1176">
                  <c:v>3.9950000000000001</c:v>
                </c:pt>
                <c:pt idx="1177">
                  <c:v>3.9769999999999999</c:v>
                </c:pt>
                <c:pt idx="1178">
                  <c:v>4.0510000000000002</c:v>
                </c:pt>
                <c:pt idx="1179">
                  <c:v>4.05</c:v>
                </c:pt>
                <c:pt idx="1180">
                  <c:v>4.0369999999999999</c:v>
                </c:pt>
                <c:pt idx="1181">
                  <c:v>3.9980000000000002</c:v>
                </c:pt>
                <c:pt idx="1182">
                  <c:v>3.9969999999999999</c:v>
                </c:pt>
                <c:pt idx="1183">
                  <c:v>3.9990000000000001</c:v>
                </c:pt>
                <c:pt idx="1184">
                  <c:v>4.0119999999999996</c:v>
                </c:pt>
                <c:pt idx="1185">
                  <c:v>3.911</c:v>
                </c:pt>
                <c:pt idx="1186">
                  <c:v>3.8940000000000001</c:v>
                </c:pt>
                <c:pt idx="1187">
                  <c:v>3.8969999999999998</c:v>
                </c:pt>
                <c:pt idx="1188">
                  <c:v>3.8279999999999998</c:v>
                </c:pt>
                <c:pt idx="1189">
                  <c:v>3.7890000000000001</c:v>
                </c:pt>
                <c:pt idx="1190">
                  <c:v>3.8359999999999999</c:v>
                </c:pt>
                <c:pt idx="1191">
                  <c:v>3.8239999999999998</c:v>
                </c:pt>
                <c:pt idx="1192">
                  <c:v>3.8660000000000001</c:v>
                </c:pt>
                <c:pt idx="1193">
                  <c:v>3.871</c:v>
                </c:pt>
                <c:pt idx="1194">
                  <c:v>3.8769999999999998</c:v>
                </c:pt>
                <c:pt idx="1195">
                  <c:v>3.8370000000000002</c:v>
                </c:pt>
                <c:pt idx="1196">
                  <c:v>3.8380000000000001</c:v>
                </c:pt>
                <c:pt idx="1197">
                  <c:v>3.8519999999999999</c:v>
                </c:pt>
                <c:pt idx="1198">
                  <c:v>3.8530000000000002</c:v>
                </c:pt>
                <c:pt idx="1199">
                  <c:v>3.8839999999999999</c:v>
                </c:pt>
                <c:pt idx="1200">
                  <c:v>3.8540000000000001</c:v>
                </c:pt>
                <c:pt idx="1201">
                  <c:v>3.8740000000000001</c:v>
                </c:pt>
                <c:pt idx="1202">
                  <c:v>3.8380000000000001</c:v>
                </c:pt>
                <c:pt idx="1203">
                  <c:v>3.8679999999999999</c:v>
                </c:pt>
                <c:pt idx="1204">
                  <c:v>3.891</c:v>
                </c:pt>
                <c:pt idx="1205">
                  <c:v>3.9420000000000002</c:v>
                </c:pt>
                <c:pt idx="1206">
                  <c:v>3.96</c:v>
                </c:pt>
                <c:pt idx="1207">
                  <c:v>4.0140000000000002</c:v>
                </c:pt>
                <c:pt idx="1208">
                  <c:v>3.9990000000000001</c:v>
                </c:pt>
                <c:pt idx="1209">
                  <c:v>4.0430000000000001</c:v>
                </c:pt>
                <c:pt idx="1210">
                  <c:v>4.0570000000000004</c:v>
                </c:pt>
                <c:pt idx="1211">
                  <c:v>4.0590000000000002</c:v>
                </c:pt>
                <c:pt idx="1212">
                  <c:v>4.0449999999999999</c:v>
                </c:pt>
                <c:pt idx="1213">
                  <c:v>4.1509999999999998</c:v>
                </c:pt>
                <c:pt idx="1214">
                  <c:v>4.1470000000000002</c:v>
                </c:pt>
                <c:pt idx="1215">
                  <c:v>4.1120000000000001</c:v>
                </c:pt>
                <c:pt idx="1216">
                  <c:v>4.1189999999999998</c:v>
                </c:pt>
                <c:pt idx="1217">
                  <c:v>4.0869999999999997</c:v>
                </c:pt>
                <c:pt idx="1218">
                  <c:v>4.0519999999999996</c:v>
                </c:pt>
                <c:pt idx="1219">
                  <c:v>4.0469999999999997</c:v>
                </c:pt>
                <c:pt idx="1220">
                  <c:v>4.0330000000000004</c:v>
                </c:pt>
                <c:pt idx="1221">
                  <c:v>4.0339999999999998</c:v>
                </c:pt>
                <c:pt idx="1222">
                  <c:v>4.0880000000000001</c:v>
                </c:pt>
                <c:pt idx="1223">
                  <c:v>4.1029999999999998</c:v>
                </c:pt>
                <c:pt idx="1224">
                  <c:v>4.1159999999999997</c:v>
                </c:pt>
                <c:pt idx="1225">
                  <c:v>4.2169999999999996</c:v>
                </c:pt>
                <c:pt idx="1226">
                  <c:v>4.2530000000000001</c:v>
                </c:pt>
                <c:pt idx="1227">
                  <c:v>4.2450000000000001</c:v>
                </c:pt>
                <c:pt idx="1228">
                  <c:v>4.2759999999999998</c:v>
                </c:pt>
                <c:pt idx="1229">
                  <c:v>4.2309999999999999</c:v>
                </c:pt>
                <c:pt idx="1230">
                  <c:v>4.2350000000000003</c:v>
                </c:pt>
                <c:pt idx="1231">
                  <c:v>4.2569999999999997</c:v>
                </c:pt>
                <c:pt idx="1232">
                  <c:v>4.367</c:v>
                </c:pt>
                <c:pt idx="1233">
                  <c:v>4.3410000000000002</c:v>
                </c:pt>
                <c:pt idx="1234">
                  <c:v>4.3179999999999996</c:v>
                </c:pt>
                <c:pt idx="1235">
                  <c:v>4.2880000000000003</c:v>
                </c:pt>
                <c:pt idx="1236">
                  <c:v>4.2610000000000001</c:v>
                </c:pt>
                <c:pt idx="1237">
                  <c:v>4.2249999999999996</c:v>
                </c:pt>
                <c:pt idx="1238">
                  <c:v>4.2279999999999998</c:v>
                </c:pt>
                <c:pt idx="1239">
                  <c:v>4.3109999999999999</c:v>
                </c:pt>
                <c:pt idx="1240">
                  <c:v>4.38</c:v>
                </c:pt>
                <c:pt idx="1241">
                  <c:v>4.46</c:v>
                </c:pt>
                <c:pt idx="1242">
                  <c:v>4.58</c:v>
                </c:pt>
                <c:pt idx="1243">
                  <c:v>4.532</c:v>
                </c:pt>
                <c:pt idx="1244">
                  <c:v>4.54</c:v>
                </c:pt>
                <c:pt idx="1245">
                  <c:v>4.5129999999999999</c:v>
                </c:pt>
                <c:pt idx="1246">
                  <c:v>4.5110000000000001</c:v>
                </c:pt>
                <c:pt idx="1247">
                  <c:v>4.5659999999999998</c:v>
                </c:pt>
                <c:pt idx="1248">
                  <c:v>4.5880000000000001</c:v>
                </c:pt>
                <c:pt idx="1249">
                  <c:v>4.609</c:v>
                </c:pt>
                <c:pt idx="1250">
                  <c:v>4.681</c:v>
                </c:pt>
                <c:pt idx="1251">
                  <c:v>4.7530000000000001</c:v>
                </c:pt>
                <c:pt idx="1252">
                  <c:v>4.7560000000000002</c:v>
                </c:pt>
                <c:pt idx="1253">
                  <c:v>4.7249999999999996</c:v>
                </c:pt>
                <c:pt idx="1254">
                  <c:v>4.7069999999999999</c:v>
                </c:pt>
                <c:pt idx="1255">
                  <c:v>4.6349999999999998</c:v>
                </c:pt>
                <c:pt idx="1256">
                  <c:v>4.6379999999999999</c:v>
                </c:pt>
                <c:pt idx="1257">
                  <c:v>4.7640000000000002</c:v>
                </c:pt>
                <c:pt idx="1258">
                  <c:v>4.7190000000000003</c:v>
                </c:pt>
                <c:pt idx="1259">
                  <c:v>4.7430000000000003</c:v>
                </c:pt>
                <c:pt idx="1260">
                  <c:v>4.67</c:v>
                </c:pt>
                <c:pt idx="1261">
                  <c:v>4.5910000000000002</c:v>
                </c:pt>
                <c:pt idx="1262">
                  <c:v>4.6139999999999999</c:v>
                </c:pt>
                <c:pt idx="1263">
                  <c:v>4.6379999999999999</c:v>
                </c:pt>
                <c:pt idx="1264">
                  <c:v>4.6479999999999997</c:v>
                </c:pt>
                <c:pt idx="1265">
                  <c:v>4.6559999999999997</c:v>
                </c:pt>
                <c:pt idx="1266">
                  <c:v>4.6559999999999997</c:v>
                </c:pt>
                <c:pt idx="1267">
                  <c:v>4.7460000000000004</c:v>
                </c:pt>
                <c:pt idx="1268">
                  <c:v>4.7960000000000003</c:v>
                </c:pt>
                <c:pt idx="1269">
                  <c:v>4.8689999999999998</c:v>
                </c:pt>
                <c:pt idx="1270">
                  <c:v>4.883</c:v>
                </c:pt>
                <c:pt idx="1271">
                  <c:v>4.8810000000000002</c:v>
                </c:pt>
                <c:pt idx="1272">
                  <c:v>4.9580000000000002</c:v>
                </c:pt>
                <c:pt idx="1273">
                  <c:v>5.0259999999999998</c:v>
                </c:pt>
                <c:pt idx="1274">
                  <c:v>5.0190000000000001</c:v>
                </c:pt>
                <c:pt idx="1275">
                  <c:v>4.9779999999999998</c:v>
                </c:pt>
                <c:pt idx="1276">
                  <c:v>4.9669999999999996</c:v>
                </c:pt>
                <c:pt idx="1277">
                  <c:v>4.8879999999999999</c:v>
                </c:pt>
                <c:pt idx="1278">
                  <c:v>4.867</c:v>
                </c:pt>
                <c:pt idx="1279">
                  <c:v>4.8899999999999997</c:v>
                </c:pt>
                <c:pt idx="1280">
                  <c:v>4.8490000000000002</c:v>
                </c:pt>
                <c:pt idx="1281">
                  <c:v>4.8339999999999996</c:v>
                </c:pt>
                <c:pt idx="1282">
                  <c:v>4.8109999999999999</c:v>
                </c:pt>
                <c:pt idx="1283">
                  <c:v>4.8010000000000002</c:v>
                </c:pt>
                <c:pt idx="1284">
                  <c:v>4.774</c:v>
                </c:pt>
                <c:pt idx="1285">
                  <c:v>4.7830000000000004</c:v>
                </c:pt>
                <c:pt idx="1286">
                  <c:v>4.718</c:v>
                </c:pt>
                <c:pt idx="1287">
                  <c:v>4.7380000000000004</c:v>
                </c:pt>
                <c:pt idx="1288">
                  <c:v>4.7779999999999996</c:v>
                </c:pt>
                <c:pt idx="1289">
                  <c:v>4.8579999999999997</c:v>
                </c:pt>
                <c:pt idx="1290">
                  <c:v>4.8760000000000003</c:v>
                </c:pt>
                <c:pt idx="1291">
                  <c:v>4.9029999999999996</c:v>
                </c:pt>
                <c:pt idx="1292">
                  <c:v>4.9980000000000002</c:v>
                </c:pt>
                <c:pt idx="1293">
                  <c:v>4.9189999999999996</c:v>
                </c:pt>
                <c:pt idx="1294">
                  <c:v>4.9109999999999996</c:v>
                </c:pt>
                <c:pt idx="1295">
                  <c:v>5.0350000000000001</c:v>
                </c:pt>
                <c:pt idx="1296">
                  <c:v>4.9969999999999999</c:v>
                </c:pt>
                <c:pt idx="1297">
                  <c:v>5.03</c:v>
                </c:pt>
                <c:pt idx="1298">
                  <c:v>5.0250000000000004</c:v>
                </c:pt>
                <c:pt idx="1299">
                  <c:v>5.093</c:v>
                </c:pt>
                <c:pt idx="1300">
                  <c:v>5.1210000000000004</c:v>
                </c:pt>
                <c:pt idx="1301">
                  <c:v>5.1680000000000001</c:v>
                </c:pt>
                <c:pt idx="1302">
                  <c:v>5.0940000000000003</c:v>
                </c:pt>
                <c:pt idx="1303">
                  <c:v>5.0380000000000003</c:v>
                </c:pt>
                <c:pt idx="1304">
                  <c:v>5.0650000000000004</c:v>
                </c:pt>
                <c:pt idx="1305">
                  <c:v>5.0730000000000004</c:v>
                </c:pt>
                <c:pt idx="1306">
                  <c:v>5.08</c:v>
                </c:pt>
                <c:pt idx="1307">
                  <c:v>5.0369999999999999</c:v>
                </c:pt>
                <c:pt idx="1308">
                  <c:v>4.9729999999999999</c:v>
                </c:pt>
                <c:pt idx="1309">
                  <c:v>5.0439999999999996</c:v>
                </c:pt>
                <c:pt idx="1310">
                  <c:v>5.0469999999999997</c:v>
                </c:pt>
                <c:pt idx="1311">
                  <c:v>5.0949999999999998</c:v>
                </c:pt>
                <c:pt idx="1312">
                  <c:v>5.0540000000000003</c:v>
                </c:pt>
                <c:pt idx="1313">
                  <c:v>5.1849999999999996</c:v>
                </c:pt>
                <c:pt idx="1314">
                  <c:v>5.18</c:v>
                </c:pt>
                <c:pt idx="1315">
                  <c:v>5.1669999999999998</c:v>
                </c:pt>
                <c:pt idx="1316">
                  <c:v>5.1879999999999997</c:v>
                </c:pt>
                <c:pt idx="1317">
                  <c:v>5.1989999999999998</c:v>
                </c:pt>
                <c:pt idx="1318">
                  <c:v>5.2249999999999996</c:v>
                </c:pt>
                <c:pt idx="1319">
                  <c:v>5.2380000000000004</c:v>
                </c:pt>
                <c:pt idx="1320">
                  <c:v>5.33</c:v>
                </c:pt>
                <c:pt idx="1321">
                  <c:v>5.335</c:v>
                </c:pt>
                <c:pt idx="1322">
                  <c:v>5.4560000000000004</c:v>
                </c:pt>
                <c:pt idx="1323">
                  <c:v>5.4029999999999996</c:v>
                </c:pt>
                <c:pt idx="1324">
                  <c:v>5.4020000000000001</c:v>
                </c:pt>
                <c:pt idx="1325">
                  <c:v>5.39</c:v>
                </c:pt>
                <c:pt idx="1326">
                  <c:v>5.468</c:v>
                </c:pt>
                <c:pt idx="1327">
                  <c:v>5.3979999999999997</c:v>
                </c:pt>
                <c:pt idx="1328">
                  <c:v>5.3970000000000002</c:v>
                </c:pt>
                <c:pt idx="1329">
                  <c:v>5.47</c:v>
                </c:pt>
                <c:pt idx="1330">
                  <c:v>5.4269999999999996</c:v>
                </c:pt>
                <c:pt idx="1331">
                  <c:v>5.3289999999999997</c:v>
                </c:pt>
                <c:pt idx="1332">
                  <c:v>5.2279999999999998</c:v>
                </c:pt>
                <c:pt idx="1333">
                  <c:v>5.157</c:v>
                </c:pt>
                <c:pt idx="1334">
                  <c:v>5.1189999999999998</c:v>
                </c:pt>
                <c:pt idx="1335">
                  <c:v>5.0780000000000003</c:v>
                </c:pt>
                <c:pt idx="1336">
                  <c:v>5.1239999999999997</c:v>
                </c:pt>
                <c:pt idx="1337">
                  <c:v>5.0350000000000001</c:v>
                </c:pt>
                <c:pt idx="1338">
                  <c:v>4.9820000000000002</c:v>
                </c:pt>
                <c:pt idx="1339">
                  <c:v>4.9340000000000002</c:v>
                </c:pt>
                <c:pt idx="1340">
                  <c:v>4.9660000000000002</c:v>
                </c:pt>
                <c:pt idx="1341">
                  <c:v>5</c:v>
                </c:pt>
                <c:pt idx="1342">
                  <c:v>4.9850000000000003</c:v>
                </c:pt>
                <c:pt idx="1343">
                  <c:v>4.88</c:v>
                </c:pt>
                <c:pt idx="1344">
                  <c:v>4.92</c:v>
                </c:pt>
                <c:pt idx="1345">
                  <c:v>4.859</c:v>
                </c:pt>
                <c:pt idx="1346">
                  <c:v>4.9779999999999998</c:v>
                </c:pt>
                <c:pt idx="1347">
                  <c:v>5.0339999999999998</c:v>
                </c:pt>
                <c:pt idx="1348">
                  <c:v>5.0750000000000002</c:v>
                </c:pt>
                <c:pt idx="1349">
                  <c:v>5.093</c:v>
                </c:pt>
                <c:pt idx="1350">
                  <c:v>5.0999999999999996</c:v>
                </c:pt>
                <c:pt idx="1351">
                  <c:v>5.1689999999999996</c:v>
                </c:pt>
                <c:pt idx="1352">
                  <c:v>5.1589999999999998</c:v>
                </c:pt>
                <c:pt idx="1353">
                  <c:v>5.2119999999999997</c:v>
                </c:pt>
                <c:pt idx="1354">
                  <c:v>5.2290000000000001</c:v>
                </c:pt>
                <c:pt idx="1355">
                  <c:v>5.125</c:v>
                </c:pt>
                <c:pt idx="1356">
                  <c:v>5.0979999999999999</c:v>
                </c:pt>
                <c:pt idx="1357">
                  <c:v>5.19</c:v>
                </c:pt>
                <c:pt idx="1358">
                  <c:v>5.1360000000000001</c:v>
                </c:pt>
                <c:pt idx="1359">
                  <c:v>5.0510000000000002</c:v>
                </c:pt>
                <c:pt idx="1360">
                  <c:v>5.0279999999999996</c:v>
                </c:pt>
                <c:pt idx="1361">
                  <c:v>5.069</c:v>
                </c:pt>
                <c:pt idx="1362">
                  <c:v>5.0369999999999999</c:v>
                </c:pt>
                <c:pt idx="1363">
                  <c:v>4.9729999999999999</c:v>
                </c:pt>
                <c:pt idx="1364">
                  <c:v>5.0209999999999999</c:v>
                </c:pt>
                <c:pt idx="1365">
                  <c:v>5.0880000000000001</c:v>
                </c:pt>
                <c:pt idx="1366">
                  <c:v>5.0419999999999998</c:v>
                </c:pt>
                <c:pt idx="1367">
                  <c:v>5.1989999999999998</c:v>
                </c:pt>
                <c:pt idx="1368">
                  <c:v>5.242</c:v>
                </c:pt>
                <c:pt idx="1369">
                  <c:v>5.2649999999999997</c:v>
                </c:pt>
                <c:pt idx="1370">
                  <c:v>5.23</c:v>
                </c:pt>
                <c:pt idx="1371">
                  <c:v>5.2629999999999999</c:v>
                </c:pt>
                <c:pt idx="1372">
                  <c:v>5.2430000000000003</c:v>
                </c:pt>
                <c:pt idx="1373">
                  <c:v>5.2489999999999997</c:v>
                </c:pt>
                <c:pt idx="1374">
                  <c:v>5.2969999999999997</c:v>
                </c:pt>
                <c:pt idx="1375">
                  <c:v>5.3090000000000002</c:v>
                </c:pt>
                <c:pt idx="1376">
                  <c:v>5.3550000000000004</c:v>
                </c:pt>
                <c:pt idx="1377">
                  <c:v>5.492</c:v>
                </c:pt>
                <c:pt idx="1378">
                  <c:v>5.516</c:v>
                </c:pt>
                <c:pt idx="1379">
                  <c:v>5.5449999999999999</c:v>
                </c:pt>
                <c:pt idx="1380">
                  <c:v>5.4429999999999996</c:v>
                </c:pt>
                <c:pt idx="1381">
                  <c:v>5.415</c:v>
                </c:pt>
                <c:pt idx="1382">
                  <c:v>5.5410000000000004</c:v>
                </c:pt>
                <c:pt idx="1383">
                  <c:v>5.5490000000000004</c:v>
                </c:pt>
                <c:pt idx="1384">
                  <c:v>5.5140000000000002</c:v>
                </c:pt>
                <c:pt idx="1385">
                  <c:v>5.5519999999999996</c:v>
                </c:pt>
                <c:pt idx="1386">
                  <c:v>5.5590000000000002</c:v>
                </c:pt>
                <c:pt idx="1387">
                  <c:v>5.6440000000000001</c:v>
                </c:pt>
                <c:pt idx="1388">
                  <c:v>5.601</c:v>
                </c:pt>
                <c:pt idx="1389">
                  <c:v>5.5810000000000004</c:v>
                </c:pt>
                <c:pt idx="1390">
                  <c:v>5.5839999999999996</c:v>
                </c:pt>
                <c:pt idx="1391">
                  <c:v>5.57</c:v>
                </c:pt>
                <c:pt idx="1392">
                  <c:v>5.5149999999999997</c:v>
                </c:pt>
                <c:pt idx="1393">
                  <c:v>5.5259999999999998</c:v>
                </c:pt>
                <c:pt idx="1394">
                  <c:v>5.6280000000000001</c:v>
                </c:pt>
                <c:pt idx="1395">
                  <c:v>5.63</c:v>
                </c:pt>
                <c:pt idx="1396">
                  <c:v>5.5410000000000004</c:v>
                </c:pt>
                <c:pt idx="1397">
                  <c:v>5.4589999999999996</c:v>
                </c:pt>
                <c:pt idx="1398">
                  <c:v>5.47</c:v>
                </c:pt>
                <c:pt idx="1399">
                  <c:v>5.4429999999999996</c:v>
                </c:pt>
                <c:pt idx="1400">
                  <c:v>5.4939999999999998</c:v>
                </c:pt>
                <c:pt idx="1401">
                  <c:v>5.53</c:v>
                </c:pt>
                <c:pt idx="1402">
                  <c:v>5.4820000000000002</c:v>
                </c:pt>
                <c:pt idx="1403">
                  <c:v>5.516</c:v>
                </c:pt>
                <c:pt idx="1404">
                  <c:v>5.5949999999999998</c:v>
                </c:pt>
                <c:pt idx="1405">
                  <c:v>5.5919999999999996</c:v>
                </c:pt>
                <c:pt idx="1406">
                  <c:v>5.532</c:v>
                </c:pt>
                <c:pt idx="1407">
                  <c:v>5.5620000000000003</c:v>
                </c:pt>
                <c:pt idx="1408">
                  <c:v>5.5940000000000003</c:v>
                </c:pt>
                <c:pt idx="1409">
                  <c:v>5.5940000000000003</c:v>
                </c:pt>
                <c:pt idx="1410">
                  <c:v>5.5709999999999997</c:v>
                </c:pt>
                <c:pt idx="1411">
                  <c:v>5.5140000000000002</c:v>
                </c:pt>
                <c:pt idx="1412">
                  <c:v>5.415</c:v>
                </c:pt>
                <c:pt idx="1413">
                  <c:v>5.4429999999999996</c:v>
                </c:pt>
                <c:pt idx="1414">
                  <c:v>5.3979999999999997</c:v>
                </c:pt>
                <c:pt idx="1415">
                  <c:v>5.45</c:v>
                </c:pt>
                <c:pt idx="1416">
                  <c:v>5.4880000000000004</c:v>
                </c:pt>
                <c:pt idx="1417">
                  <c:v>5.5</c:v>
                </c:pt>
                <c:pt idx="1418">
                  <c:v>5.4859999999999998</c:v>
                </c:pt>
                <c:pt idx="1419">
                  <c:v>5.5270000000000001</c:v>
                </c:pt>
                <c:pt idx="1420">
                  <c:v>5.4610000000000003</c:v>
                </c:pt>
                <c:pt idx="1421">
                  <c:v>5.4539999999999997</c:v>
                </c:pt>
                <c:pt idx="1422">
                  <c:v>5.4320000000000004</c:v>
                </c:pt>
                <c:pt idx="1423">
                  <c:v>5.4530000000000003</c:v>
                </c:pt>
                <c:pt idx="1424">
                  <c:v>5.3440000000000003</c:v>
                </c:pt>
                <c:pt idx="1425">
                  <c:v>5.37</c:v>
                </c:pt>
                <c:pt idx="1426">
                  <c:v>5.3250000000000002</c:v>
                </c:pt>
                <c:pt idx="1427">
                  <c:v>5.359</c:v>
                </c:pt>
                <c:pt idx="1428">
                  <c:v>5.3330000000000002</c:v>
                </c:pt>
                <c:pt idx="1429">
                  <c:v>5.2720000000000002</c:v>
                </c:pt>
                <c:pt idx="1430">
                  <c:v>5.2409999999999997</c:v>
                </c:pt>
                <c:pt idx="1431">
                  <c:v>5.242</c:v>
                </c:pt>
                <c:pt idx="1432">
                  <c:v>5.2210000000000001</c:v>
                </c:pt>
                <c:pt idx="1433">
                  <c:v>5.2569999999999997</c:v>
                </c:pt>
                <c:pt idx="1434">
                  <c:v>5.1989999999999998</c:v>
                </c:pt>
                <c:pt idx="1435">
                  <c:v>5.2480000000000002</c:v>
                </c:pt>
                <c:pt idx="1436">
                  <c:v>5.3159999999999998</c:v>
                </c:pt>
                <c:pt idx="1437">
                  <c:v>5.2779999999999996</c:v>
                </c:pt>
                <c:pt idx="1438">
                  <c:v>5.3079999999999998</c:v>
                </c:pt>
                <c:pt idx="1439">
                  <c:v>5.2569999999999997</c:v>
                </c:pt>
                <c:pt idx="1440">
                  <c:v>5.2160000000000002</c:v>
                </c:pt>
                <c:pt idx="1441">
                  <c:v>5.194</c:v>
                </c:pt>
                <c:pt idx="1442">
                  <c:v>5.1820000000000004</c:v>
                </c:pt>
                <c:pt idx="1443">
                  <c:v>5.1319999999999997</c:v>
                </c:pt>
                <c:pt idx="1444">
                  <c:v>5.202</c:v>
                </c:pt>
                <c:pt idx="1445">
                  <c:v>5.1840000000000002</c:v>
                </c:pt>
                <c:pt idx="1446">
                  <c:v>5.1630000000000003</c:v>
                </c:pt>
                <c:pt idx="1447">
                  <c:v>5.1619999999999999</c:v>
                </c:pt>
                <c:pt idx="1448">
                  <c:v>5.1859999999999999</c:v>
                </c:pt>
                <c:pt idx="1449">
                  <c:v>5.1980000000000004</c:v>
                </c:pt>
                <c:pt idx="1450">
                  <c:v>5.2370000000000001</c:v>
                </c:pt>
                <c:pt idx="1451">
                  <c:v>5.2249999999999996</c:v>
                </c:pt>
                <c:pt idx="1452">
                  <c:v>5.2530000000000001</c:v>
                </c:pt>
                <c:pt idx="1453">
                  <c:v>5.28</c:v>
                </c:pt>
                <c:pt idx="1454">
                  <c:v>5.2939999999999996</c:v>
                </c:pt>
                <c:pt idx="1455">
                  <c:v>5.335</c:v>
                </c:pt>
                <c:pt idx="1456">
                  <c:v>5.2830000000000004</c:v>
                </c:pt>
                <c:pt idx="1457">
                  <c:v>5.3</c:v>
                </c:pt>
                <c:pt idx="1458">
                  <c:v>5.298</c:v>
                </c:pt>
                <c:pt idx="1459">
                  <c:v>5.343</c:v>
                </c:pt>
                <c:pt idx="1460">
                  <c:v>5.4119999999999999</c:v>
                </c:pt>
                <c:pt idx="1461">
                  <c:v>5.4530000000000003</c:v>
                </c:pt>
                <c:pt idx="1462">
                  <c:v>5.4470000000000001</c:v>
                </c:pt>
                <c:pt idx="1463">
                  <c:v>5.5380000000000003</c:v>
                </c:pt>
                <c:pt idx="1464">
                  <c:v>5.5019999999999998</c:v>
                </c:pt>
                <c:pt idx="1465">
                  <c:v>5.4820000000000002</c:v>
                </c:pt>
                <c:pt idx="1466">
                  <c:v>5.4189999999999996</c:v>
                </c:pt>
                <c:pt idx="1467">
                  <c:v>5.3940000000000001</c:v>
                </c:pt>
                <c:pt idx="1468">
                  <c:v>5.375</c:v>
                </c:pt>
                <c:pt idx="1469">
                  <c:v>5.3479999999999999</c:v>
                </c:pt>
                <c:pt idx="1470">
                  <c:v>5.4139999999999997</c:v>
                </c:pt>
                <c:pt idx="1471">
                  <c:v>5.4219999999999997</c:v>
                </c:pt>
                <c:pt idx="1472">
                  <c:v>5.4160000000000004</c:v>
                </c:pt>
                <c:pt idx="1473">
                  <c:v>5.3330000000000002</c:v>
                </c:pt>
                <c:pt idx="1474">
                  <c:v>5.3419999999999996</c:v>
                </c:pt>
                <c:pt idx="1475">
                  <c:v>5.3129999999999997</c:v>
                </c:pt>
                <c:pt idx="1476">
                  <c:v>5.2590000000000003</c:v>
                </c:pt>
                <c:pt idx="1477">
                  <c:v>5.202</c:v>
                </c:pt>
                <c:pt idx="1478">
                  <c:v>5.2389999999999999</c:v>
                </c:pt>
                <c:pt idx="1479">
                  <c:v>5.2409999999999997</c:v>
                </c:pt>
                <c:pt idx="1480">
                  <c:v>5.1909999999999998</c:v>
                </c:pt>
                <c:pt idx="1481">
                  <c:v>5.1130000000000004</c:v>
                </c:pt>
                <c:pt idx="1482">
                  <c:v>5.0890000000000004</c:v>
                </c:pt>
                <c:pt idx="1483">
                  <c:v>5.0949999999999998</c:v>
                </c:pt>
                <c:pt idx="1484">
                  <c:v>5.1379999999999999</c:v>
                </c:pt>
                <c:pt idx="1485">
                  <c:v>5.1260000000000003</c:v>
                </c:pt>
                <c:pt idx="1486">
                  <c:v>5.1849999999999996</c:v>
                </c:pt>
                <c:pt idx="1487">
                  <c:v>5.1470000000000002</c:v>
                </c:pt>
                <c:pt idx="1488">
                  <c:v>5.1529999999999996</c:v>
                </c:pt>
                <c:pt idx="1489">
                  <c:v>5.1189999999999998</c:v>
                </c:pt>
                <c:pt idx="1490">
                  <c:v>5.1509999999999998</c:v>
                </c:pt>
                <c:pt idx="1491">
                  <c:v>5.1609999999999996</c:v>
                </c:pt>
                <c:pt idx="1492">
                  <c:v>5.0890000000000004</c:v>
                </c:pt>
                <c:pt idx="1493">
                  <c:v>5.1109999999999998</c:v>
                </c:pt>
                <c:pt idx="1494">
                  <c:v>5.1120000000000001</c:v>
                </c:pt>
                <c:pt idx="1495">
                  <c:v>5.202</c:v>
                </c:pt>
                <c:pt idx="1496">
                  <c:v>5.23</c:v>
                </c:pt>
                <c:pt idx="1497">
                  <c:v>5.2569999999999997</c:v>
                </c:pt>
                <c:pt idx="1498">
                  <c:v>5.2359999999999998</c:v>
                </c:pt>
                <c:pt idx="1499">
                  <c:v>5.2439999999999998</c:v>
                </c:pt>
                <c:pt idx="1500">
                  <c:v>5.2489999999999997</c:v>
                </c:pt>
                <c:pt idx="1501">
                  <c:v>5.2</c:v>
                </c:pt>
                <c:pt idx="1502">
                  <c:v>5.2210000000000001</c:v>
                </c:pt>
                <c:pt idx="1503">
                  <c:v>5.2670000000000003</c:v>
                </c:pt>
                <c:pt idx="1504">
                  <c:v>5.2690000000000001</c:v>
                </c:pt>
                <c:pt idx="1505">
                  <c:v>5.2320000000000002</c:v>
                </c:pt>
                <c:pt idx="1506">
                  <c:v>5.3090000000000002</c:v>
                </c:pt>
                <c:pt idx="1507">
                  <c:v>5.258</c:v>
                </c:pt>
                <c:pt idx="1508">
                  <c:v>5.2830000000000004</c:v>
                </c:pt>
                <c:pt idx="1509">
                  <c:v>5.2439999999999998</c:v>
                </c:pt>
                <c:pt idx="1510">
                  <c:v>5.2750000000000004</c:v>
                </c:pt>
                <c:pt idx="1511">
                  <c:v>5.2549999999999999</c:v>
                </c:pt>
                <c:pt idx="1512">
                  <c:v>5.3019999999999996</c:v>
                </c:pt>
                <c:pt idx="1513">
                  <c:v>5.3239999999999998</c:v>
                </c:pt>
                <c:pt idx="1514">
                  <c:v>5.3289999999999997</c:v>
                </c:pt>
                <c:pt idx="1515">
                  <c:v>5.3140000000000001</c:v>
                </c:pt>
                <c:pt idx="1516">
                  <c:v>5.2679999999999998</c:v>
                </c:pt>
                <c:pt idx="1517">
                  <c:v>5.258</c:v>
                </c:pt>
                <c:pt idx="1518">
                  <c:v>5.2569999999999997</c:v>
                </c:pt>
                <c:pt idx="1519">
                  <c:v>5.218</c:v>
                </c:pt>
                <c:pt idx="1520">
                  <c:v>5.165</c:v>
                </c:pt>
                <c:pt idx="1521">
                  <c:v>5.173</c:v>
                </c:pt>
                <c:pt idx="1522">
                  <c:v>5.1980000000000004</c:v>
                </c:pt>
                <c:pt idx="1523">
                  <c:v>5.2060000000000004</c:v>
                </c:pt>
                <c:pt idx="1524">
                  <c:v>5.157</c:v>
                </c:pt>
                <c:pt idx="1525">
                  <c:v>5.1749999999999998</c:v>
                </c:pt>
                <c:pt idx="1526">
                  <c:v>5.1879999999999997</c:v>
                </c:pt>
                <c:pt idx="1527">
                  <c:v>5.1870000000000003</c:v>
                </c:pt>
                <c:pt idx="1528">
                  <c:v>5.1660000000000004</c:v>
                </c:pt>
                <c:pt idx="1529">
                  <c:v>5.1929999999999996</c:v>
                </c:pt>
                <c:pt idx="1530">
                  <c:v>5.1710000000000003</c:v>
                </c:pt>
                <c:pt idx="1531">
                  <c:v>5.1470000000000002</c:v>
                </c:pt>
                <c:pt idx="1532">
                  <c:v>5.1349999999999998</c:v>
                </c:pt>
                <c:pt idx="1533">
                  <c:v>5.1559999999999997</c:v>
                </c:pt>
                <c:pt idx="1534">
                  <c:v>5.1989999999999998</c:v>
                </c:pt>
                <c:pt idx="1535">
                  <c:v>5.2050000000000001</c:v>
                </c:pt>
                <c:pt idx="1536">
                  <c:v>5.2069999999999999</c:v>
                </c:pt>
                <c:pt idx="1537">
                  <c:v>5.2080000000000002</c:v>
                </c:pt>
                <c:pt idx="1538">
                  <c:v>5.258</c:v>
                </c:pt>
                <c:pt idx="1539">
                  <c:v>5.2439999999999998</c:v>
                </c:pt>
                <c:pt idx="1540">
                  <c:v>5.218</c:v>
                </c:pt>
                <c:pt idx="1541">
                  <c:v>5.2160000000000002</c:v>
                </c:pt>
                <c:pt idx="1542">
                  <c:v>5.23</c:v>
                </c:pt>
                <c:pt idx="1543">
                  <c:v>5.2480000000000002</c:v>
                </c:pt>
                <c:pt idx="1544">
                  <c:v>5.3</c:v>
                </c:pt>
                <c:pt idx="1545">
                  <c:v>5.2990000000000004</c:v>
                </c:pt>
                <c:pt idx="1546">
                  <c:v>5.298</c:v>
                </c:pt>
                <c:pt idx="1547">
                  <c:v>5.1870000000000003</c:v>
                </c:pt>
                <c:pt idx="1548">
                  <c:v>5.194</c:v>
                </c:pt>
                <c:pt idx="1549">
                  <c:v>5.2089999999999996</c:v>
                </c:pt>
                <c:pt idx="1550">
                  <c:v>5.2320000000000002</c:v>
                </c:pt>
                <c:pt idx="1551">
                  <c:v>5.2450000000000001</c:v>
                </c:pt>
                <c:pt idx="1552">
                  <c:v>5.2770000000000001</c:v>
                </c:pt>
                <c:pt idx="1553">
                  <c:v>5.274</c:v>
                </c:pt>
                <c:pt idx="1554">
                  <c:v>5.2830000000000004</c:v>
                </c:pt>
                <c:pt idx="1555">
                  <c:v>5.2779999999999996</c:v>
                </c:pt>
                <c:pt idx="1556">
                  <c:v>5.27</c:v>
                </c:pt>
                <c:pt idx="1557">
                  <c:v>5.2969999999999997</c:v>
                </c:pt>
                <c:pt idx="1558">
                  <c:v>5.3410000000000002</c:v>
                </c:pt>
                <c:pt idx="1559">
                  <c:v>5.3179999999999996</c:v>
                </c:pt>
                <c:pt idx="1560">
                  <c:v>5.319</c:v>
                </c:pt>
                <c:pt idx="1561">
                  <c:v>5.2750000000000004</c:v>
                </c:pt>
                <c:pt idx="1562">
                  <c:v>5.2380000000000004</c:v>
                </c:pt>
                <c:pt idx="1563">
                  <c:v>5.2720000000000002</c:v>
                </c:pt>
                <c:pt idx="1564">
                  <c:v>5.2469999999999999</c:v>
                </c:pt>
                <c:pt idx="1565">
                  <c:v>5.2889999999999997</c:v>
                </c:pt>
                <c:pt idx="1566">
                  <c:v>5.2640000000000002</c:v>
                </c:pt>
                <c:pt idx="1567">
                  <c:v>5.23</c:v>
                </c:pt>
                <c:pt idx="1568">
                  <c:v>5.2370000000000001</c:v>
                </c:pt>
                <c:pt idx="1569">
                  <c:v>5.242</c:v>
                </c:pt>
                <c:pt idx="1570">
                  <c:v>5.2510000000000003</c:v>
                </c:pt>
                <c:pt idx="1571">
                  <c:v>5.27</c:v>
                </c:pt>
                <c:pt idx="1572">
                  <c:v>5.2519999999999998</c:v>
                </c:pt>
                <c:pt idx="1573">
                  <c:v>5.22</c:v>
                </c:pt>
                <c:pt idx="1574">
                  <c:v>5.2220000000000004</c:v>
                </c:pt>
                <c:pt idx="1575">
                  <c:v>5.1840000000000002</c:v>
                </c:pt>
                <c:pt idx="1576">
                  <c:v>5.173</c:v>
                </c:pt>
                <c:pt idx="1577">
                  <c:v>5.1970000000000001</c:v>
                </c:pt>
                <c:pt idx="1578">
                  <c:v>5.21</c:v>
                </c:pt>
                <c:pt idx="1579">
                  <c:v>5.2190000000000003</c:v>
                </c:pt>
                <c:pt idx="1580">
                  <c:v>5.1980000000000004</c:v>
                </c:pt>
                <c:pt idx="1581">
                  <c:v>5.202</c:v>
                </c:pt>
                <c:pt idx="1582">
                  <c:v>5.1980000000000004</c:v>
                </c:pt>
                <c:pt idx="1583">
                  <c:v>5.2039999999999997</c:v>
                </c:pt>
                <c:pt idx="1584">
                  <c:v>5.2060000000000004</c:v>
                </c:pt>
                <c:pt idx="1585">
                  <c:v>5.2489999999999997</c:v>
                </c:pt>
                <c:pt idx="1586">
                  <c:v>5.2320000000000002</c:v>
                </c:pt>
                <c:pt idx="1587">
                  <c:v>5.2089999999999996</c:v>
                </c:pt>
                <c:pt idx="1588">
                  <c:v>5.2169999999999996</c:v>
                </c:pt>
                <c:pt idx="1589">
                  <c:v>5.2149999999999999</c:v>
                </c:pt>
                <c:pt idx="1590">
                  <c:v>5.1970000000000001</c:v>
                </c:pt>
                <c:pt idx="1591">
                  <c:v>5.2089999999999996</c:v>
                </c:pt>
                <c:pt idx="1592">
                  <c:v>5.2119999999999997</c:v>
                </c:pt>
                <c:pt idx="1593">
                  <c:v>5.2270000000000003</c:v>
                </c:pt>
                <c:pt idx="1594">
                  <c:v>5.2380000000000004</c:v>
                </c:pt>
                <c:pt idx="1595">
                  <c:v>5.2480000000000002</c:v>
                </c:pt>
                <c:pt idx="1596">
                  <c:v>5.2270000000000003</c:v>
                </c:pt>
                <c:pt idx="1597">
                  <c:v>5.218</c:v>
                </c:pt>
                <c:pt idx="1598">
                  <c:v>5.1840000000000002</c:v>
                </c:pt>
                <c:pt idx="1599">
                  <c:v>5.1859999999999999</c:v>
                </c:pt>
                <c:pt idx="1600">
                  <c:v>5.1970000000000001</c:v>
                </c:pt>
                <c:pt idx="1601">
                  <c:v>5.18</c:v>
                </c:pt>
                <c:pt idx="1602">
                  <c:v>5.1849999999999996</c:v>
                </c:pt>
                <c:pt idx="1603">
                  <c:v>5.1719999999999997</c:v>
                </c:pt>
                <c:pt idx="1604">
                  <c:v>5.1849999999999996</c:v>
                </c:pt>
                <c:pt idx="1605">
                  <c:v>5.1349999999999998</c:v>
                </c:pt>
                <c:pt idx="1606">
                  <c:v>5.1340000000000003</c:v>
                </c:pt>
                <c:pt idx="1607">
                  <c:v>5.12</c:v>
                </c:pt>
                <c:pt idx="1608">
                  <c:v>5.1189999999999998</c:v>
                </c:pt>
                <c:pt idx="1609">
                  <c:v>5.0780000000000003</c:v>
                </c:pt>
                <c:pt idx="1610">
                  <c:v>5.0720000000000001</c:v>
                </c:pt>
                <c:pt idx="1611">
                  <c:v>5</c:v>
                </c:pt>
                <c:pt idx="1612">
                  <c:v>4.9980000000000002</c:v>
                </c:pt>
                <c:pt idx="1613">
                  <c:v>4.9429999999999996</c:v>
                </c:pt>
                <c:pt idx="1614">
                  <c:v>4.9450000000000003</c:v>
                </c:pt>
                <c:pt idx="1615">
                  <c:v>4.93</c:v>
                </c:pt>
                <c:pt idx="1616">
                  <c:v>4.9450000000000003</c:v>
                </c:pt>
                <c:pt idx="1617">
                  <c:v>4.9580000000000002</c:v>
                </c:pt>
                <c:pt idx="1618">
                  <c:v>4.9669999999999996</c:v>
                </c:pt>
                <c:pt idx="1619">
                  <c:v>4.9859999999999998</c:v>
                </c:pt>
                <c:pt idx="1620">
                  <c:v>4.9349999999999996</c:v>
                </c:pt>
                <c:pt idx="1621">
                  <c:v>4.9130000000000003</c:v>
                </c:pt>
                <c:pt idx="1622">
                  <c:v>4.8739999999999997</c:v>
                </c:pt>
                <c:pt idx="1623">
                  <c:v>4.8479999999999999</c:v>
                </c:pt>
                <c:pt idx="1624">
                  <c:v>4.8840000000000003</c:v>
                </c:pt>
                <c:pt idx="1625">
                  <c:v>4.8479999999999999</c:v>
                </c:pt>
                <c:pt idx="1626">
                  <c:v>4.8680000000000003</c:v>
                </c:pt>
                <c:pt idx="1627">
                  <c:v>4.8710000000000004</c:v>
                </c:pt>
                <c:pt idx="1628">
                  <c:v>4.8630000000000004</c:v>
                </c:pt>
                <c:pt idx="1629">
                  <c:v>4.9050000000000002</c:v>
                </c:pt>
                <c:pt idx="1630">
                  <c:v>4.851</c:v>
                </c:pt>
                <c:pt idx="1631">
                  <c:v>4.74</c:v>
                </c:pt>
                <c:pt idx="1632">
                  <c:v>4.7190000000000003</c:v>
                </c:pt>
                <c:pt idx="1633">
                  <c:v>4.7300000000000004</c:v>
                </c:pt>
                <c:pt idx="1634">
                  <c:v>4.6929999999999996</c:v>
                </c:pt>
                <c:pt idx="1635">
                  <c:v>4.7060000000000004</c:v>
                </c:pt>
                <c:pt idx="1636">
                  <c:v>4.75</c:v>
                </c:pt>
                <c:pt idx="1637">
                  <c:v>4.7850000000000001</c:v>
                </c:pt>
                <c:pt idx="1638">
                  <c:v>4.7590000000000003</c:v>
                </c:pt>
                <c:pt idx="1639">
                  <c:v>4.8239999999999998</c:v>
                </c:pt>
                <c:pt idx="1640">
                  <c:v>4.8209999999999997</c:v>
                </c:pt>
                <c:pt idx="1641">
                  <c:v>4.8479999999999999</c:v>
                </c:pt>
                <c:pt idx="1642">
                  <c:v>4.8220000000000001</c:v>
                </c:pt>
                <c:pt idx="1643">
                  <c:v>4.8109999999999999</c:v>
                </c:pt>
                <c:pt idx="1644">
                  <c:v>4.8440000000000003</c:v>
                </c:pt>
                <c:pt idx="1645">
                  <c:v>4.8659999999999997</c:v>
                </c:pt>
                <c:pt idx="1646">
                  <c:v>4.8460000000000001</c:v>
                </c:pt>
                <c:pt idx="1647">
                  <c:v>4.8769999999999998</c:v>
                </c:pt>
                <c:pt idx="1648">
                  <c:v>4.8780000000000001</c:v>
                </c:pt>
                <c:pt idx="1649">
                  <c:v>4.8520000000000003</c:v>
                </c:pt>
                <c:pt idx="1650">
                  <c:v>4.8490000000000002</c:v>
                </c:pt>
                <c:pt idx="1651">
                  <c:v>4.8220000000000001</c:v>
                </c:pt>
                <c:pt idx="1652">
                  <c:v>4.7969999999999997</c:v>
                </c:pt>
                <c:pt idx="1653">
                  <c:v>4.7889999999999997</c:v>
                </c:pt>
                <c:pt idx="1654">
                  <c:v>4.7869999999999999</c:v>
                </c:pt>
                <c:pt idx="1655">
                  <c:v>4.7679999999999998</c:v>
                </c:pt>
                <c:pt idx="1656">
                  <c:v>4.774</c:v>
                </c:pt>
                <c:pt idx="1657">
                  <c:v>4.7549999999999999</c:v>
                </c:pt>
                <c:pt idx="1658">
                  <c:v>4.7960000000000003</c:v>
                </c:pt>
                <c:pt idx="1659">
                  <c:v>4.7709999999999999</c:v>
                </c:pt>
                <c:pt idx="1660">
                  <c:v>4.7640000000000002</c:v>
                </c:pt>
                <c:pt idx="1661">
                  <c:v>4.7610000000000001</c:v>
                </c:pt>
                <c:pt idx="1662">
                  <c:v>4.7839999999999998</c:v>
                </c:pt>
                <c:pt idx="1663">
                  <c:v>4.8410000000000002</c:v>
                </c:pt>
                <c:pt idx="1664">
                  <c:v>4.8179999999999996</c:v>
                </c:pt>
                <c:pt idx="1665">
                  <c:v>4.8019999999999996</c:v>
                </c:pt>
                <c:pt idx="1666">
                  <c:v>4.819</c:v>
                </c:pt>
                <c:pt idx="1667">
                  <c:v>4.84</c:v>
                </c:pt>
                <c:pt idx="1668">
                  <c:v>4.8520000000000003</c:v>
                </c:pt>
                <c:pt idx="1669">
                  <c:v>4.8280000000000003</c:v>
                </c:pt>
                <c:pt idx="1670">
                  <c:v>4.83</c:v>
                </c:pt>
                <c:pt idx="1671">
                  <c:v>4.7569999999999997</c:v>
                </c:pt>
                <c:pt idx="1672">
                  <c:v>4.7539999999999996</c:v>
                </c:pt>
                <c:pt idx="1673">
                  <c:v>4.7460000000000004</c:v>
                </c:pt>
                <c:pt idx="1674">
                  <c:v>4.7350000000000003</c:v>
                </c:pt>
                <c:pt idx="1675">
                  <c:v>4.758</c:v>
                </c:pt>
                <c:pt idx="1676">
                  <c:v>4.7510000000000003</c:v>
                </c:pt>
                <c:pt idx="1677">
                  <c:v>4.7510000000000003</c:v>
                </c:pt>
                <c:pt idx="1678">
                  <c:v>4.7089999999999996</c:v>
                </c:pt>
                <c:pt idx="1679">
                  <c:v>4.7169999999999996</c:v>
                </c:pt>
                <c:pt idx="1680">
                  <c:v>4.7080000000000002</c:v>
                </c:pt>
                <c:pt idx="1681">
                  <c:v>4.7350000000000003</c:v>
                </c:pt>
                <c:pt idx="1682">
                  <c:v>4.6970000000000001</c:v>
                </c:pt>
                <c:pt idx="1683">
                  <c:v>4.6970000000000001</c:v>
                </c:pt>
                <c:pt idx="1684">
                  <c:v>4.665</c:v>
                </c:pt>
                <c:pt idx="1685">
                  <c:v>4.6879999999999997</c:v>
                </c:pt>
                <c:pt idx="1686">
                  <c:v>4.6989999999999998</c:v>
                </c:pt>
                <c:pt idx="1687">
                  <c:v>4.6589999999999998</c:v>
                </c:pt>
                <c:pt idx="1688">
                  <c:v>4.6029999999999998</c:v>
                </c:pt>
                <c:pt idx="1689">
                  <c:v>4.6210000000000004</c:v>
                </c:pt>
                <c:pt idx="1690">
                  <c:v>4.6390000000000002</c:v>
                </c:pt>
                <c:pt idx="1691">
                  <c:v>4.6609999999999996</c:v>
                </c:pt>
                <c:pt idx="1692">
                  <c:v>4.6660000000000004</c:v>
                </c:pt>
                <c:pt idx="1693">
                  <c:v>4.702</c:v>
                </c:pt>
                <c:pt idx="1694">
                  <c:v>4.7050000000000001</c:v>
                </c:pt>
                <c:pt idx="1695">
                  <c:v>4.7190000000000003</c:v>
                </c:pt>
                <c:pt idx="1696">
                  <c:v>4.7119999999999997</c:v>
                </c:pt>
                <c:pt idx="1697">
                  <c:v>4.7530000000000001</c:v>
                </c:pt>
                <c:pt idx="1698">
                  <c:v>4.7560000000000002</c:v>
                </c:pt>
                <c:pt idx="1699">
                  <c:v>4.7130000000000001</c:v>
                </c:pt>
                <c:pt idx="1700">
                  <c:v>4.7220000000000004</c:v>
                </c:pt>
                <c:pt idx="1701">
                  <c:v>4.7699999999999996</c:v>
                </c:pt>
                <c:pt idx="1702">
                  <c:v>4.8440000000000003</c:v>
                </c:pt>
                <c:pt idx="1703">
                  <c:v>4.8460000000000001</c:v>
                </c:pt>
                <c:pt idx="1704">
                  <c:v>4.8860000000000001</c:v>
                </c:pt>
                <c:pt idx="1705">
                  <c:v>4.907</c:v>
                </c:pt>
                <c:pt idx="1706">
                  <c:v>4.976</c:v>
                </c:pt>
                <c:pt idx="1707">
                  <c:v>4.9509999999999996</c:v>
                </c:pt>
                <c:pt idx="1708">
                  <c:v>4.92</c:v>
                </c:pt>
                <c:pt idx="1709">
                  <c:v>4.9630000000000001</c:v>
                </c:pt>
                <c:pt idx="1710">
                  <c:v>4.9539999999999997</c:v>
                </c:pt>
                <c:pt idx="1711">
                  <c:v>4.907</c:v>
                </c:pt>
                <c:pt idx="1712">
                  <c:v>4.9740000000000002</c:v>
                </c:pt>
                <c:pt idx="1713">
                  <c:v>5.032</c:v>
                </c:pt>
                <c:pt idx="1714">
                  <c:v>5.0199999999999996</c:v>
                </c:pt>
                <c:pt idx="1715">
                  <c:v>4.9870000000000001</c:v>
                </c:pt>
                <c:pt idx="1716">
                  <c:v>4.9550000000000001</c:v>
                </c:pt>
                <c:pt idx="1717">
                  <c:v>4.9530000000000003</c:v>
                </c:pt>
                <c:pt idx="1718">
                  <c:v>4.9480000000000004</c:v>
                </c:pt>
                <c:pt idx="1719">
                  <c:v>4.9340000000000002</c:v>
                </c:pt>
                <c:pt idx="1720">
                  <c:v>4.9329999999999998</c:v>
                </c:pt>
                <c:pt idx="1721">
                  <c:v>5.016</c:v>
                </c:pt>
                <c:pt idx="1722">
                  <c:v>5.0869999999999997</c:v>
                </c:pt>
                <c:pt idx="1723">
                  <c:v>5.0970000000000004</c:v>
                </c:pt>
                <c:pt idx="1724">
                  <c:v>5.08</c:v>
                </c:pt>
                <c:pt idx="1725">
                  <c:v>5.0709999999999997</c:v>
                </c:pt>
                <c:pt idx="1726">
                  <c:v>5.07</c:v>
                </c:pt>
                <c:pt idx="1727">
                  <c:v>5.0720000000000001</c:v>
                </c:pt>
                <c:pt idx="1728">
                  <c:v>5.1109999999999998</c:v>
                </c:pt>
                <c:pt idx="1729">
                  <c:v>5.1550000000000002</c:v>
                </c:pt>
                <c:pt idx="1730">
                  <c:v>5.1749999999999998</c:v>
                </c:pt>
                <c:pt idx="1731">
                  <c:v>5.1989999999999998</c:v>
                </c:pt>
                <c:pt idx="1732">
                  <c:v>5.1820000000000004</c:v>
                </c:pt>
                <c:pt idx="1733">
                  <c:v>5.1509999999999998</c:v>
                </c:pt>
                <c:pt idx="1734">
                  <c:v>5.1529999999999996</c:v>
                </c:pt>
                <c:pt idx="1735">
                  <c:v>5.173</c:v>
                </c:pt>
                <c:pt idx="1736">
                  <c:v>5.0759999999999996</c:v>
                </c:pt>
                <c:pt idx="1737">
                  <c:v>5.07</c:v>
                </c:pt>
                <c:pt idx="1738">
                  <c:v>5.0129999999999999</c:v>
                </c:pt>
                <c:pt idx="1739">
                  <c:v>5.0419999999999998</c:v>
                </c:pt>
                <c:pt idx="1740">
                  <c:v>5.077</c:v>
                </c:pt>
                <c:pt idx="1741">
                  <c:v>5.0730000000000004</c:v>
                </c:pt>
                <c:pt idx="1742">
                  <c:v>5.0579999999999998</c:v>
                </c:pt>
                <c:pt idx="1743">
                  <c:v>5.0830000000000002</c:v>
                </c:pt>
                <c:pt idx="1744">
                  <c:v>5.0860000000000003</c:v>
                </c:pt>
                <c:pt idx="1745">
                  <c:v>5.0229999999999997</c:v>
                </c:pt>
                <c:pt idx="1746">
                  <c:v>5.0140000000000002</c:v>
                </c:pt>
                <c:pt idx="1747">
                  <c:v>4.9960000000000004</c:v>
                </c:pt>
                <c:pt idx="1748">
                  <c:v>5.0199999999999996</c:v>
                </c:pt>
                <c:pt idx="1749">
                  <c:v>4.992</c:v>
                </c:pt>
                <c:pt idx="1750">
                  <c:v>4.952</c:v>
                </c:pt>
                <c:pt idx="1751">
                  <c:v>4.9400000000000004</c:v>
                </c:pt>
                <c:pt idx="1752">
                  <c:v>4.95</c:v>
                </c:pt>
                <c:pt idx="1753">
                  <c:v>4.9809999999999999</c:v>
                </c:pt>
                <c:pt idx="1754">
                  <c:v>4.9720000000000004</c:v>
                </c:pt>
                <c:pt idx="1755">
                  <c:v>5.0179999999999998</c:v>
                </c:pt>
                <c:pt idx="1756">
                  <c:v>5.1029999999999998</c:v>
                </c:pt>
                <c:pt idx="1757">
                  <c:v>5.093</c:v>
                </c:pt>
                <c:pt idx="1758">
                  <c:v>5.1269999999999998</c:v>
                </c:pt>
                <c:pt idx="1759">
                  <c:v>5.1210000000000004</c:v>
                </c:pt>
                <c:pt idx="1760">
                  <c:v>5.1130000000000004</c:v>
                </c:pt>
                <c:pt idx="1761">
                  <c:v>5.08</c:v>
                </c:pt>
                <c:pt idx="1762">
                  <c:v>5.1139999999999999</c:v>
                </c:pt>
                <c:pt idx="1763">
                  <c:v>5.0970000000000004</c:v>
                </c:pt>
                <c:pt idx="1764">
                  <c:v>5.0519999999999996</c:v>
                </c:pt>
                <c:pt idx="1765">
                  <c:v>5.0590000000000002</c:v>
                </c:pt>
                <c:pt idx="1766">
                  <c:v>5.077</c:v>
                </c:pt>
                <c:pt idx="1767">
                  <c:v>5.05</c:v>
                </c:pt>
                <c:pt idx="1768">
                  <c:v>5.0309999999999997</c:v>
                </c:pt>
                <c:pt idx="1769">
                  <c:v>5.0090000000000003</c:v>
                </c:pt>
                <c:pt idx="1770">
                  <c:v>4.9950000000000001</c:v>
                </c:pt>
                <c:pt idx="1771">
                  <c:v>4.9569999999999999</c:v>
                </c:pt>
                <c:pt idx="1772">
                  <c:v>4.9569999999999999</c:v>
                </c:pt>
                <c:pt idx="1773">
                  <c:v>4.9509999999999996</c:v>
                </c:pt>
                <c:pt idx="1774">
                  <c:v>4.97</c:v>
                </c:pt>
                <c:pt idx="1775">
                  <c:v>4.9560000000000004</c:v>
                </c:pt>
                <c:pt idx="1776">
                  <c:v>4.9039999999999999</c:v>
                </c:pt>
                <c:pt idx="1777">
                  <c:v>4.9029999999999996</c:v>
                </c:pt>
                <c:pt idx="1778">
                  <c:v>4.88</c:v>
                </c:pt>
                <c:pt idx="1779">
                  <c:v>4.9059999999999997</c:v>
                </c:pt>
                <c:pt idx="1780">
                  <c:v>4.9219999999999997</c:v>
                </c:pt>
                <c:pt idx="1781">
                  <c:v>4.9089999999999998</c:v>
                </c:pt>
                <c:pt idx="1782">
                  <c:v>4.8940000000000001</c:v>
                </c:pt>
                <c:pt idx="1783">
                  <c:v>4.8970000000000002</c:v>
                </c:pt>
                <c:pt idx="1784">
                  <c:v>4.9000000000000004</c:v>
                </c:pt>
                <c:pt idx="1785">
                  <c:v>4.8319999999999999</c:v>
                </c:pt>
                <c:pt idx="1786">
                  <c:v>4.8019999999999996</c:v>
                </c:pt>
                <c:pt idx="1787">
                  <c:v>4.79</c:v>
                </c:pt>
                <c:pt idx="1788">
                  <c:v>4.8289999999999997</c:v>
                </c:pt>
                <c:pt idx="1789">
                  <c:v>4.8179999999999996</c:v>
                </c:pt>
                <c:pt idx="1790">
                  <c:v>4.806</c:v>
                </c:pt>
                <c:pt idx="1791">
                  <c:v>4.7549999999999999</c:v>
                </c:pt>
                <c:pt idx="1792">
                  <c:v>4.774</c:v>
                </c:pt>
                <c:pt idx="1793">
                  <c:v>4.8140000000000001</c:v>
                </c:pt>
                <c:pt idx="1794">
                  <c:v>4.8369999999999997</c:v>
                </c:pt>
                <c:pt idx="1795">
                  <c:v>4.8449999999999998</c:v>
                </c:pt>
                <c:pt idx="1796">
                  <c:v>4.88</c:v>
                </c:pt>
                <c:pt idx="1797">
                  <c:v>4.8710000000000004</c:v>
                </c:pt>
                <c:pt idx="1798">
                  <c:v>4.8099999999999996</c:v>
                </c:pt>
                <c:pt idx="1799">
                  <c:v>4.8040000000000003</c:v>
                </c:pt>
                <c:pt idx="1800">
                  <c:v>4.7729999999999997</c:v>
                </c:pt>
                <c:pt idx="1801">
                  <c:v>4.7880000000000003</c:v>
                </c:pt>
                <c:pt idx="1802">
                  <c:v>4.7850000000000001</c:v>
                </c:pt>
                <c:pt idx="1803">
                  <c:v>4.8869999999999996</c:v>
                </c:pt>
                <c:pt idx="1804">
                  <c:v>4.9029999999999996</c:v>
                </c:pt>
                <c:pt idx="1805">
                  <c:v>4.8639999999999999</c:v>
                </c:pt>
                <c:pt idx="1806">
                  <c:v>4.8209999999999997</c:v>
                </c:pt>
                <c:pt idx="1807">
                  <c:v>4.8559999999999999</c:v>
                </c:pt>
                <c:pt idx="1808">
                  <c:v>4.8040000000000003</c:v>
                </c:pt>
                <c:pt idx="1809">
                  <c:v>4.8230000000000004</c:v>
                </c:pt>
                <c:pt idx="1810">
                  <c:v>4.8380000000000001</c:v>
                </c:pt>
                <c:pt idx="1811">
                  <c:v>4.7699999999999996</c:v>
                </c:pt>
                <c:pt idx="1812">
                  <c:v>4.8040000000000003</c:v>
                </c:pt>
                <c:pt idx="1813">
                  <c:v>4.8159999999999998</c:v>
                </c:pt>
                <c:pt idx="1814">
                  <c:v>4.8339999999999996</c:v>
                </c:pt>
                <c:pt idx="1815">
                  <c:v>4.8479999999999999</c:v>
                </c:pt>
                <c:pt idx="1816">
                  <c:v>4.8860000000000001</c:v>
                </c:pt>
                <c:pt idx="1817">
                  <c:v>4.9000000000000004</c:v>
                </c:pt>
                <c:pt idx="1818">
                  <c:v>4.8390000000000004</c:v>
                </c:pt>
                <c:pt idx="1819">
                  <c:v>4.8159999999999998</c:v>
                </c:pt>
                <c:pt idx="1820">
                  <c:v>4.78</c:v>
                </c:pt>
                <c:pt idx="1821">
                  <c:v>4.7910000000000004</c:v>
                </c:pt>
                <c:pt idx="1822">
                  <c:v>4.766</c:v>
                </c:pt>
                <c:pt idx="1823">
                  <c:v>4.7119999999999997</c:v>
                </c:pt>
                <c:pt idx="1824">
                  <c:v>4.6619999999999999</c:v>
                </c:pt>
                <c:pt idx="1825">
                  <c:v>4.6829999999999998</c:v>
                </c:pt>
                <c:pt idx="1826">
                  <c:v>4.6529999999999996</c:v>
                </c:pt>
                <c:pt idx="1827">
                  <c:v>4.6669999999999998</c:v>
                </c:pt>
                <c:pt idx="1828">
                  <c:v>4.7</c:v>
                </c:pt>
                <c:pt idx="1829">
                  <c:v>4.6929999999999996</c:v>
                </c:pt>
                <c:pt idx="1830">
                  <c:v>4.7220000000000004</c:v>
                </c:pt>
                <c:pt idx="1831">
                  <c:v>4.6920000000000002</c:v>
                </c:pt>
                <c:pt idx="1832">
                  <c:v>4.6580000000000004</c:v>
                </c:pt>
                <c:pt idx="1833">
                  <c:v>4.6449999999999996</c:v>
                </c:pt>
                <c:pt idx="1834">
                  <c:v>4.6529999999999996</c:v>
                </c:pt>
                <c:pt idx="1835">
                  <c:v>4.6260000000000003</c:v>
                </c:pt>
                <c:pt idx="1836">
                  <c:v>4.625</c:v>
                </c:pt>
                <c:pt idx="1837">
                  <c:v>4.6040000000000001</c:v>
                </c:pt>
                <c:pt idx="1838">
                  <c:v>4.6130000000000004</c:v>
                </c:pt>
                <c:pt idx="1839">
                  <c:v>4.5659999999999998</c:v>
                </c:pt>
                <c:pt idx="1840">
                  <c:v>4.5119999999999996</c:v>
                </c:pt>
                <c:pt idx="1841">
                  <c:v>4.5019999999999998</c:v>
                </c:pt>
                <c:pt idx="1842">
                  <c:v>4.4569999999999999</c:v>
                </c:pt>
                <c:pt idx="1843">
                  <c:v>4.4039999999999999</c:v>
                </c:pt>
                <c:pt idx="1844">
                  <c:v>4.3970000000000002</c:v>
                </c:pt>
                <c:pt idx="1845">
                  <c:v>4.2649999999999997</c:v>
                </c:pt>
                <c:pt idx="1846">
                  <c:v>4.3339999999999996</c:v>
                </c:pt>
                <c:pt idx="1847">
                  <c:v>4.3070000000000004</c:v>
                </c:pt>
                <c:pt idx="1848">
                  <c:v>4.3179999999999996</c:v>
                </c:pt>
                <c:pt idx="1849">
                  <c:v>4.266</c:v>
                </c:pt>
                <c:pt idx="1850">
                  <c:v>4.3029999999999999</c:v>
                </c:pt>
                <c:pt idx="1851">
                  <c:v>4.319</c:v>
                </c:pt>
                <c:pt idx="1852">
                  <c:v>4.3120000000000003</c:v>
                </c:pt>
                <c:pt idx="1853">
                  <c:v>4.3970000000000002</c:v>
                </c:pt>
                <c:pt idx="1854">
                  <c:v>4.4740000000000002</c:v>
                </c:pt>
                <c:pt idx="1855">
                  <c:v>4.5380000000000003</c:v>
                </c:pt>
                <c:pt idx="1856">
                  <c:v>4.5590000000000002</c:v>
                </c:pt>
                <c:pt idx="1857">
                  <c:v>4.5359999999999996</c:v>
                </c:pt>
                <c:pt idx="1858">
                  <c:v>4.5449999999999999</c:v>
                </c:pt>
                <c:pt idx="1859">
                  <c:v>4.6230000000000002</c:v>
                </c:pt>
                <c:pt idx="1860">
                  <c:v>4.6310000000000002</c:v>
                </c:pt>
                <c:pt idx="1861">
                  <c:v>4.6020000000000003</c:v>
                </c:pt>
                <c:pt idx="1862">
                  <c:v>4.5720000000000001</c:v>
                </c:pt>
                <c:pt idx="1863">
                  <c:v>4.7050000000000001</c:v>
                </c:pt>
                <c:pt idx="1864">
                  <c:v>4.6529999999999996</c:v>
                </c:pt>
                <c:pt idx="1865">
                  <c:v>4.5990000000000002</c:v>
                </c:pt>
                <c:pt idx="1866">
                  <c:v>4.5549999999999997</c:v>
                </c:pt>
                <c:pt idx="1867">
                  <c:v>4.524</c:v>
                </c:pt>
                <c:pt idx="1868">
                  <c:v>4.4980000000000002</c:v>
                </c:pt>
                <c:pt idx="1869">
                  <c:v>4.6900000000000004</c:v>
                </c:pt>
                <c:pt idx="1870">
                  <c:v>4.7469999999999999</c:v>
                </c:pt>
                <c:pt idx="1871">
                  <c:v>4.8609999999999998</c:v>
                </c:pt>
                <c:pt idx="1872">
                  <c:v>4.8339999999999996</c:v>
                </c:pt>
                <c:pt idx="1873">
                  <c:v>4.7850000000000001</c:v>
                </c:pt>
                <c:pt idx="1874">
                  <c:v>4.7089999999999996</c:v>
                </c:pt>
                <c:pt idx="1875">
                  <c:v>4.7720000000000002</c:v>
                </c:pt>
                <c:pt idx="1876">
                  <c:v>4.7619999999999996</c:v>
                </c:pt>
                <c:pt idx="1877">
                  <c:v>4.8550000000000004</c:v>
                </c:pt>
                <c:pt idx="1878">
                  <c:v>4.8280000000000003</c:v>
                </c:pt>
                <c:pt idx="1879">
                  <c:v>4.79</c:v>
                </c:pt>
                <c:pt idx="1880">
                  <c:v>4.8179999999999996</c:v>
                </c:pt>
                <c:pt idx="1881">
                  <c:v>4.8739999999999997</c:v>
                </c:pt>
                <c:pt idx="1882">
                  <c:v>4.8710000000000004</c:v>
                </c:pt>
                <c:pt idx="1883">
                  <c:v>4.9390000000000001</c:v>
                </c:pt>
                <c:pt idx="1884">
                  <c:v>4.9960000000000004</c:v>
                </c:pt>
                <c:pt idx="1885">
                  <c:v>4.9829999999999997</c:v>
                </c:pt>
                <c:pt idx="1886">
                  <c:v>4.9409999999999998</c:v>
                </c:pt>
                <c:pt idx="1887">
                  <c:v>4.9749999999999996</c:v>
                </c:pt>
                <c:pt idx="1888">
                  <c:v>4.8600000000000003</c:v>
                </c:pt>
                <c:pt idx="1889">
                  <c:v>4.8570000000000002</c:v>
                </c:pt>
                <c:pt idx="1890">
                  <c:v>4.907</c:v>
                </c:pt>
                <c:pt idx="1891">
                  <c:v>4.8609999999999998</c:v>
                </c:pt>
                <c:pt idx="1892">
                  <c:v>4.8230000000000004</c:v>
                </c:pt>
                <c:pt idx="1893">
                  <c:v>4.7510000000000003</c:v>
                </c:pt>
                <c:pt idx="1894">
                  <c:v>4.7720000000000002</c:v>
                </c:pt>
                <c:pt idx="1895">
                  <c:v>4.7610000000000001</c:v>
                </c:pt>
                <c:pt idx="1896">
                  <c:v>4.7939999999999996</c:v>
                </c:pt>
                <c:pt idx="1897">
                  <c:v>4.8319999999999999</c:v>
                </c:pt>
                <c:pt idx="1898">
                  <c:v>4.8049999999999997</c:v>
                </c:pt>
                <c:pt idx="1899">
                  <c:v>4.8570000000000002</c:v>
                </c:pt>
                <c:pt idx="1900">
                  <c:v>4.8179999999999996</c:v>
                </c:pt>
                <c:pt idx="1901">
                  <c:v>4.8840000000000003</c:v>
                </c:pt>
                <c:pt idx="1902">
                  <c:v>4.9720000000000004</c:v>
                </c:pt>
                <c:pt idx="1903">
                  <c:v>4.9740000000000002</c:v>
                </c:pt>
                <c:pt idx="1904">
                  <c:v>4.9530000000000003</c:v>
                </c:pt>
                <c:pt idx="1905">
                  <c:v>4.9290000000000003</c:v>
                </c:pt>
                <c:pt idx="1906">
                  <c:v>4.9050000000000002</c:v>
                </c:pt>
                <c:pt idx="1907">
                  <c:v>4.88</c:v>
                </c:pt>
                <c:pt idx="1908">
                  <c:v>4.8289999999999997</c:v>
                </c:pt>
                <c:pt idx="1909">
                  <c:v>4.8090000000000002</c:v>
                </c:pt>
                <c:pt idx="1910">
                  <c:v>4.8250000000000002</c:v>
                </c:pt>
                <c:pt idx="1911">
                  <c:v>4.9269999999999996</c:v>
                </c:pt>
                <c:pt idx="1912">
                  <c:v>4.915</c:v>
                </c:pt>
                <c:pt idx="1913">
                  <c:v>4.93</c:v>
                </c:pt>
                <c:pt idx="1914">
                  <c:v>4.9729999999999999</c:v>
                </c:pt>
                <c:pt idx="1915">
                  <c:v>4.992</c:v>
                </c:pt>
                <c:pt idx="1916">
                  <c:v>4.9649999999999999</c:v>
                </c:pt>
                <c:pt idx="1917">
                  <c:v>4.9240000000000004</c:v>
                </c:pt>
                <c:pt idx="1918">
                  <c:v>4.9210000000000003</c:v>
                </c:pt>
                <c:pt idx="1919">
                  <c:v>4.9390000000000001</c:v>
                </c:pt>
                <c:pt idx="1920">
                  <c:v>4.9509999999999996</c:v>
                </c:pt>
                <c:pt idx="1921">
                  <c:v>4.9770000000000003</c:v>
                </c:pt>
                <c:pt idx="1922">
                  <c:v>4.9210000000000003</c:v>
                </c:pt>
                <c:pt idx="1923">
                  <c:v>4.9660000000000002</c:v>
                </c:pt>
                <c:pt idx="1924">
                  <c:v>4.97</c:v>
                </c:pt>
                <c:pt idx="1925">
                  <c:v>4.9720000000000004</c:v>
                </c:pt>
                <c:pt idx="1926">
                  <c:v>4.9640000000000004</c:v>
                </c:pt>
                <c:pt idx="1927">
                  <c:v>5.0090000000000003</c:v>
                </c:pt>
                <c:pt idx="1928">
                  <c:v>5.0330000000000004</c:v>
                </c:pt>
                <c:pt idx="1929">
                  <c:v>5.0869999999999997</c:v>
                </c:pt>
                <c:pt idx="1930">
                  <c:v>5.141</c:v>
                </c:pt>
                <c:pt idx="1931">
                  <c:v>5.1760000000000002</c:v>
                </c:pt>
                <c:pt idx="1932">
                  <c:v>5.1760000000000002</c:v>
                </c:pt>
                <c:pt idx="1933">
                  <c:v>5.1559999999999997</c:v>
                </c:pt>
                <c:pt idx="1934">
                  <c:v>5.165</c:v>
                </c:pt>
                <c:pt idx="1935">
                  <c:v>5.1840000000000002</c:v>
                </c:pt>
                <c:pt idx="1936">
                  <c:v>5.22</c:v>
                </c:pt>
                <c:pt idx="1937">
                  <c:v>5.226</c:v>
                </c:pt>
                <c:pt idx="1938">
                  <c:v>5.2089999999999996</c:v>
                </c:pt>
                <c:pt idx="1939">
                  <c:v>5.202</c:v>
                </c:pt>
                <c:pt idx="1940">
                  <c:v>5.2130000000000001</c:v>
                </c:pt>
                <c:pt idx="1941">
                  <c:v>5.2270000000000003</c:v>
                </c:pt>
                <c:pt idx="1942">
                  <c:v>5.2569999999999997</c:v>
                </c:pt>
                <c:pt idx="1943">
                  <c:v>5.2779999999999996</c:v>
                </c:pt>
                <c:pt idx="1944">
                  <c:v>5.2389999999999999</c:v>
                </c:pt>
                <c:pt idx="1945">
                  <c:v>5.2240000000000002</c:v>
                </c:pt>
                <c:pt idx="1946">
                  <c:v>5.2510000000000003</c:v>
                </c:pt>
                <c:pt idx="1947">
                  <c:v>5.2519999999999998</c:v>
                </c:pt>
                <c:pt idx="1948">
                  <c:v>5.2009999999999996</c:v>
                </c:pt>
                <c:pt idx="1949">
                  <c:v>5.141</c:v>
                </c:pt>
                <c:pt idx="1950">
                  <c:v>5.1349999999999998</c:v>
                </c:pt>
                <c:pt idx="1951">
                  <c:v>5.165</c:v>
                </c:pt>
                <c:pt idx="1952">
                  <c:v>5.1769999999999996</c:v>
                </c:pt>
                <c:pt idx="1953">
                  <c:v>5.1870000000000003</c:v>
                </c:pt>
                <c:pt idx="1954">
                  <c:v>5.1520000000000001</c:v>
                </c:pt>
                <c:pt idx="1955">
                  <c:v>5.1479999999999997</c:v>
                </c:pt>
                <c:pt idx="1956">
                  <c:v>5.109</c:v>
                </c:pt>
                <c:pt idx="1957">
                  <c:v>5.1840000000000002</c:v>
                </c:pt>
                <c:pt idx="1958">
                  <c:v>5.1870000000000003</c:v>
                </c:pt>
                <c:pt idx="1959">
                  <c:v>5.2009999999999996</c:v>
                </c:pt>
                <c:pt idx="1960">
                  <c:v>5.2039999999999997</c:v>
                </c:pt>
                <c:pt idx="1961">
                  <c:v>5.1589999999999998</c:v>
                </c:pt>
                <c:pt idx="1962">
                  <c:v>5.19</c:v>
                </c:pt>
                <c:pt idx="1963">
                  <c:v>5.1509999999999998</c:v>
                </c:pt>
                <c:pt idx="1964">
                  <c:v>5.109</c:v>
                </c:pt>
                <c:pt idx="1965">
                  <c:v>5.0919999999999996</c:v>
                </c:pt>
                <c:pt idx="1966">
                  <c:v>5.1340000000000003</c:v>
                </c:pt>
                <c:pt idx="1967">
                  <c:v>5.1219999999999999</c:v>
                </c:pt>
                <c:pt idx="1968">
                  <c:v>5.181</c:v>
                </c:pt>
                <c:pt idx="1969">
                  <c:v>5.1159999999999997</c:v>
                </c:pt>
                <c:pt idx="1970">
                  <c:v>5.1150000000000002</c:v>
                </c:pt>
                <c:pt idx="1971">
                  <c:v>5.1020000000000003</c:v>
                </c:pt>
                <c:pt idx="1972">
                  <c:v>5.16</c:v>
                </c:pt>
                <c:pt idx="1973">
                  <c:v>5.1929999999999996</c:v>
                </c:pt>
                <c:pt idx="1974">
                  <c:v>5.1989999999999998</c:v>
                </c:pt>
                <c:pt idx="1975">
                  <c:v>5.202</c:v>
                </c:pt>
                <c:pt idx="1976">
                  <c:v>5.2539999999999996</c:v>
                </c:pt>
                <c:pt idx="1977">
                  <c:v>5.2519999999999998</c:v>
                </c:pt>
                <c:pt idx="1978">
                  <c:v>5.2380000000000004</c:v>
                </c:pt>
                <c:pt idx="1979">
                  <c:v>5.258</c:v>
                </c:pt>
                <c:pt idx="1980">
                  <c:v>5.1890000000000001</c:v>
                </c:pt>
                <c:pt idx="1981">
                  <c:v>5.18</c:v>
                </c:pt>
                <c:pt idx="1982">
                  <c:v>5.1639999999999997</c:v>
                </c:pt>
                <c:pt idx="1983">
                  <c:v>5.1459999999999999</c:v>
                </c:pt>
                <c:pt idx="1984">
                  <c:v>5.16</c:v>
                </c:pt>
                <c:pt idx="1985">
                  <c:v>5.19</c:v>
                </c:pt>
                <c:pt idx="1986">
                  <c:v>5.1689999999999996</c:v>
                </c:pt>
                <c:pt idx="1987">
                  <c:v>5.1550000000000002</c:v>
                </c:pt>
                <c:pt idx="1988">
                  <c:v>5.14</c:v>
                </c:pt>
                <c:pt idx="1989">
                  <c:v>5.1680000000000001</c:v>
                </c:pt>
                <c:pt idx="1990">
                  <c:v>5.1639999999999997</c:v>
                </c:pt>
                <c:pt idx="1991">
                  <c:v>5.1269999999999998</c:v>
                </c:pt>
                <c:pt idx="1992">
                  <c:v>5.1260000000000003</c:v>
                </c:pt>
                <c:pt idx="1993">
                  <c:v>5.13</c:v>
                </c:pt>
                <c:pt idx="1994">
                  <c:v>5.1310000000000002</c:v>
                </c:pt>
                <c:pt idx="1995">
                  <c:v>5.1050000000000004</c:v>
                </c:pt>
                <c:pt idx="1996">
                  <c:v>5.125</c:v>
                </c:pt>
                <c:pt idx="1997">
                  <c:v>5.09</c:v>
                </c:pt>
                <c:pt idx="1998">
                  <c:v>5.0220000000000002</c:v>
                </c:pt>
                <c:pt idx="1999">
                  <c:v>4.9729999999999999</c:v>
                </c:pt>
                <c:pt idx="2000">
                  <c:v>5.008</c:v>
                </c:pt>
                <c:pt idx="2001">
                  <c:v>4.984</c:v>
                </c:pt>
                <c:pt idx="2002">
                  <c:v>4.952</c:v>
                </c:pt>
                <c:pt idx="2003">
                  <c:v>4.97</c:v>
                </c:pt>
                <c:pt idx="2004">
                  <c:v>4.9660000000000002</c:v>
                </c:pt>
                <c:pt idx="2005">
                  <c:v>4.9279999999999999</c:v>
                </c:pt>
                <c:pt idx="2006">
                  <c:v>4.9770000000000003</c:v>
                </c:pt>
                <c:pt idx="2007">
                  <c:v>4.8970000000000002</c:v>
                </c:pt>
                <c:pt idx="2008">
                  <c:v>4.92</c:v>
                </c:pt>
                <c:pt idx="2009">
                  <c:v>4.9420000000000002</c:v>
                </c:pt>
                <c:pt idx="2010">
                  <c:v>4.9729999999999999</c:v>
                </c:pt>
                <c:pt idx="2011">
                  <c:v>4.9249999999999998</c:v>
                </c:pt>
                <c:pt idx="2012">
                  <c:v>4.9340000000000002</c:v>
                </c:pt>
                <c:pt idx="2013">
                  <c:v>4.9720000000000004</c:v>
                </c:pt>
                <c:pt idx="2014">
                  <c:v>5.0149999999999997</c:v>
                </c:pt>
                <c:pt idx="2015">
                  <c:v>4.9980000000000002</c:v>
                </c:pt>
                <c:pt idx="2016">
                  <c:v>5.0060000000000002</c:v>
                </c:pt>
                <c:pt idx="2017">
                  <c:v>4.9450000000000003</c:v>
                </c:pt>
                <c:pt idx="2018">
                  <c:v>4.8940000000000001</c:v>
                </c:pt>
                <c:pt idx="2019">
                  <c:v>4.875</c:v>
                </c:pt>
                <c:pt idx="2020">
                  <c:v>4.8280000000000003</c:v>
                </c:pt>
                <c:pt idx="2021">
                  <c:v>4.8680000000000003</c:v>
                </c:pt>
                <c:pt idx="2022">
                  <c:v>4.8970000000000002</c:v>
                </c:pt>
                <c:pt idx="2023">
                  <c:v>4.8840000000000003</c:v>
                </c:pt>
                <c:pt idx="2024">
                  <c:v>4.84</c:v>
                </c:pt>
                <c:pt idx="2025">
                  <c:v>4.8099999999999996</c:v>
                </c:pt>
                <c:pt idx="2026">
                  <c:v>4.8120000000000003</c:v>
                </c:pt>
                <c:pt idx="2027">
                  <c:v>4.7350000000000003</c:v>
                </c:pt>
                <c:pt idx="2028">
                  <c:v>4.7450000000000001</c:v>
                </c:pt>
                <c:pt idx="2029">
                  <c:v>4.7290000000000001</c:v>
                </c:pt>
                <c:pt idx="2030">
                  <c:v>4.7869999999999999</c:v>
                </c:pt>
                <c:pt idx="2031">
                  <c:v>4.7949999999999999</c:v>
                </c:pt>
                <c:pt idx="2032">
                  <c:v>4.7519999999999998</c:v>
                </c:pt>
                <c:pt idx="2033">
                  <c:v>4.7</c:v>
                </c:pt>
                <c:pt idx="2034">
                  <c:v>4.6319999999999997</c:v>
                </c:pt>
                <c:pt idx="2035">
                  <c:v>4.5640000000000001</c:v>
                </c:pt>
                <c:pt idx="2036">
                  <c:v>4.6180000000000003</c:v>
                </c:pt>
                <c:pt idx="2037">
                  <c:v>4.556</c:v>
                </c:pt>
                <c:pt idx="2038">
                  <c:v>4.5960000000000001</c:v>
                </c:pt>
                <c:pt idx="2039">
                  <c:v>4.5609999999999999</c:v>
                </c:pt>
                <c:pt idx="2040">
                  <c:v>4.5350000000000001</c:v>
                </c:pt>
                <c:pt idx="2041">
                  <c:v>4.4989999999999997</c:v>
                </c:pt>
                <c:pt idx="2042">
                  <c:v>4.4349999999999996</c:v>
                </c:pt>
                <c:pt idx="2043">
                  <c:v>4.57</c:v>
                </c:pt>
                <c:pt idx="2044">
                  <c:v>4.57</c:v>
                </c:pt>
                <c:pt idx="2045">
                  <c:v>4.6050000000000004</c:v>
                </c:pt>
                <c:pt idx="2046">
                  <c:v>4.5590000000000002</c:v>
                </c:pt>
                <c:pt idx="2047">
                  <c:v>4.6520000000000001</c:v>
                </c:pt>
                <c:pt idx="2048">
                  <c:v>4.6870000000000003</c:v>
                </c:pt>
                <c:pt idx="2049">
                  <c:v>4.6539999999999999</c:v>
                </c:pt>
                <c:pt idx="2050">
                  <c:v>4.6589999999999998</c:v>
                </c:pt>
                <c:pt idx="2051">
                  <c:v>4.6529999999999996</c:v>
                </c:pt>
                <c:pt idx="2052">
                  <c:v>4.5810000000000004</c:v>
                </c:pt>
                <c:pt idx="2053">
                  <c:v>4.5629999999999997</c:v>
                </c:pt>
                <c:pt idx="2054">
                  <c:v>4.5679999999999996</c:v>
                </c:pt>
                <c:pt idx="2055">
                  <c:v>4.5030000000000001</c:v>
                </c:pt>
                <c:pt idx="2056">
                  <c:v>4.4290000000000003</c:v>
                </c:pt>
                <c:pt idx="2057">
                  <c:v>4.4290000000000003</c:v>
                </c:pt>
                <c:pt idx="2058">
                  <c:v>4.4029999999999996</c:v>
                </c:pt>
                <c:pt idx="2059">
                  <c:v>4.4059999999999997</c:v>
                </c:pt>
                <c:pt idx="2060">
                  <c:v>4.4109999999999996</c:v>
                </c:pt>
                <c:pt idx="2061">
                  <c:v>4.4630000000000001</c:v>
                </c:pt>
                <c:pt idx="2062">
                  <c:v>4.5209999999999999</c:v>
                </c:pt>
                <c:pt idx="2063">
                  <c:v>4.45</c:v>
                </c:pt>
                <c:pt idx="2064">
                  <c:v>4.4130000000000003</c:v>
                </c:pt>
                <c:pt idx="2065">
                  <c:v>4.359</c:v>
                </c:pt>
                <c:pt idx="2066">
                  <c:v>4.367</c:v>
                </c:pt>
                <c:pt idx="2067">
                  <c:v>4.3380000000000001</c:v>
                </c:pt>
                <c:pt idx="2068">
                  <c:v>4.3079999999999998</c:v>
                </c:pt>
                <c:pt idx="2069">
                  <c:v>4.3570000000000002</c:v>
                </c:pt>
                <c:pt idx="2070">
                  <c:v>4.3090000000000002</c:v>
                </c:pt>
                <c:pt idx="2071">
                  <c:v>4.2809999999999997</c:v>
                </c:pt>
                <c:pt idx="2072">
                  <c:v>4.3179999999999996</c:v>
                </c:pt>
                <c:pt idx="2073">
                  <c:v>4.3440000000000003</c:v>
                </c:pt>
                <c:pt idx="2074">
                  <c:v>4.3419999999999996</c:v>
                </c:pt>
                <c:pt idx="2075">
                  <c:v>4.2720000000000002</c:v>
                </c:pt>
                <c:pt idx="2076">
                  <c:v>4.3019999999999996</c:v>
                </c:pt>
                <c:pt idx="2077">
                  <c:v>4.3810000000000002</c:v>
                </c:pt>
                <c:pt idx="2078">
                  <c:v>4.3840000000000003</c:v>
                </c:pt>
                <c:pt idx="2079">
                  <c:v>4.3659999999999997</c:v>
                </c:pt>
                <c:pt idx="2080">
                  <c:v>4.3209999999999997</c:v>
                </c:pt>
                <c:pt idx="2081">
                  <c:v>4.3029999999999999</c:v>
                </c:pt>
                <c:pt idx="2082">
                  <c:v>4.2990000000000004</c:v>
                </c:pt>
                <c:pt idx="2083">
                  <c:v>4.3550000000000004</c:v>
                </c:pt>
                <c:pt idx="2084">
                  <c:v>4.4249999999999998</c:v>
                </c:pt>
                <c:pt idx="2085">
                  <c:v>4.4619999999999997</c:v>
                </c:pt>
                <c:pt idx="2086">
                  <c:v>4.5650000000000004</c:v>
                </c:pt>
                <c:pt idx="2087">
                  <c:v>4.6050000000000004</c:v>
                </c:pt>
                <c:pt idx="2088">
                  <c:v>4.5910000000000002</c:v>
                </c:pt>
                <c:pt idx="2089">
                  <c:v>4.5999999999999996</c:v>
                </c:pt>
                <c:pt idx="2090">
                  <c:v>4.6139999999999999</c:v>
                </c:pt>
                <c:pt idx="2091">
                  <c:v>4.6449999999999996</c:v>
                </c:pt>
                <c:pt idx="2092">
                  <c:v>4.5919999999999996</c:v>
                </c:pt>
                <c:pt idx="2093">
                  <c:v>4.6369999999999996</c:v>
                </c:pt>
                <c:pt idx="2094">
                  <c:v>4.5949999999999998</c:v>
                </c:pt>
                <c:pt idx="2095">
                  <c:v>4.5540000000000003</c:v>
                </c:pt>
                <c:pt idx="2096">
                  <c:v>4.4980000000000002</c:v>
                </c:pt>
                <c:pt idx="2097">
                  <c:v>4.5519999999999996</c:v>
                </c:pt>
                <c:pt idx="2098">
                  <c:v>4.5110000000000001</c:v>
                </c:pt>
                <c:pt idx="2099">
                  <c:v>4.5519999999999996</c:v>
                </c:pt>
                <c:pt idx="2100">
                  <c:v>4.5670000000000002</c:v>
                </c:pt>
                <c:pt idx="2101">
                  <c:v>4.6130000000000004</c:v>
                </c:pt>
                <c:pt idx="2102">
                  <c:v>4.6210000000000004</c:v>
                </c:pt>
                <c:pt idx="2103">
                  <c:v>4.5449999999999999</c:v>
                </c:pt>
                <c:pt idx="2104">
                  <c:v>4.4710000000000001</c:v>
                </c:pt>
                <c:pt idx="2105">
                  <c:v>4.4379999999999997</c:v>
                </c:pt>
                <c:pt idx="2106">
                  <c:v>4.3949999999999996</c:v>
                </c:pt>
                <c:pt idx="2107">
                  <c:v>4.4089999999999998</c:v>
                </c:pt>
                <c:pt idx="2108">
                  <c:v>4.4630000000000001</c:v>
                </c:pt>
                <c:pt idx="2109">
                  <c:v>4.4580000000000002</c:v>
                </c:pt>
                <c:pt idx="2110">
                  <c:v>4.4690000000000003</c:v>
                </c:pt>
                <c:pt idx="2111">
                  <c:v>4.4400000000000004</c:v>
                </c:pt>
                <c:pt idx="2112">
                  <c:v>4.4139999999999997</c:v>
                </c:pt>
                <c:pt idx="2113">
                  <c:v>4.4989999999999997</c:v>
                </c:pt>
                <c:pt idx="2114">
                  <c:v>4.5110000000000001</c:v>
                </c:pt>
                <c:pt idx="2115">
                  <c:v>4.5410000000000004</c:v>
                </c:pt>
                <c:pt idx="2116">
                  <c:v>4.4859999999999998</c:v>
                </c:pt>
                <c:pt idx="2117">
                  <c:v>4.5410000000000004</c:v>
                </c:pt>
                <c:pt idx="2118">
                  <c:v>4.5259999999999998</c:v>
                </c:pt>
                <c:pt idx="2119">
                  <c:v>4.4909999999999997</c:v>
                </c:pt>
                <c:pt idx="2120">
                  <c:v>4.5199999999999996</c:v>
                </c:pt>
                <c:pt idx="2121">
                  <c:v>4.4740000000000002</c:v>
                </c:pt>
                <c:pt idx="2122">
                  <c:v>4.476</c:v>
                </c:pt>
                <c:pt idx="2123">
                  <c:v>4.4509999999999996</c:v>
                </c:pt>
                <c:pt idx="2124">
                  <c:v>4.4119999999999999</c:v>
                </c:pt>
                <c:pt idx="2125">
                  <c:v>4.3840000000000003</c:v>
                </c:pt>
                <c:pt idx="2126">
                  <c:v>4.3780000000000001</c:v>
                </c:pt>
                <c:pt idx="2127">
                  <c:v>4.3600000000000003</c:v>
                </c:pt>
                <c:pt idx="2128">
                  <c:v>4.3179999999999996</c:v>
                </c:pt>
                <c:pt idx="2129">
                  <c:v>4.32</c:v>
                </c:pt>
                <c:pt idx="2130">
                  <c:v>4.3440000000000003</c:v>
                </c:pt>
                <c:pt idx="2131">
                  <c:v>4.3310000000000004</c:v>
                </c:pt>
                <c:pt idx="2132">
                  <c:v>4.2859999999999996</c:v>
                </c:pt>
                <c:pt idx="2133">
                  <c:v>4.2930000000000001</c:v>
                </c:pt>
                <c:pt idx="2134">
                  <c:v>4.2949999999999999</c:v>
                </c:pt>
                <c:pt idx="2135">
                  <c:v>4.2830000000000004</c:v>
                </c:pt>
                <c:pt idx="2136">
                  <c:v>4.2869999999999999</c:v>
                </c:pt>
                <c:pt idx="2137">
                  <c:v>4.1980000000000004</c:v>
                </c:pt>
                <c:pt idx="2138">
                  <c:v>4.2110000000000003</c:v>
                </c:pt>
                <c:pt idx="2139">
                  <c:v>4.2039999999999997</c:v>
                </c:pt>
                <c:pt idx="2140">
                  <c:v>4.3109999999999999</c:v>
                </c:pt>
                <c:pt idx="2141">
                  <c:v>4.3330000000000002</c:v>
                </c:pt>
                <c:pt idx="2142">
                  <c:v>4.3120000000000003</c:v>
                </c:pt>
                <c:pt idx="2143">
                  <c:v>4.2859999999999996</c:v>
                </c:pt>
                <c:pt idx="2144">
                  <c:v>4.2720000000000002</c:v>
                </c:pt>
                <c:pt idx="2145">
                  <c:v>4.2839999999999998</c:v>
                </c:pt>
                <c:pt idx="2146">
                  <c:v>4.2649999999999997</c:v>
                </c:pt>
                <c:pt idx="2147">
                  <c:v>4.2859999999999996</c:v>
                </c:pt>
                <c:pt idx="2148">
                  <c:v>4.2720000000000002</c:v>
                </c:pt>
                <c:pt idx="2149">
                  <c:v>4.2690000000000001</c:v>
                </c:pt>
                <c:pt idx="2150">
                  <c:v>4.2629999999999999</c:v>
                </c:pt>
                <c:pt idx="2151">
                  <c:v>4.181</c:v>
                </c:pt>
                <c:pt idx="2152">
                  <c:v>4.1520000000000001</c:v>
                </c:pt>
                <c:pt idx="2153">
                  <c:v>4.1310000000000002</c:v>
                </c:pt>
                <c:pt idx="2154">
                  <c:v>4.12</c:v>
                </c:pt>
                <c:pt idx="2155">
                  <c:v>4.0970000000000004</c:v>
                </c:pt>
                <c:pt idx="2156">
                  <c:v>4.0250000000000004</c:v>
                </c:pt>
                <c:pt idx="2157">
                  <c:v>4.0220000000000002</c:v>
                </c:pt>
                <c:pt idx="2158">
                  <c:v>4.0540000000000003</c:v>
                </c:pt>
                <c:pt idx="2159">
                  <c:v>4.0439999999999996</c:v>
                </c:pt>
                <c:pt idx="2160">
                  <c:v>4.085</c:v>
                </c:pt>
                <c:pt idx="2161">
                  <c:v>4.0720000000000001</c:v>
                </c:pt>
                <c:pt idx="2162">
                  <c:v>4.0810000000000004</c:v>
                </c:pt>
                <c:pt idx="2163">
                  <c:v>4.0170000000000003</c:v>
                </c:pt>
                <c:pt idx="2164">
                  <c:v>4.0270000000000001</c:v>
                </c:pt>
                <c:pt idx="2165">
                  <c:v>4.0250000000000004</c:v>
                </c:pt>
                <c:pt idx="2166">
                  <c:v>3.9969999999999999</c:v>
                </c:pt>
                <c:pt idx="2167">
                  <c:v>4.016</c:v>
                </c:pt>
                <c:pt idx="2168">
                  <c:v>4.0110000000000001</c:v>
                </c:pt>
                <c:pt idx="2169">
                  <c:v>3.964</c:v>
                </c:pt>
                <c:pt idx="2170">
                  <c:v>3.931</c:v>
                </c:pt>
                <c:pt idx="2171">
                  <c:v>3.976</c:v>
                </c:pt>
                <c:pt idx="2172">
                  <c:v>3.9830000000000001</c:v>
                </c:pt>
                <c:pt idx="2173">
                  <c:v>3.996</c:v>
                </c:pt>
                <c:pt idx="2174">
                  <c:v>3.927</c:v>
                </c:pt>
                <c:pt idx="2175">
                  <c:v>3.9039999999999999</c:v>
                </c:pt>
                <c:pt idx="2176">
                  <c:v>3.9369999999999998</c:v>
                </c:pt>
                <c:pt idx="2177">
                  <c:v>3.887</c:v>
                </c:pt>
                <c:pt idx="2178">
                  <c:v>3.8780000000000001</c:v>
                </c:pt>
                <c:pt idx="2179">
                  <c:v>3.8940000000000001</c:v>
                </c:pt>
                <c:pt idx="2180">
                  <c:v>3.9540000000000002</c:v>
                </c:pt>
                <c:pt idx="2181">
                  <c:v>3.9180000000000001</c:v>
                </c:pt>
                <c:pt idx="2182">
                  <c:v>3.899</c:v>
                </c:pt>
                <c:pt idx="2183">
                  <c:v>3.895</c:v>
                </c:pt>
                <c:pt idx="2184">
                  <c:v>3.8809999999999998</c:v>
                </c:pt>
                <c:pt idx="2185">
                  <c:v>3.87</c:v>
                </c:pt>
                <c:pt idx="2186">
                  <c:v>3.839</c:v>
                </c:pt>
                <c:pt idx="2187">
                  <c:v>3.8050000000000002</c:v>
                </c:pt>
                <c:pt idx="2188">
                  <c:v>3.819</c:v>
                </c:pt>
                <c:pt idx="2189">
                  <c:v>3.831</c:v>
                </c:pt>
                <c:pt idx="2190">
                  <c:v>3.9710000000000001</c:v>
                </c:pt>
                <c:pt idx="2191">
                  <c:v>4.0250000000000004</c:v>
                </c:pt>
                <c:pt idx="2192">
                  <c:v>4.1539999999999999</c:v>
                </c:pt>
                <c:pt idx="2193">
                  <c:v>4.133</c:v>
                </c:pt>
                <c:pt idx="2194">
                  <c:v>4.2270000000000003</c:v>
                </c:pt>
                <c:pt idx="2195">
                  <c:v>4.1959999999999997</c:v>
                </c:pt>
                <c:pt idx="2196">
                  <c:v>4.2770000000000001</c:v>
                </c:pt>
                <c:pt idx="2197">
                  <c:v>4.2060000000000004</c:v>
                </c:pt>
                <c:pt idx="2198">
                  <c:v>4.2060000000000004</c:v>
                </c:pt>
                <c:pt idx="2199">
                  <c:v>4.2009999999999996</c:v>
                </c:pt>
                <c:pt idx="2200">
                  <c:v>4.1559999999999997</c:v>
                </c:pt>
                <c:pt idx="2201">
                  <c:v>4.1289999999999996</c:v>
                </c:pt>
                <c:pt idx="2202">
                  <c:v>4.0439999999999996</c:v>
                </c:pt>
                <c:pt idx="2203">
                  <c:v>4.0350000000000001</c:v>
                </c:pt>
                <c:pt idx="2204">
                  <c:v>4.12</c:v>
                </c:pt>
                <c:pt idx="2205">
                  <c:v>4.1779999999999999</c:v>
                </c:pt>
                <c:pt idx="2206">
                  <c:v>4.1859999999999999</c:v>
                </c:pt>
                <c:pt idx="2207">
                  <c:v>4.2569999999999997</c:v>
                </c:pt>
                <c:pt idx="2208">
                  <c:v>4.226</c:v>
                </c:pt>
                <c:pt idx="2209">
                  <c:v>4.2050000000000001</c:v>
                </c:pt>
                <c:pt idx="2210">
                  <c:v>4.1449999999999996</c:v>
                </c:pt>
                <c:pt idx="2211">
                  <c:v>4.2069999999999999</c:v>
                </c:pt>
                <c:pt idx="2212">
                  <c:v>4.2329999999999997</c:v>
                </c:pt>
                <c:pt idx="2213">
                  <c:v>4.2089999999999996</c:v>
                </c:pt>
                <c:pt idx="2214">
                  <c:v>4.1719999999999997</c:v>
                </c:pt>
                <c:pt idx="2215">
                  <c:v>4.157</c:v>
                </c:pt>
                <c:pt idx="2216">
                  <c:v>4.125</c:v>
                </c:pt>
                <c:pt idx="2217">
                  <c:v>4.1660000000000004</c:v>
                </c:pt>
                <c:pt idx="2218">
                  <c:v>4.1079999999999997</c:v>
                </c:pt>
                <c:pt idx="2219">
                  <c:v>4.101</c:v>
                </c:pt>
                <c:pt idx="2220">
                  <c:v>4.12</c:v>
                </c:pt>
                <c:pt idx="2221">
                  <c:v>4.1459999999999999</c:v>
                </c:pt>
                <c:pt idx="2222">
                  <c:v>4.0919999999999996</c:v>
                </c:pt>
                <c:pt idx="2223">
                  <c:v>4.0819999999999999</c:v>
                </c:pt>
                <c:pt idx="2224">
                  <c:v>4.077</c:v>
                </c:pt>
                <c:pt idx="2225">
                  <c:v>4.0830000000000002</c:v>
                </c:pt>
                <c:pt idx="2226">
                  <c:v>3.9729999999999999</c:v>
                </c:pt>
                <c:pt idx="2227">
                  <c:v>3.944</c:v>
                </c:pt>
                <c:pt idx="2228">
                  <c:v>3.9260000000000002</c:v>
                </c:pt>
                <c:pt idx="2229">
                  <c:v>3.907</c:v>
                </c:pt>
                <c:pt idx="2230">
                  <c:v>3.9020000000000001</c:v>
                </c:pt>
                <c:pt idx="2231">
                  <c:v>3.9060000000000001</c:v>
                </c:pt>
                <c:pt idx="2232">
                  <c:v>3.8740000000000001</c:v>
                </c:pt>
                <c:pt idx="2233">
                  <c:v>3.8239999999999998</c:v>
                </c:pt>
                <c:pt idx="2234">
                  <c:v>3.7549999999999999</c:v>
                </c:pt>
                <c:pt idx="2235">
                  <c:v>3.746</c:v>
                </c:pt>
                <c:pt idx="2236">
                  <c:v>3.7170000000000001</c:v>
                </c:pt>
                <c:pt idx="2237">
                  <c:v>3.7</c:v>
                </c:pt>
                <c:pt idx="2238">
                  <c:v>3.64</c:v>
                </c:pt>
                <c:pt idx="2239">
                  <c:v>3.6160000000000001</c:v>
                </c:pt>
                <c:pt idx="2240">
                  <c:v>3.6760000000000002</c:v>
                </c:pt>
                <c:pt idx="2241">
                  <c:v>3.774</c:v>
                </c:pt>
                <c:pt idx="2242">
                  <c:v>3.7080000000000002</c:v>
                </c:pt>
                <c:pt idx="2243">
                  <c:v>3.7210000000000001</c:v>
                </c:pt>
                <c:pt idx="2244">
                  <c:v>3.7570000000000001</c:v>
                </c:pt>
                <c:pt idx="2245">
                  <c:v>3.6440000000000001</c:v>
                </c:pt>
                <c:pt idx="2246">
                  <c:v>3.67</c:v>
                </c:pt>
                <c:pt idx="2247">
                  <c:v>3.609</c:v>
                </c:pt>
                <c:pt idx="2248">
                  <c:v>3.6789999999999998</c:v>
                </c:pt>
                <c:pt idx="2249">
                  <c:v>3.5920000000000001</c:v>
                </c:pt>
                <c:pt idx="2250">
                  <c:v>3.5550000000000002</c:v>
                </c:pt>
                <c:pt idx="2251">
                  <c:v>3.5219999999999998</c:v>
                </c:pt>
                <c:pt idx="2252">
                  <c:v>3.5230000000000001</c:v>
                </c:pt>
                <c:pt idx="2253">
                  <c:v>3.4649999999999999</c:v>
                </c:pt>
                <c:pt idx="2254">
                  <c:v>3.4990000000000001</c:v>
                </c:pt>
                <c:pt idx="2255">
                  <c:v>3.5510000000000002</c:v>
                </c:pt>
                <c:pt idx="2256">
                  <c:v>3.6840000000000002</c:v>
                </c:pt>
                <c:pt idx="2257">
                  <c:v>3.6869999999999998</c:v>
                </c:pt>
                <c:pt idx="2258">
                  <c:v>3.6970000000000001</c:v>
                </c:pt>
                <c:pt idx="2259">
                  <c:v>3.681</c:v>
                </c:pt>
                <c:pt idx="2260">
                  <c:v>3.6819999999999999</c:v>
                </c:pt>
                <c:pt idx="2261">
                  <c:v>3.6429999999999998</c:v>
                </c:pt>
                <c:pt idx="2262">
                  <c:v>3.806</c:v>
                </c:pt>
                <c:pt idx="2263">
                  <c:v>3.8479999999999999</c:v>
                </c:pt>
                <c:pt idx="2264">
                  <c:v>3.802</c:v>
                </c:pt>
                <c:pt idx="2265">
                  <c:v>3.7989999999999999</c:v>
                </c:pt>
                <c:pt idx="2266">
                  <c:v>3.847</c:v>
                </c:pt>
                <c:pt idx="2267">
                  <c:v>3.972</c:v>
                </c:pt>
                <c:pt idx="2268">
                  <c:v>3.927</c:v>
                </c:pt>
                <c:pt idx="2269">
                  <c:v>3.9820000000000002</c:v>
                </c:pt>
                <c:pt idx="2270">
                  <c:v>3.9790000000000001</c:v>
                </c:pt>
                <c:pt idx="2271">
                  <c:v>3.976</c:v>
                </c:pt>
                <c:pt idx="2272">
                  <c:v>3.9129999999999998</c:v>
                </c:pt>
                <c:pt idx="2273">
                  <c:v>3.9129999999999998</c:v>
                </c:pt>
                <c:pt idx="2274">
                  <c:v>3.8849999999999998</c:v>
                </c:pt>
                <c:pt idx="2275">
                  <c:v>4.0119999999999996</c:v>
                </c:pt>
                <c:pt idx="2276">
                  <c:v>4.0369999999999999</c:v>
                </c:pt>
                <c:pt idx="2277">
                  <c:v>4.0839999999999996</c:v>
                </c:pt>
                <c:pt idx="2278">
                  <c:v>4.03</c:v>
                </c:pt>
                <c:pt idx="2279">
                  <c:v>4.0869999999999997</c:v>
                </c:pt>
                <c:pt idx="2280">
                  <c:v>4.0679999999999996</c:v>
                </c:pt>
                <c:pt idx="2281">
                  <c:v>4.024</c:v>
                </c:pt>
                <c:pt idx="2282">
                  <c:v>4.07</c:v>
                </c:pt>
                <c:pt idx="2283">
                  <c:v>4.0019999999999998</c:v>
                </c:pt>
                <c:pt idx="2284">
                  <c:v>4.12</c:v>
                </c:pt>
                <c:pt idx="2285">
                  <c:v>4.1189999999999998</c:v>
                </c:pt>
                <c:pt idx="2286">
                  <c:v>4.1230000000000002</c:v>
                </c:pt>
                <c:pt idx="2287">
                  <c:v>4.1989999999999998</c:v>
                </c:pt>
                <c:pt idx="2288">
                  <c:v>4.1909999999999998</c:v>
                </c:pt>
                <c:pt idx="2289">
                  <c:v>4.1390000000000002</c:v>
                </c:pt>
                <c:pt idx="2290">
                  <c:v>4.1710000000000003</c:v>
                </c:pt>
                <c:pt idx="2291">
                  <c:v>4.1349999999999998</c:v>
                </c:pt>
                <c:pt idx="2292">
                  <c:v>4.1020000000000003</c:v>
                </c:pt>
                <c:pt idx="2293">
                  <c:v>4.0119999999999996</c:v>
                </c:pt>
                <c:pt idx="2294">
                  <c:v>4.069</c:v>
                </c:pt>
                <c:pt idx="2295">
                  <c:v>4.0759999999999996</c:v>
                </c:pt>
                <c:pt idx="2296">
                  <c:v>4.1929999999999996</c:v>
                </c:pt>
                <c:pt idx="2297">
                  <c:v>4.2119999999999997</c:v>
                </c:pt>
                <c:pt idx="2298">
                  <c:v>4.1580000000000004</c:v>
                </c:pt>
                <c:pt idx="2299">
                  <c:v>4.18</c:v>
                </c:pt>
                <c:pt idx="2300">
                  <c:v>4.1379999999999999</c:v>
                </c:pt>
                <c:pt idx="2301">
                  <c:v>4.1829999999999998</c:v>
                </c:pt>
                <c:pt idx="2302">
                  <c:v>4.1859999999999999</c:v>
                </c:pt>
                <c:pt idx="2303">
                  <c:v>4.1820000000000004</c:v>
                </c:pt>
                <c:pt idx="2304">
                  <c:v>4.1779999999999999</c:v>
                </c:pt>
                <c:pt idx="2305">
                  <c:v>4.18</c:v>
                </c:pt>
                <c:pt idx="2306">
                  <c:v>4.2160000000000002</c:v>
                </c:pt>
                <c:pt idx="2307">
                  <c:v>4.1820000000000004</c:v>
                </c:pt>
                <c:pt idx="2308">
                  <c:v>4.1929999999999996</c:v>
                </c:pt>
                <c:pt idx="2309">
                  <c:v>4.2329999999999997</c:v>
                </c:pt>
                <c:pt idx="2310">
                  <c:v>4.367</c:v>
                </c:pt>
                <c:pt idx="2311">
                  <c:v>4.3570000000000002</c:v>
                </c:pt>
                <c:pt idx="2312">
                  <c:v>4.3570000000000002</c:v>
                </c:pt>
                <c:pt idx="2313">
                  <c:v>4.3250000000000002</c:v>
                </c:pt>
                <c:pt idx="2314">
                  <c:v>4.2489999999999997</c:v>
                </c:pt>
                <c:pt idx="2315">
                  <c:v>4.3120000000000003</c:v>
                </c:pt>
                <c:pt idx="2316">
                  <c:v>4.24</c:v>
                </c:pt>
                <c:pt idx="2317">
                  <c:v>4.2720000000000002</c:v>
                </c:pt>
                <c:pt idx="2318">
                  <c:v>4.1440000000000001</c:v>
                </c:pt>
                <c:pt idx="2319">
                  <c:v>4.1660000000000004</c:v>
                </c:pt>
                <c:pt idx="2320">
                  <c:v>4.1980000000000004</c:v>
                </c:pt>
                <c:pt idx="2321">
                  <c:v>4.1829999999999998</c:v>
                </c:pt>
                <c:pt idx="2322">
                  <c:v>4.1950000000000003</c:v>
                </c:pt>
                <c:pt idx="2323">
                  <c:v>4.1689999999999996</c:v>
                </c:pt>
                <c:pt idx="2324">
                  <c:v>4.1289999999999996</c:v>
                </c:pt>
                <c:pt idx="2325">
                  <c:v>4.0940000000000003</c:v>
                </c:pt>
                <c:pt idx="2326">
                  <c:v>4.1159999999999997</c:v>
                </c:pt>
                <c:pt idx="2327">
                  <c:v>4.0960000000000001</c:v>
                </c:pt>
                <c:pt idx="2328">
                  <c:v>4.0229999999999997</c:v>
                </c:pt>
                <c:pt idx="2329">
                  <c:v>4.0469999999999997</c:v>
                </c:pt>
                <c:pt idx="2330">
                  <c:v>3.9990000000000001</c:v>
                </c:pt>
                <c:pt idx="2331">
                  <c:v>4</c:v>
                </c:pt>
                <c:pt idx="2332">
                  <c:v>4.1070000000000002</c:v>
                </c:pt>
                <c:pt idx="2333">
                  <c:v>4.2110000000000003</c:v>
                </c:pt>
                <c:pt idx="2334">
                  <c:v>4.1689999999999996</c:v>
                </c:pt>
                <c:pt idx="2335">
                  <c:v>4.18</c:v>
                </c:pt>
                <c:pt idx="2336">
                  <c:v>4.1900000000000004</c:v>
                </c:pt>
                <c:pt idx="2337">
                  <c:v>4.2750000000000004</c:v>
                </c:pt>
                <c:pt idx="2338">
                  <c:v>4.2060000000000004</c:v>
                </c:pt>
                <c:pt idx="2339">
                  <c:v>4.2759999999999998</c:v>
                </c:pt>
                <c:pt idx="2340">
                  <c:v>4.2619999999999996</c:v>
                </c:pt>
                <c:pt idx="2341">
                  <c:v>4.3319999999999999</c:v>
                </c:pt>
                <c:pt idx="2342">
                  <c:v>4.2990000000000004</c:v>
                </c:pt>
                <c:pt idx="2343">
                  <c:v>4.3150000000000004</c:v>
                </c:pt>
                <c:pt idx="2344">
                  <c:v>4.3090000000000002</c:v>
                </c:pt>
                <c:pt idx="2345">
                  <c:v>4.2670000000000003</c:v>
                </c:pt>
                <c:pt idx="2346">
                  <c:v>4.2359999999999998</c:v>
                </c:pt>
                <c:pt idx="2347">
                  <c:v>4.2880000000000003</c:v>
                </c:pt>
                <c:pt idx="2348">
                  <c:v>4.266</c:v>
                </c:pt>
                <c:pt idx="2349">
                  <c:v>4.2880000000000003</c:v>
                </c:pt>
                <c:pt idx="2350">
                  <c:v>4.3040000000000003</c:v>
                </c:pt>
                <c:pt idx="2351">
                  <c:v>4.33</c:v>
                </c:pt>
                <c:pt idx="2352">
                  <c:v>4.37</c:v>
                </c:pt>
                <c:pt idx="2353">
                  <c:v>4.3310000000000004</c:v>
                </c:pt>
                <c:pt idx="2354">
                  <c:v>4.3940000000000001</c:v>
                </c:pt>
                <c:pt idx="2355">
                  <c:v>4.3630000000000004</c:v>
                </c:pt>
                <c:pt idx="2356">
                  <c:v>4.375</c:v>
                </c:pt>
                <c:pt idx="2357">
                  <c:v>4.4560000000000004</c:v>
                </c:pt>
                <c:pt idx="2358">
                  <c:v>4.4969999999999999</c:v>
                </c:pt>
                <c:pt idx="2359">
                  <c:v>4.4800000000000004</c:v>
                </c:pt>
                <c:pt idx="2360">
                  <c:v>4.4729999999999999</c:v>
                </c:pt>
                <c:pt idx="2361">
                  <c:v>4.4740000000000002</c:v>
                </c:pt>
                <c:pt idx="2362">
                  <c:v>4.4219999999999997</c:v>
                </c:pt>
                <c:pt idx="2363">
                  <c:v>4.3650000000000002</c:v>
                </c:pt>
                <c:pt idx="2364">
                  <c:v>4.3410000000000002</c:v>
                </c:pt>
                <c:pt idx="2365">
                  <c:v>4.3179999999999996</c:v>
                </c:pt>
                <c:pt idx="2366">
                  <c:v>4.3659999999999997</c:v>
                </c:pt>
                <c:pt idx="2367">
                  <c:v>4.3499999999999996</c:v>
                </c:pt>
                <c:pt idx="2368">
                  <c:v>4.3230000000000004</c:v>
                </c:pt>
                <c:pt idx="2369">
                  <c:v>4.4050000000000002</c:v>
                </c:pt>
                <c:pt idx="2370">
                  <c:v>4.4160000000000004</c:v>
                </c:pt>
                <c:pt idx="2371">
                  <c:v>4.4119999999999999</c:v>
                </c:pt>
                <c:pt idx="2372">
                  <c:v>4.4569999999999999</c:v>
                </c:pt>
                <c:pt idx="2373">
                  <c:v>4.4569999999999999</c:v>
                </c:pt>
                <c:pt idx="2374">
                  <c:v>4.4950000000000001</c:v>
                </c:pt>
                <c:pt idx="2375">
                  <c:v>4.47</c:v>
                </c:pt>
                <c:pt idx="2376">
                  <c:v>4.46</c:v>
                </c:pt>
                <c:pt idx="2377">
                  <c:v>4.4509999999999996</c:v>
                </c:pt>
                <c:pt idx="2378">
                  <c:v>4.3440000000000003</c:v>
                </c:pt>
                <c:pt idx="2379">
                  <c:v>4.351</c:v>
                </c:pt>
                <c:pt idx="2380">
                  <c:v>4.37</c:v>
                </c:pt>
                <c:pt idx="2381">
                  <c:v>4.3550000000000004</c:v>
                </c:pt>
                <c:pt idx="2382">
                  <c:v>4.3760000000000003</c:v>
                </c:pt>
                <c:pt idx="2383">
                  <c:v>4.3040000000000003</c:v>
                </c:pt>
                <c:pt idx="2384">
                  <c:v>4.3090000000000002</c:v>
                </c:pt>
                <c:pt idx="2385">
                  <c:v>4.3070000000000004</c:v>
                </c:pt>
                <c:pt idx="2386">
                  <c:v>4.2670000000000003</c:v>
                </c:pt>
                <c:pt idx="2387">
                  <c:v>4.2640000000000002</c:v>
                </c:pt>
                <c:pt idx="2388">
                  <c:v>4.2889999999999997</c:v>
                </c:pt>
                <c:pt idx="2389">
                  <c:v>4.2670000000000003</c:v>
                </c:pt>
                <c:pt idx="2390">
                  <c:v>4.2489999999999997</c:v>
                </c:pt>
                <c:pt idx="2391">
                  <c:v>4.2510000000000003</c:v>
                </c:pt>
                <c:pt idx="2392">
                  <c:v>4.2640000000000002</c:v>
                </c:pt>
                <c:pt idx="2393">
                  <c:v>4.2960000000000003</c:v>
                </c:pt>
                <c:pt idx="2394">
                  <c:v>4.2919999999999998</c:v>
                </c:pt>
                <c:pt idx="2395">
                  <c:v>4.33</c:v>
                </c:pt>
                <c:pt idx="2396">
                  <c:v>4.3250000000000002</c:v>
                </c:pt>
                <c:pt idx="2397">
                  <c:v>4.2619999999999996</c:v>
                </c:pt>
                <c:pt idx="2398">
                  <c:v>4.2450000000000001</c:v>
                </c:pt>
                <c:pt idx="2399">
                  <c:v>4.2290000000000001</c:v>
                </c:pt>
                <c:pt idx="2400">
                  <c:v>4.141</c:v>
                </c:pt>
                <c:pt idx="2401">
                  <c:v>4.1230000000000002</c:v>
                </c:pt>
                <c:pt idx="2402">
                  <c:v>4.141</c:v>
                </c:pt>
                <c:pt idx="2403">
                  <c:v>4.1539999999999999</c:v>
                </c:pt>
                <c:pt idx="2404">
                  <c:v>4.1479999999999997</c:v>
                </c:pt>
                <c:pt idx="2405">
                  <c:v>4.1529999999999996</c:v>
                </c:pt>
                <c:pt idx="2406">
                  <c:v>4.1630000000000003</c:v>
                </c:pt>
                <c:pt idx="2407">
                  <c:v>4.1369999999999996</c:v>
                </c:pt>
                <c:pt idx="2408">
                  <c:v>4.157</c:v>
                </c:pt>
                <c:pt idx="2409">
                  <c:v>4.1379999999999999</c:v>
                </c:pt>
                <c:pt idx="2410">
                  <c:v>4.0949999999999998</c:v>
                </c:pt>
                <c:pt idx="2411">
                  <c:v>4.1669999999999998</c:v>
                </c:pt>
                <c:pt idx="2412">
                  <c:v>4.1500000000000004</c:v>
                </c:pt>
                <c:pt idx="2413">
                  <c:v>4.1470000000000002</c:v>
                </c:pt>
                <c:pt idx="2414">
                  <c:v>4.2640000000000002</c:v>
                </c:pt>
                <c:pt idx="2415">
                  <c:v>4.24</c:v>
                </c:pt>
                <c:pt idx="2416">
                  <c:v>4.2290000000000001</c:v>
                </c:pt>
                <c:pt idx="2417">
                  <c:v>4.2060000000000004</c:v>
                </c:pt>
                <c:pt idx="2418">
                  <c:v>4.1950000000000003</c:v>
                </c:pt>
                <c:pt idx="2419">
                  <c:v>4.1769999999999996</c:v>
                </c:pt>
                <c:pt idx="2420">
                  <c:v>4.1440000000000001</c:v>
                </c:pt>
                <c:pt idx="2421">
                  <c:v>4.1319999999999997</c:v>
                </c:pt>
                <c:pt idx="2422">
                  <c:v>4.1379999999999999</c:v>
                </c:pt>
                <c:pt idx="2423">
                  <c:v>4.1150000000000002</c:v>
                </c:pt>
                <c:pt idx="2424">
                  <c:v>4.1189999999999998</c:v>
                </c:pt>
                <c:pt idx="2425">
                  <c:v>4.1029999999999998</c:v>
                </c:pt>
                <c:pt idx="2426">
                  <c:v>4.109</c:v>
                </c:pt>
                <c:pt idx="2427">
                  <c:v>4.0830000000000002</c:v>
                </c:pt>
                <c:pt idx="2428">
                  <c:v>4.08</c:v>
                </c:pt>
                <c:pt idx="2429">
                  <c:v>4.1219999999999999</c:v>
                </c:pt>
                <c:pt idx="2430">
                  <c:v>4.1349999999999998</c:v>
                </c:pt>
                <c:pt idx="2431">
                  <c:v>4.1280000000000001</c:v>
                </c:pt>
                <c:pt idx="2432">
                  <c:v>4.0860000000000003</c:v>
                </c:pt>
                <c:pt idx="2433">
                  <c:v>4.0819999999999999</c:v>
                </c:pt>
                <c:pt idx="2434">
                  <c:v>4.0880000000000001</c:v>
                </c:pt>
                <c:pt idx="2435">
                  <c:v>4.0510000000000002</c:v>
                </c:pt>
                <c:pt idx="2436">
                  <c:v>4.0540000000000003</c:v>
                </c:pt>
                <c:pt idx="2437">
                  <c:v>4.07</c:v>
                </c:pt>
                <c:pt idx="2438">
                  <c:v>4.12</c:v>
                </c:pt>
                <c:pt idx="2439">
                  <c:v>4.0949999999999998</c:v>
                </c:pt>
                <c:pt idx="2440">
                  <c:v>3.984</c:v>
                </c:pt>
                <c:pt idx="2441">
                  <c:v>3.9260000000000002</c:v>
                </c:pt>
                <c:pt idx="2442">
                  <c:v>3.91</c:v>
                </c:pt>
                <c:pt idx="2443">
                  <c:v>3.9279999999999999</c:v>
                </c:pt>
                <c:pt idx="2444">
                  <c:v>3.9089999999999998</c:v>
                </c:pt>
                <c:pt idx="2445">
                  <c:v>3.9009999999999998</c:v>
                </c:pt>
                <c:pt idx="2446">
                  <c:v>3.8849999999999998</c:v>
                </c:pt>
                <c:pt idx="2447">
                  <c:v>3.9260000000000002</c:v>
                </c:pt>
                <c:pt idx="2448">
                  <c:v>3.89</c:v>
                </c:pt>
                <c:pt idx="2449">
                  <c:v>3.8839999999999999</c:v>
                </c:pt>
                <c:pt idx="2450">
                  <c:v>3.891</c:v>
                </c:pt>
                <c:pt idx="2451">
                  <c:v>3.87</c:v>
                </c:pt>
                <c:pt idx="2452">
                  <c:v>3.8879999999999999</c:v>
                </c:pt>
                <c:pt idx="2453">
                  <c:v>3.86</c:v>
                </c:pt>
                <c:pt idx="2454">
                  <c:v>3.8460000000000001</c:v>
                </c:pt>
                <c:pt idx="2455">
                  <c:v>3.87</c:v>
                </c:pt>
                <c:pt idx="2456">
                  <c:v>3.9540000000000002</c:v>
                </c:pt>
                <c:pt idx="2457">
                  <c:v>3.9430000000000001</c:v>
                </c:pt>
                <c:pt idx="2458">
                  <c:v>3.931</c:v>
                </c:pt>
                <c:pt idx="2459">
                  <c:v>3.9569999999999999</c:v>
                </c:pt>
                <c:pt idx="2460">
                  <c:v>4.08</c:v>
                </c:pt>
                <c:pt idx="2461">
                  <c:v>4.101</c:v>
                </c:pt>
                <c:pt idx="2462">
                  <c:v>4.0810000000000004</c:v>
                </c:pt>
                <c:pt idx="2463">
                  <c:v>4.056</c:v>
                </c:pt>
                <c:pt idx="2464">
                  <c:v>4.0679999999999996</c:v>
                </c:pt>
                <c:pt idx="2465">
                  <c:v>4.1440000000000001</c:v>
                </c:pt>
                <c:pt idx="2466">
                  <c:v>4.1680000000000001</c:v>
                </c:pt>
                <c:pt idx="2467">
                  <c:v>4.1559999999999997</c:v>
                </c:pt>
                <c:pt idx="2468">
                  <c:v>4.1130000000000004</c:v>
                </c:pt>
                <c:pt idx="2469">
                  <c:v>4.1120000000000001</c:v>
                </c:pt>
                <c:pt idx="2470">
                  <c:v>4.1509999999999998</c:v>
                </c:pt>
                <c:pt idx="2471">
                  <c:v>4.1669999999999998</c:v>
                </c:pt>
                <c:pt idx="2472">
                  <c:v>4.1630000000000003</c:v>
                </c:pt>
                <c:pt idx="2473">
                  <c:v>4.181</c:v>
                </c:pt>
                <c:pt idx="2474">
                  <c:v>4.1870000000000003</c:v>
                </c:pt>
                <c:pt idx="2475">
                  <c:v>4.1900000000000004</c:v>
                </c:pt>
                <c:pt idx="2476">
                  <c:v>4.1929999999999996</c:v>
                </c:pt>
                <c:pt idx="2477">
                  <c:v>4.1959999999999997</c:v>
                </c:pt>
                <c:pt idx="2478">
                  <c:v>4.1749999999999998</c:v>
                </c:pt>
                <c:pt idx="2479">
                  <c:v>4.1520000000000001</c:v>
                </c:pt>
                <c:pt idx="2480">
                  <c:v>4.157</c:v>
                </c:pt>
                <c:pt idx="2481">
                  <c:v>4.1630000000000003</c:v>
                </c:pt>
                <c:pt idx="2482">
                  <c:v>4.2149999999999999</c:v>
                </c:pt>
                <c:pt idx="2483">
                  <c:v>4.3019999999999996</c:v>
                </c:pt>
                <c:pt idx="2484">
                  <c:v>4.2910000000000004</c:v>
                </c:pt>
                <c:pt idx="2485">
                  <c:v>4.2919999999999998</c:v>
                </c:pt>
                <c:pt idx="2486">
                  <c:v>4.3250000000000002</c:v>
                </c:pt>
                <c:pt idx="2487">
                  <c:v>4.3479999999999999</c:v>
                </c:pt>
                <c:pt idx="2488">
                  <c:v>4.3090000000000002</c:v>
                </c:pt>
                <c:pt idx="2489">
                  <c:v>4.2729999999999997</c:v>
                </c:pt>
                <c:pt idx="2490">
                  <c:v>4.2930000000000001</c:v>
                </c:pt>
                <c:pt idx="2491">
                  <c:v>4.343</c:v>
                </c:pt>
                <c:pt idx="2492">
                  <c:v>4.3280000000000003</c:v>
                </c:pt>
                <c:pt idx="2493">
                  <c:v>4.3099999999999996</c:v>
                </c:pt>
                <c:pt idx="2494">
                  <c:v>4.3369999999999997</c:v>
                </c:pt>
                <c:pt idx="2495">
                  <c:v>4.3220000000000001</c:v>
                </c:pt>
                <c:pt idx="2496">
                  <c:v>4.33</c:v>
                </c:pt>
                <c:pt idx="2497">
                  <c:v>4.2839999999999998</c:v>
                </c:pt>
                <c:pt idx="2498">
                  <c:v>4.3280000000000003</c:v>
                </c:pt>
                <c:pt idx="2499">
                  <c:v>4.3739999999999997</c:v>
                </c:pt>
                <c:pt idx="2500">
                  <c:v>4.3689999999999998</c:v>
                </c:pt>
                <c:pt idx="2501">
                  <c:v>4.383</c:v>
                </c:pt>
                <c:pt idx="2502">
                  <c:v>4.3869999999999996</c:v>
                </c:pt>
                <c:pt idx="2503">
                  <c:v>4.3949999999999996</c:v>
                </c:pt>
                <c:pt idx="2504">
                  <c:v>4.383</c:v>
                </c:pt>
                <c:pt idx="2505">
                  <c:v>4.3650000000000002</c:v>
                </c:pt>
                <c:pt idx="2506">
                  <c:v>4.3959999999999999</c:v>
                </c:pt>
                <c:pt idx="2507">
                  <c:v>4.4029999999999996</c:v>
                </c:pt>
                <c:pt idx="2508">
                  <c:v>4.4260000000000002</c:v>
                </c:pt>
                <c:pt idx="2509">
                  <c:v>4.423</c:v>
                </c:pt>
                <c:pt idx="2510">
                  <c:v>4.3460000000000001</c:v>
                </c:pt>
                <c:pt idx="2511">
                  <c:v>4.3730000000000002</c:v>
                </c:pt>
                <c:pt idx="2512">
                  <c:v>4.3849999999999998</c:v>
                </c:pt>
                <c:pt idx="2513">
                  <c:v>4.3529999999999998</c:v>
                </c:pt>
                <c:pt idx="2514">
                  <c:v>4.3419999999999996</c:v>
                </c:pt>
                <c:pt idx="2515">
                  <c:v>4.3620000000000001</c:v>
                </c:pt>
                <c:pt idx="2516">
                  <c:v>4.3630000000000004</c:v>
                </c:pt>
                <c:pt idx="2517">
                  <c:v>4.2990000000000004</c:v>
                </c:pt>
                <c:pt idx="2518">
                  <c:v>4.3250000000000002</c:v>
                </c:pt>
                <c:pt idx="2519">
                  <c:v>4.37</c:v>
                </c:pt>
                <c:pt idx="2520">
                  <c:v>4.3710000000000004</c:v>
                </c:pt>
                <c:pt idx="2521">
                  <c:v>4.3179999999999996</c:v>
                </c:pt>
                <c:pt idx="2522">
                  <c:v>4.32</c:v>
                </c:pt>
                <c:pt idx="2523">
                  <c:v>4.2619999999999996</c:v>
                </c:pt>
                <c:pt idx="2524">
                  <c:v>4.2590000000000003</c:v>
                </c:pt>
                <c:pt idx="2525">
                  <c:v>4.2590000000000003</c:v>
                </c:pt>
                <c:pt idx="2526">
                  <c:v>4.2359999999999998</c:v>
                </c:pt>
                <c:pt idx="2527">
                  <c:v>4.2320000000000002</c:v>
                </c:pt>
                <c:pt idx="2528">
                  <c:v>4.2350000000000003</c:v>
                </c:pt>
                <c:pt idx="2529">
                  <c:v>4.22</c:v>
                </c:pt>
                <c:pt idx="2530">
                  <c:v>4.2670000000000003</c:v>
                </c:pt>
                <c:pt idx="2531">
                  <c:v>4.258</c:v>
                </c:pt>
                <c:pt idx="2532">
                  <c:v>4.258</c:v>
                </c:pt>
                <c:pt idx="2533">
                  <c:v>4.1970000000000001</c:v>
                </c:pt>
                <c:pt idx="2534">
                  <c:v>4.1959999999999997</c:v>
                </c:pt>
                <c:pt idx="2535">
                  <c:v>4.2140000000000004</c:v>
                </c:pt>
                <c:pt idx="2536">
                  <c:v>4.2830000000000004</c:v>
                </c:pt>
                <c:pt idx="2537">
                  <c:v>4.2510000000000003</c:v>
                </c:pt>
                <c:pt idx="2538">
                  <c:v>4.2469999999999999</c:v>
                </c:pt>
                <c:pt idx="2539">
                  <c:v>4.2699999999999996</c:v>
                </c:pt>
                <c:pt idx="2540">
                  <c:v>4.2889999999999997</c:v>
                </c:pt>
                <c:pt idx="2541">
                  <c:v>4.298</c:v>
                </c:pt>
                <c:pt idx="2542">
                  <c:v>4.2729999999999997</c:v>
                </c:pt>
                <c:pt idx="2543">
                  <c:v>4.2160000000000002</c:v>
                </c:pt>
                <c:pt idx="2544">
                  <c:v>4.2</c:v>
                </c:pt>
                <c:pt idx="2545">
                  <c:v>4.1909999999999998</c:v>
                </c:pt>
                <c:pt idx="2546">
                  <c:v>4.1779999999999999</c:v>
                </c:pt>
                <c:pt idx="2547">
                  <c:v>4.1520000000000001</c:v>
                </c:pt>
                <c:pt idx="2548">
                  <c:v>4.0739999999999998</c:v>
                </c:pt>
                <c:pt idx="2549">
                  <c:v>4.0789999999999997</c:v>
                </c:pt>
                <c:pt idx="2550">
                  <c:v>4.0650000000000004</c:v>
                </c:pt>
                <c:pt idx="2551">
                  <c:v>4.093</c:v>
                </c:pt>
                <c:pt idx="2552">
                  <c:v>4.0720000000000001</c:v>
                </c:pt>
                <c:pt idx="2553">
                  <c:v>4.0469999999999997</c:v>
                </c:pt>
                <c:pt idx="2554">
                  <c:v>4.0890000000000004</c:v>
                </c:pt>
                <c:pt idx="2555">
                  <c:v>4.0679999999999996</c:v>
                </c:pt>
                <c:pt idx="2556">
                  <c:v>4.0819999999999999</c:v>
                </c:pt>
                <c:pt idx="2557">
                  <c:v>4.0739999999999998</c:v>
                </c:pt>
                <c:pt idx="2558">
                  <c:v>4.0629999999999997</c:v>
                </c:pt>
                <c:pt idx="2559">
                  <c:v>4.1159999999999997</c:v>
                </c:pt>
                <c:pt idx="2560">
                  <c:v>4.1150000000000002</c:v>
                </c:pt>
                <c:pt idx="2561">
                  <c:v>4.0780000000000003</c:v>
                </c:pt>
                <c:pt idx="2562">
                  <c:v>4.0679999999999996</c:v>
                </c:pt>
                <c:pt idx="2563">
                  <c:v>4.0709999999999997</c:v>
                </c:pt>
                <c:pt idx="2564">
                  <c:v>4.0650000000000004</c:v>
                </c:pt>
                <c:pt idx="2565">
                  <c:v>4.0229999999999997</c:v>
                </c:pt>
                <c:pt idx="2566">
                  <c:v>4.04</c:v>
                </c:pt>
                <c:pt idx="2567">
                  <c:v>4.0709999999999997</c:v>
                </c:pt>
                <c:pt idx="2568">
                  <c:v>4.1479999999999997</c:v>
                </c:pt>
                <c:pt idx="2569">
                  <c:v>4.1360000000000001</c:v>
                </c:pt>
                <c:pt idx="2570">
                  <c:v>4.1420000000000003</c:v>
                </c:pt>
                <c:pt idx="2571">
                  <c:v>4.1360000000000001</c:v>
                </c:pt>
                <c:pt idx="2572">
                  <c:v>4.08</c:v>
                </c:pt>
                <c:pt idx="2573">
                  <c:v>4.0570000000000004</c:v>
                </c:pt>
                <c:pt idx="2574">
                  <c:v>4.0709999999999997</c:v>
                </c:pt>
                <c:pt idx="2575">
                  <c:v>4.0579999999999998</c:v>
                </c:pt>
                <c:pt idx="2576">
                  <c:v>4.0629999999999997</c:v>
                </c:pt>
                <c:pt idx="2577">
                  <c:v>4.0529999999999999</c:v>
                </c:pt>
                <c:pt idx="2578">
                  <c:v>4.0250000000000004</c:v>
                </c:pt>
                <c:pt idx="2579">
                  <c:v>4.01</c:v>
                </c:pt>
                <c:pt idx="2580">
                  <c:v>4.0170000000000003</c:v>
                </c:pt>
                <c:pt idx="2581">
                  <c:v>3.9790000000000001</c:v>
                </c:pt>
                <c:pt idx="2582">
                  <c:v>3.948</c:v>
                </c:pt>
                <c:pt idx="2583">
                  <c:v>3.9710000000000001</c:v>
                </c:pt>
                <c:pt idx="2584">
                  <c:v>3.9420000000000002</c:v>
                </c:pt>
                <c:pt idx="2585">
                  <c:v>3.95</c:v>
                </c:pt>
                <c:pt idx="2586">
                  <c:v>3.9889999999999999</c:v>
                </c:pt>
                <c:pt idx="2587">
                  <c:v>3.9910000000000001</c:v>
                </c:pt>
                <c:pt idx="2588">
                  <c:v>4.0229999999999997</c:v>
                </c:pt>
                <c:pt idx="2589">
                  <c:v>4.0339999999999998</c:v>
                </c:pt>
                <c:pt idx="2590">
                  <c:v>3.996</c:v>
                </c:pt>
                <c:pt idx="2591">
                  <c:v>3.9940000000000002</c:v>
                </c:pt>
                <c:pt idx="2592">
                  <c:v>4.0170000000000003</c:v>
                </c:pt>
                <c:pt idx="2593">
                  <c:v>3.9470000000000001</c:v>
                </c:pt>
                <c:pt idx="2594">
                  <c:v>3.9550000000000001</c:v>
                </c:pt>
                <c:pt idx="2595">
                  <c:v>3.9129999999999998</c:v>
                </c:pt>
                <c:pt idx="2596">
                  <c:v>3.915</c:v>
                </c:pt>
                <c:pt idx="2597">
                  <c:v>3.89</c:v>
                </c:pt>
                <c:pt idx="2598">
                  <c:v>3.9</c:v>
                </c:pt>
                <c:pt idx="2599">
                  <c:v>3.89</c:v>
                </c:pt>
                <c:pt idx="2600">
                  <c:v>3.9119999999999999</c:v>
                </c:pt>
                <c:pt idx="2601">
                  <c:v>3.8650000000000002</c:v>
                </c:pt>
                <c:pt idx="2602">
                  <c:v>3.867</c:v>
                </c:pt>
                <c:pt idx="2603">
                  <c:v>3.8620000000000001</c:v>
                </c:pt>
                <c:pt idx="2604">
                  <c:v>3.8250000000000002</c:v>
                </c:pt>
                <c:pt idx="2605">
                  <c:v>3.8290000000000002</c:v>
                </c:pt>
                <c:pt idx="2606">
                  <c:v>3.8450000000000002</c:v>
                </c:pt>
                <c:pt idx="2607">
                  <c:v>3.89</c:v>
                </c:pt>
                <c:pt idx="2608">
                  <c:v>3.8730000000000002</c:v>
                </c:pt>
                <c:pt idx="2609">
                  <c:v>3.8660000000000001</c:v>
                </c:pt>
                <c:pt idx="2610">
                  <c:v>3.9049999999999998</c:v>
                </c:pt>
                <c:pt idx="2611">
                  <c:v>3.8940000000000001</c:v>
                </c:pt>
                <c:pt idx="2612">
                  <c:v>3.843</c:v>
                </c:pt>
                <c:pt idx="2613">
                  <c:v>3.903</c:v>
                </c:pt>
                <c:pt idx="2614">
                  <c:v>3.8980000000000001</c:v>
                </c:pt>
                <c:pt idx="2615">
                  <c:v>3.8620000000000001</c:v>
                </c:pt>
                <c:pt idx="2616">
                  <c:v>3.8660000000000001</c:v>
                </c:pt>
                <c:pt idx="2617">
                  <c:v>3.8170000000000002</c:v>
                </c:pt>
                <c:pt idx="2618">
                  <c:v>3.778</c:v>
                </c:pt>
                <c:pt idx="2619">
                  <c:v>3.7719999999999998</c:v>
                </c:pt>
                <c:pt idx="2620">
                  <c:v>3.7469999999999999</c:v>
                </c:pt>
                <c:pt idx="2621">
                  <c:v>3.7629999999999999</c:v>
                </c:pt>
                <c:pt idx="2622">
                  <c:v>3.8079999999999998</c:v>
                </c:pt>
                <c:pt idx="2623">
                  <c:v>3.7850000000000001</c:v>
                </c:pt>
                <c:pt idx="2624">
                  <c:v>3.76</c:v>
                </c:pt>
                <c:pt idx="2625">
                  <c:v>3.7429999999999999</c:v>
                </c:pt>
                <c:pt idx="2626">
                  <c:v>3.798</c:v>
                </c:pt>
                <c:pt idx="2627">
                  <c:v>3.774</c:v>
                </c:pt>
                <c:pt idx="2628">
                  <c:v>3.7730000000000001</c:v>
                </c:pt>
                <c:pt idx="2629">
                  <c:v>3.8159999999999998</c:v>
                </c:pt>
                <c:pt idx="2630">
                  <c:v>3.7930000000000001</c:v>
                </c:pt>
                <c:pt idx="2631">
                  <c:v>3.7759999999999998</c:v>
                </c:pt>
                <c:pt idx="2632">
                  <c:v>3.827</c:v>
                </c:pt>
                <c:pt idx="2633">
                  <c:v>3.7519999999999998</c:v>
                </c:pt>
                <c:pt idx="2634">
                  <c:v>3.7109999999999999</c:v>
                </c:pt>
                <c:pt idx="2635">
                  <c:v>3.681</c:v>
                </c:pt>
                <c:pt idx="2636">
                  <c:v>3.6480000000000001</c:v>
                </c:pt>
                <c:pt idx="2637">
                  <c:v>3.6230000000000002</c:v>
                </c:pt>
                <c:pt idx="2638">
                  <c:v>3.6120000000000001</c:v>
                </c:pt>
                <c:pt idx="2639">
                  <c:v>3.597</c:v>
                </c:pt>
                <c:pt idx="2640">
                  <c:v>3.5960000000000001</c:v>
                </c:pt>
                <c:pt idx="2641">
                  <c:v>3.5379999999999998</c:v>
                </c:pt>
                <c:pt idx="2642">
                  <c:v>3.5739999999999998</c:v>
                </c:pt>
                <c:pt idx="2643">
                  <c:v>3.6190000000000002</c:v>
                </c:pt>
                <c:pt idx="2644">
                  <c:v>3.5979999999999999</c:v>
                </c:pt>
                <c:pt idx="2645">
                  <c:v>3.6259999999999999</c:v>
                </c:pt>
                <c:pt idx="2646">
                  <c:v>3.629</c:v>
                </c:pt>
                <c:pt idx="2647">
                  <c:v>3.5979999999999999</c:v>
                </c:pt>
                <c:pt idx="2648">
                  <c:v>3.601</c:v>
                </c:pt>
                <c:pt idx="2649">
                  <c:v>3.6190000000000002</c:v>
                </c:pt>
                <c:pt idx="2650">
                  <c:v>3.677</c:v>
                </c:pt>
                <c:pt idx="2651">
                  <c:v>3.7120000000000002</c:v>
                </c:pt>
                <c:pt idx="2652">
                  <c:v>3.6880000000000002</c:v>
                </c:pt>
                <c:pt idx="2653">
                  <c:v>3.6829999999999998</c:v>
                </c:pt>
                <c:pt idx="2654">
                  <c:v>3.6389999999999998</c:v>
                </c:pt>
                <c:pt idx="2655">
                  <c:v>3.653</c:v>
                </c:pt>
                <c:pt idx="2656">
                  <c:v>3.6539999999999999</c:v>
                </c:pt>
                <c:pt idx="2657">
                  <c:v>3.625</c:v>
                </c:pt>
                <c:pt idx="2658">
                  <c:v>3.61</c:v>
                </c:pt>
                <c:pt idx="2659">
                  <c:v>3.5920000000000001</c:v>
                </c:pt>
                <c:pt idx="2660">
                  <c:v>3.5979999999999999</c:v>
                </c:pt>
                <c:pt idx="2661">
                  <c:v>3.6019999999999999</c:v>
                </c:pt>
                <c:pt idx="2662">
                  <c:v>3.5609999999999999</c:v>
                </c:pt>
                <c:pt idx="2663">
                  <c:v>3.56</c:v>
                </c:pt>
                <c:pt idx="2664">
                  <c:v>3.5449999999999999</c:v>
                </c:pt>
                <c:pt idx="2665">
                  <c:v>3.5419999999999998</c:v>
                </c:pt>
                <c:pt idx="2666">
                  <c:v>3.5230000000000001</c:v>
                </c:pt>
                <c:pt idx="2667">
                  <c:v>3.5739999999999998</c:v>
                </c:pt>
                <c:pt idx="2668">
                  <c:v>3.573</c:v>
                </c:pt>
                <c:pt idx="2669">
                  <c:v>3.5459999999999998</c:v>
                </c:pt>
                <c:pt idx="2670">
                  <c:v>3.5539999999999998</c:v>
                </c:pt>
                <c:pt idx="2671">
                  <c:v>3.5649999999999999</c:v>
                </c:pt>
                <c:pt idx="2672">
                  <c:v>3.593</c:v>
                </c:pt>
                <c:pt idx="2673">
                  <c:v>3.5489999999999999</c:v>
                </c:pt>
                <c:pt idx="2674">
                  <c:v>3.5470000000000002</c:v>
                </c:pt>
                <c:pt idx="2675">
                  <c:v>3.5339999999999998</c:v>
                </c:pt>
                <c:pt idx="2676">
                  <c:v>3.548</c:v>
                </c:pt>
                <c:pt idx="2677">
                  <c:v>3.5609999999999999</c:v>
                </c:pt>
                <c:pt idx="2678">
                  <c:v>3.4969999999999999</c:v>
                </c:pt>
                <c:pt idx="2679">
                  <c:v>3.4820000000000002</c:v>
                </c:pt>
                <c:pt idx="2680">
                  <c:v>3.4630000000000001</c:v>
                </c:pt>
                <c:pt idx="2681">
                  <c:v>3.444</c:v>
                </c:pt>
                <c:pt idx="2682">
                  <c:v>3.4449999999999998</c:v>
                </c:pt>
                <c:pt idx="2683">
                  <c:v>3.4630000000000001</c:v>
                </c:pt>
                <c:pt idx="2684">
                  <c:v>3.488</c:v>
                </c:pt>
                <c:pt idx="2685">
                  <c:v>3.5129999999999999</c:v>
                </c:pt>
                <c:pt idx="2686">
                  <c:v>3.548</c:v>
                </c:pt>
                <c:pt idx="2687">
                  <c:v>3.573</c:v>
                </c:pt>
                <c:pt idx="2688">
                  <c:v>3.6640000000000001</c:v>
                </c:pt>
                <c:pt idx="2689">
                  <c:v>3.7</c:v>
                </c:pt>
                <c:pt idx="2690">
                  <c:v>3.6960000000000002</c:v>
                </c:pt>
                <c:pt idx="2691">
                  <c:v>3.6949999999999998</c:v>
                </c:pt>
                <c:pt idx="2692">
                  <c:v>3.7240000000000002</c:v>
                </c:pt>
                <c:pt idx="2693">
                  <c:v>3.71</c:v>
                </c:pt>
                <c:pt idx="2694">
                  <c:v>3.7149999999999999</c:v>
                </c:pt>
                <c:pt idx="2695">
                  <c:v>3.7330000000000001</c:v>
                </c:pt>
                <c:pt idx="2696">
                  <c:v>3.7749999999999999</c:v>
                </c:pt>
                <c:pt idx="2697">
                  <c:v>3.7589999999999999</c:v>
                </c:pt>
                <c:pt idx="2698">
                  <c:v>3.6960000000000002</c:v>
                </c:pt>
                <c:pt idx="2699">
                  <c:v>3.6709999999999998</c:v>
                </c:pt>
                <c:pt idx="2700">
                  <c:v>3.7120000000000002</c:v>
                </c:pt>
                <c:pt idx="2701">
                  <c:v>3.7639999999999998</c:v>
                </c:pt>
                <c:pt idx="2702">
                  <c:v>3.7759999999999998</c:v>
                </c:pt>
                <c:pt idx="2703">
                  <c:v>3.7669999999999999</c:v>
                </c:pt>
                <c:pt idx="2704">
                  <c:v>3.77</c:v>
                </c:pt>
                <c:pt idx="2705">
                  <c:v>3.7120000000000002</c:v>
                </c:pt>
                <c:pt idx="2706">
                  <c:v>3.6680000000000001</c:v>
                </c:pt>
                <c:pt idx="2707">
                  <c:v>3.681</c:v>
                </c:pt>
                <c:pt idx="2708">
                  <c:v>3.7029999999999998</c:v>
                </c:pt>
                <c:pt idx="2709">
                  <c:v>3.7309999999999999</c:v>
                </c:pt>
                <c:pt idx="2710">
                  <c:v>3.6869999999999998</c:v>
                </c:pt>
                <c:pt idx="2711">
                  <c:v>3.738</c:v>
                </c:pt>
                <c:pt idx="2712">
                  <c:v>3.7050000000000001</c:v>
                </c:pt>
                <c:pt idx="2713">
                  <c:v>3.7029999999999998</c:v>
                </c:pt>
                <c:pt idx="2714">
                  <c:v>3.6720000000000002</c:v>
                </c:pt>
                <c:pt idx="2715">
                  <c:v>3.6219999999999999</c:v>
                </c:pt>
                <c:pt idx="2716">
                  <c:v>3.613</c:v>
                </c:pt>
                <c:pt idx="2717">
                  <c:v>3.5840000000000001</c:v>
                </c:pt>
                <c:pt idx="2718">
                  <c:v>3.597</c:v>
                </c:pt>
                <c:pt idx="2719">
                  <c:v>3.59</c:v>
                </c:pt>
                <c:pt idx="2720">
                  <c:v>3.5489999999999999</c:v>
                </c:pt>
                <c:pt idx="2721">
                  <c:v>3.58</c:v>
                </c:pt>
                <c:pt idx="2722">
                  <c:v>3.5569999999999999</c:v>
                </c:pt>
                <c:pt idx="2723">
                  <c:v>3.5449999999999999</c:v>
                </c:pt>
                <c:pt idx="2724">
                  <c:v>3.5129999999999999</c:v>
                </c:pt>
                <c:pt idx="2725">
                  <c:v>3.5310000000000001</c:v>
                </c:pt>
                <c:pt idx="2726">
                  <c:v>3.4910000000000001</c:v>
                </c:pt>
                <c:pt idx="2727">
                  <c:v>3.46</c:v>
                </c:pt>
                <c:pt idx="2728">
                  <c:v>3.4430000000000001</c:v>
                </c:pt>
                <c:pt idx="2729">
                  <c:v>3.4550000000000001</c:v>
                </c:pt>
                <c:pt idx="2730">
                  <c:v>3.4860000000000002</c:v>
                </c:pt>
                <c:pt idx="2731">
                  <c:v>3.4689999999999999</c:v>
                </c:pt>
                <c:pt idx="2732">
                  <c:v>3.45</c:v>
                </c:pt>
                <c:pt idx="2733">
                  <c:v>3.4489999999999998</c:v>
                </c:pt>
                <c:pt idx="2734">
                  <c:v>3.4129999999999998</c:v>
                </c:pt>
                <c:pt idx="2735">
                  <c:v>3.3980000000000001</c:v>
                </c:pt>
                <c:pt idx="2736">
                  <c:v>3.3959999999999999</c:v>
                </c:pt>
                <c:pt idx="2737">
                  <c:v>3.399</c:v>
                </c:pt>
                <c:pt idx="2738">
                  <c:v>3.3780000000000001</c:v>
                </c:pt>
                <c:pt idx="2739">
                  <c:v>3.4159999999999999</c:v>
                </c:pt>
                <c:pt idx="2740">
                  <c:v>3.4009999999999998</c:v>
                </c:pt>
                <c:pt idx="2741">
                  <c:v>3.4449999999999998</c:v>
                </c:pt>
                <c:pt idx="2742">
                  <c:v>3.4169999999999998</c:v>
                </c:pt>
                <c:pt idx="2743">
                  <c:v>3.36</c:v>
                </c:pt>
                <c:pt idx="2744">
                  <c:v>3.3220000000000001</c:v>
                </c:pt>
                <c:pt idx="2745">
                  <c:v>3.33</c:v>
                </c:pt>
                <c:pt idx="2746">
                  <c:v>3.3069999999999999</c:v>
                </c:pt>
                <c:pt idx="2747">
                  <c:v>3.3079999999999998</c:v>
                </c:pt>
                <c:pt idx="2748">
                  <c:v>3.3029999999999999</c:v>
                </c:pt>
                <c:pt idx="2749">
                  <c:v>3.33</c:v>
                </c:pt>
                <c:pt idx="2750">
                  <c:v>3.3540000000000001</c:v>
                </c:pt>
                <c:pt idx="2751">
                  <c:v>3.3780000000000001</c:v>
                </c:pt>
                <c:pt idx="2752">
                  <c:v>3.339</c:v>
                </c:pt>
                <c:pt idx="2753">
                  <c:v>3.302</c:v>
                </c:pt>
                <c:pt idx="2754">
                  <c:v>3.306</c:v>
                </c:pt>
                <c:pt idx="2755">
                  <c:v>3.323</c:v>
                </c:pt>
                <c:pt idx="2756">
                  <c:v>3.3330000000000002</c:v>
                </c:pt>
                <c:pt idx="2757">
                  <c:v>3.3319999999999999</c:v>
                </c:pt>
                <c:pt idx="2758">
                  <c:v>3.274</c:v>
                </c:pt>
                <c:pt idx="2759">
                  <c:v>3.2389999999999999</c:v>
                </c:pt>
                <c:pt idx="2760">
                  <c:v>3.2170000000000001</c:v>
                </c:pt>
                <c:pt idx="2761">
                  <c:v>3.2370000000000001</c:v>
                </c:pt>
                <c:pt idx="2762">
                  <c:v>3.2160000000000002</c:v>
                </c:pt>
                <c:pt idx="2763">
                  <c:v>3.1579999999999999</c:v>
                </c:pt>
                <c:pt idx="2764">
                  <c:v>3.1280000000000001</c:v>
                </c:pt>
                <c:pt idx="2765">
                  <c:v>3.1309999999999998</c:v>
                </c:pt>
                <c:pt idx="2766">
                  <c:v>3.145</c:v>
                </c:pt>
                <c:pt idx="2767">
                  <c:v>3.1880000000000002</c:v>
                </c:pt>
                <c:pt idx="2768">
                  <c:v>3.2010000000000001</c:v>
                </c:pt>
                <c:pt idx="2769">
                  <c:v>3.294</c:v>
                </c:pt>
                <c:pt idx="2770">
                  <c:v>3.3130000000000002</c:v>
                </c:pt>
                <c:pt idx="2771">
                  <c:v>3.2909999999999999</c:v>
                </c:pt>
                <c:pt idx="2772">
                  <c:v>3.298</c:v>
                </c:pt>
                <c:pt idx="2773">
                  <c:v>3.222</c:v>
                </c:pt>
                <c:pt idx="2774">
                  <c:v>3.1459999999999999</c:v>
                </c:pt>
                <c:pt idx="2775">
                  <c:v>3.1560000000000001</c:v>
                </c:pt>
                <c:pt idx="2776">
                  <c:v>3.1349999999999998</c:v>
                </c:pt>
                <c:pt idx="2777">
                  <c:v>3.1150000000000002</c:v>
                </c:pt>
                <c:pt idx="2778">
                  <c:v>3.1640000000000001</c:v>
                </c:pt>
                <c:pt idx="2779">
                  <c:v>3.1869999999999998</c:v>
                </c:pt>
                <c:pt idx="2780">
                  <c:v>3.1339999999999999</c:v>
                </c:pt>
                <c:pt idx="2781">
                  <c:v>3.157</c:v>
                </c:pt>
                <c:pt idx="2782">
                  <c:v>3.173</c:v>
                </c:pt>
                <c:pt idx="2783">
                  <c:v>3.2130000000000001</c:v>
                </c:pt>
                <c:pt idx="2784">
                  <c:v>3.22</c:v>
                </c:pt>
                <c:pt idx="2785">
                  <c:v>3.1840000000000002</c:v>
                </c:pt>
                <c:pt idx="2786">
                  <c:v>3.181</c:v>
                </c:pt>
                <c:pt idx="2787">
                  <c:v>3.2309999999999999</c:v>
                </c:pt>
                <c:pt idx="2788">
                  <c:v>3.226</c:v>
                </c:pt>
                <c:pt idx="2789">
                  <c:v>3.2490000000000001</c:v>
                </c:pt>
                <c:pt idx="2790">
                  <c:v>3.2869999999999999</c:v>
                </c:pt>
                <c:pt idx="2791">
                  <c:v>3.2829999999999999</c:v>
                </c:pt>
                <c:pt idx="2792">
                  <c:v>3.2589999999999999</c:v>
                </c:pt>
                <c:pt idx="2793">
                  <c:v>3.2829999999999999</c:v>
                </c:pt>
                <c:pt idx="2794">
                  <c:v>3.3010000000000002</c:v>
                </c:pt>
                <c:pt idx="2795">
                  <c:v>3.2919999999999998</c:v>
                </c:pt>
                <c:pt idx="2796">
                  <c:v>3.2309999999999999</c:v>
                </c:pt>
                <c:pt idx="2797">
                  <c:v>3.2130000000000001</c:v>
                </c:pt>
                <c:pt idx="2798">
                  <c:v>3.2389999999999999</c:v>
                </c:pt>
                <c:pt idx="2799">
                  <c:v>3.222</c:v>
                </c:pt>
                <c:pt idx="2800">
                  <c:v>3.2320000000000002</c:v>
                </c:pt>
                <c:pt idx="2801">
                  <c:v>3.2429999999999999</c:v>
                </c:pt>
                <c:pt idx="2802">
                  <c:v>3.2970000000000002</c:v>
                </c:pt>
                <c:pt idx="2803">
                  <c:v>3.331</c:v>
                </c:pt>
                <c:pt idx="2804">
                  <c:v>3.3239999999999998</c:v>
                </c:pt>
                <c:pt idx="2805">
                  <c:v>3.33</c:v>
                </c:pt>
                <c:pt idx="2806">
                  <c:v>3.3769999999999998</c:v>
                </c:pt>
                <c:pt idx="2807">
                  <c:v>3.3679999999999999</c:v>
                </c:pt>
                <c:pt idx="2808">
                  <c:v>3.3719999999999999</c:v>
                </c:pt>
                <c:pt idx="2809">
                  <c:v>3.35</c:v>
                </c:pt>
                <c:pt idx="2810">
                  <c:v>3.3420000000000001</c:v>
                </c:pt>
                <c:pt idx="2811">
                  <c:v>3.2930000000000001</c:v>
                </c:pt>
                <c:pt idx="2812">
                  <c:v>3.2839999999999998</c:v>
                </c:pt>
                <c:pt idx="2813">
                  <c:v>3.2410000000000001</c:v>
                </c:pt>
                <c:pt idx="2814">
                  <c:v>3.2360000000000002</c:v>
                </c:pt>
                <c:pt idx="2815">
                  <c:v>3.2050000000000001</c:v>
                </c:pt>
                <c:pt idx="2816">
                  <c:v>3.2040000000000002</c:v>
                </c:pt>
                <c:pt idx="2817">
                  <c:v>3.1920000000000002</c:v>
                </c:pt>
                <c:pt idx="2818">
                  <c:v>3.1760000000000002</c:v>
                </c:pt>
                <c:pt idx="2819">
                  <c:v>3.17</c:v>
                </c:pt>
                <c:pt idx="2820">
                  <c:v>3.1429999999999998</c:v>
                </c:pt>
                <c:pt idx="2821">
                  <c:v>3.15</c:v>
                </c:pt>
                <c:pt idx="2822">
                  <c:v>3.153</c:v>
                </c:pt>
                <c:pt idx="2823">
                  <c:v>3.1509999999999998</c:v>
                </c:pt>
                <c:pt idx="2824">
                  <c:v>3.1019999999999999</c:v>
                </c:pt>
                <c:pt idx="2825">
                  <c:v>3.0649999999999999</c:v>
                </c:pt>
                <c:pt idx="2826">
                  <c:v>3.0590000000000002</c:v>
                </c:pt>
                <c:pt idx="2827">
                  <c:v>3.05</c:v>
                </c:pt>
                <c:pt idx="2828">
                  <c:v>3.077</c:v>
                </c:pt>
                <c:pt idx="2829">
                  <c:v>3.097</c:v>
                </c:pt>
                <c:pt idx="2830">
                  <c:v>3.0680000000000001</c:v>
                </c:pt>
                <c:pt idx="2831">
                  <c:v>3.048</c:v>
                </c:pt>
                <c:pt idx="2832">
                  <c:v>3.1230000000000002</c:v>
                </c:pt>
                <c:pt idx="2833">
                  <c:v>3.093</c:v>
                </c:pt>
                <c:pt idx="2834">
                  <c:v>3.089</c:v>
                </c:pt>
                <c:pt idx="2835">
                  <c:v>3.1070000000000002</c:v>
                </c:pt>
                <c:pt idx="2836">
                  <c:v>3.137</c:v>
                </c:pt>
                <c:pt idx="2837">
                  <c:v>3.0920000000000001</c:v>
                </c:pt>
                <c:pt idx="2838">
                  <c:v>3.0859999999999999</c:v>
                </c:pt>
                <c:pt idx="2839">
                  <c:v>3.024</c:v>
                </c:pt>
                <c:pt idx="2840">
                  <c:v>3.028</c:v>
                </c:pt>
                <c:pt idx="2841">
                  <c:v>3.06</c:v>
                </c:pt>
                <c:pt idx="2842">
                  <c:v>3.1219999999999999</c:v>
                </c:pt>
                <c:pt idx="2843">
                  <c:v>3.129</c:v>
                </c:pt>
                <c:pt idx="2844">
                  <c:v>3.1280000000000001</c:v>
                </c:pt>
                <c:pt idx="2845">
                  <c:v>3.157</c:v>
                </c:pt>
                <c:pt idx="2846">
                  <c:v>3.1480000000000001</c:v>
                </c:pt>
                <c:pt idx="2847">
                  <c:v>3.1930000000000001</c:v>
                </c:pt>
                <c:pt idx="2848">
                  <c:v>3.1850000000000001</c:v>
                </c:pt>
                <c:pt idx="2849">
                  <c:v>3.1739999999999999</c:v>
                </c:pt>
                <c:pt idx="2850">
                  <c:v>3.1859999999999999</c:v>
                </c:pt>
                <c:pt idx="2851">
                  <c:v>3.1760000000000002</c:v>
                </c:pt>
                <c:pt idx="2852">
                  <c:v>3.1619999999999999</c:v>
                </c:pt>
                <c:pt idx="2853">
                  <c:v>3.1880000000000002</c:v>
                </c:pt>
                <c:pt idx="2854">
                  <c:v>3.2229999999999999</c:v>
                </c:pt>
                <c:pt idx="2855">
                  <c:v>3.2829999999999999</c:v>
                </c:pt>
                <c:pt idx="2856">
                  <c:v>3.2909999999999999</c:v>
                </c:pt>
                <c:pt idx="2857">
                  <c:v>3.2949999999999999</c:v>
                </c:pt>
                <c:pt idx="2858">
                  <c:v>3.2890000000000001</c:v>
                </c:pt>
                <c:pt idx="2859">
                  <c:v>3.26</c:v>
                </c:pt>
                <c:pt idx="2860">
                  <c:v>3.29</c:v>
                </c:pt>
                <c:pt idx="2861">
                  <c:v>3.2309999999999999</c:v>
                </c:pt>
                <c:pt idx="2862">
                  <c:v>3.2360000000000002</c:v>
                </c:pt>
                <c:pt idx="2863">
                  <c:v>3.3119999999999998</c:v>
                </c:pt>
                <c:pt idx="2864">
                  <c:v>3.3780000000000001</c:v>
                </c:pt>
                <c:pt idx="2865">
                  <c:v>3.4020000000000001</c:v>
                </c:pt>
                <c:pt idx="2866">
                  <c:v>3.4060000000000001</c:v>
                </c:pt>
                <c:pt idx="2867">
                  <c:v>3.391</c:v>
                </c:pt>
                <c:pt idx="2868">
                  <c:v>3.4180000000000001</c:v>
                </c:pt>
                <c:pt idx="2869">
                  <c:v>3.46</c:v>
                </c:pt>
                <c:pt idx="2870">
                  <c:v>3.4729999999999999</c:v>
                </c:pt>
                <c:pt idx="2871">
                  <c:v>3.4940000000000002</c:v>
                </c:pt>
                <c:pt idx="2872">
                  <c:v>3.5009999999999999</c:v>
                </c:pt>
                <c:pt idx="2873">
                  <c:v>3.4620000000000002</c:v>
                </c:pt>
                <c:pt idx="2874">
                  <c:v>3.5230000000000001</c:v>
                </c:pt>
                <c:pt idx="2875">
                  <c:v>3.5230000000000001</c:v>
                </c:pt>
                <c:pt idx="2876">
                  <c:v>3.512</c:v>
                </c:pt>
                <c:pt idx="2877">
                  <c:v>3.5369999999999999</c:v>
                </c:pt>
                <c:pt idx="2878">
                  <c:v>3.5059999999999998</c:v>
                </c:pt>
                <c:pt idx="2879">
                  <c:v>3.427</c:v>
                </c:pt>
                <c:pt idx="2880">
                  <c:v>3.444</c:v>
                </c:pt>
                <c:pt idx="2881">
                  <c:v>3.5390000000000001</c:v>
                </c:pt>
                <c:pt idx="2882">
                  <c:v>3.4849999999999999</c:v>
                </c:pt>
                <c:pt idx="2883">
                  <c:v>3.484</c:v>
                </c:pt>
                <c:pt idx="2884">
                  <c:v>3.4990000000000001</c:v>
                </c:pt>
                <c:pt idx="2885">
                  <c:v>3.42</c:v>
                </c:pt>
                <c:pt idx="2886">
                  <c:v>3.427</c:v>
                </c:pt>
                <c:pt idx="2887">
                  <c:v>3.4180000000000001</c:v>
                </c:pt>
                <c:pt idx="2888">
                  <c:v>3.4670000000000001</c:v>
                </c:pt>
                <c:pt idx="2889">
                  <c:v>3.4550000000000001</c:v>
                </c:pt>
                <c:pt idx="2890">
                  <c:v>3.407</c:v>
                </c:pt>
                <c:pt idx="2891">
                  <c:v>3.3969999999999998</c:v>
                </c:pt>
                <c:pt idx="2892">
                  <c:v>3.4159999999999999</c:v>
                </c:pt>
                <c:pt idx="2893">
                  <c:v>3.3730000000000002</c:v>
                </c:pt>
                <c:pt idx="2894">
                  <c:v>3.407</c:v>
                </c:pt>
                <c:pt idx="2895">
                  <c:v>3.3769999999999998</c:v>
                </c:pt>
                <c:pt idx="2896">
                  <c:v>3.4449999999999998</c:v>
                </c:pt>
                <c:pt idx="2897">
                  <c:v>3.4220000000000002</c:v>
                </c:pt>
                <c:pt idx="2898">
                  <c:v>3.403</c:v>
                </c:pt>
                <c:pt idx="2899">
                  <c:v>3.367</c:v>
                </c:pt>
                <c:pt idx="2900">
                  <c:v>3.38</c:v>
                </c:pt>
                <c:pt idx="2901">
                  <c:v>3.3450000000000002</c:v>
                </c:pt>
                <c:pt idx="2902">
                  <c:v>3.339</c:v>
                </c:pt>
                <c:pt idx="2903">
                  <c:v>3.3479999999999999</c:v>
                </c:pt>
                <c:pt idx="2904">
                  <c:v>3.3969999999999998</c:v>
                </c:pt>
                <c:pt idx="2905">
                  <c:v>3.3570000000000002</c:v>
                </c:pt>
                <c:pt idx="2906">
                  <c:v>3.3260000000000001</c:v>
                </c:pt>
                <c:pt idx="2907">
                  <c:v>3.3250000000000002</c:v>
                </c:pt>
                <c:pt idx="2908">
                  <c:v>3.298</c:v>
                </c:pt>
                <c:pt idx="2909">
                  <c:v>3.3290000000000002</c:v>
                </c:pt>
                <c:pt idx="2910">
                  <c:v>3.3090000000000002</c:v>
                </c:pt>
                <c:pt idx="2911">
                  <c:v>3.3319999999999999</c:v>
                </c:pt>
                <c:pt idx="2912">
                  <c:v>3.3260000000000001</c:v>
                </c:pt>
                <c:pt idx="2913">
                  <c:v>3.2850000000000001</c:v>
                </c:pt>
                <c:pt idx="2914">
                  <c:v>3.2730000000000001</c:v>
                </c:pt>
                <c:pt idx="2915">
                  <c:v>3.262</c:v>
                </c:pt>
                <c:pt idx="2916">
                  <c:v>3.2589999999999999</c:v>
                </c:pt>
                <c:pt idx="2917">
                  <c:v>3.2869999999999999</c:v>
                </c:pt>
                <c:pt idx="2918">
                  <c:v>3.2970000000000002</c:v>
                </c:pt>
                <c:pt idx="2919">
                  <c:v>3.2749999999999999</c:v>
                </c:pt>
                <c:pt idx="2920">
                  <c:v>3.2639999999999998</c:v>
                </c:pt>
                <c:pt idx="2921">
                  <c:v>3.2759999999999998</c:v>
                </c:pt>
                <c:pt idx="2922">
                  <c:v>3.2669999999999999</c:v>
                </c:pt>
                <c:pt idx="2923">
                  <c:v>3.2810000000000001</c:v>
                </c:pt>
                <c:pt idx="2924">
                  <c:v>3.339</c:v>
                </c:pt>
                <c:pt idx="2925">
                  <c:v>3.375</c:v>
                </c:pt>
                <c:pt idx="2926">
                  <c:v>3.3849999999999998</c:v>
                </c:pt>
                <c:pt idx="2927">
                  <c:v>3.37</c:v>
                </c:pt>
                <c:pt idx="2928">
                  <c:v>3.4329999999999998</c:v>
                </c:pt>
                <c:pt idx="2929">
                  <c:v>3.488</c:v>
                </c:pt>
                <c:pt idx="2930">
                  <c:v>3.48</c:v>
                </c:pt>
                <c:pt idx="2931">
                  <c:v>3.4729999999999999</c:v>
                </c:pt>
                <c:pt idx="2932">
                  <c:v>3.4670000000000001</c:v>
                </c:pt>
                <c:pt idx="2933">
                  <c:v>3.5249999999999999</c:v>
                </c:pt>
                <c:pt idx="2934">
                  <c:v>3.508</c:v>
                </c:pt>
                <c:pt idx="2935">
                  <c:v>3.4889999999999999</c:v>
                </c:pt>
                <c:pt idx="2936">
                  <c:v>3.4860000000000002</c:v>
                </c:pt>
                <c:pt idx="2937">
                  <c:v>3.5139999999999998</c:v>
                </c:pt>
                <c:pt idx="2938">
                  <c:v>3.504</c:v>
                </c:pt>
                <c:pt idx="2939">
                  <c:v>3.4769999999999999</c:v>
                </c:pt>
                <c:pt idx="2940">
                  <c:v>3.476</c:v>
                </c:pt>
                <c:pt idx="2941">
                  <c:v>3.492</c:v>
                </c:pt>
                <c:pt idx="2942">
                  <c:v>3.4980000000000002</c:v>
                </c:pt>
                <c:pt idx="2943">
                  <c:v>3.5059999999999998</c:v>
                </c:pt>
                <c:pt idx="2944">
                  <c:v>3.512</c:v>
                </c:pt>
                <c:pt idx="2945">
                  <c:v>3.4470000000000001</c:v>
                </c:pt>
                <c:pt idx="2946">
                  <c:v>3.4359999999999999</c:v>
                </c:pt>
                <c:pt idx="2947">
                  <c:v>3.448</c:v>
                </c:pt>
                <c:pt idx="2948">
                  <c:v>3.419</c:v>
                </c:pt>
                <c:pt idx="2949">
                  <c:v>3.4790000000000001</c:v>
                </c:pt>
                <c:pt idx="2950">
                  <c:v>3.49</c:v>
                </c:pt>
                <c:pt idx="2951">
                  <c:v>3.532</c:v>
                </c:pt>
                <c:pt idx="2952">
                  <c:v>3.4889999999999999</c:v>
                </c:pt>
                <c:pt idx="2953">
                  <c:v>3.5110000000000001</c:v>
                </c:pt>
                <c:pt idx="2954">
                  <c:v>3.573</c:v>
                </c:pt>
                <c:pt idx="2955">
                  <c:v>3.5910000000000002</c:v>
                </c:pt>
                <c:pt idx="2956">
                  <c:v>3.585</c:v>
                </c:pt>
                <c:pt idx="2957">
                  <c:v>3.5990000000000002</c:v>
                </c:pt>
                <c:pt idx="2958">
                  <c:v>3.6440000000000001</c:v>
                </c:pt>
                <c:pt idx="2959">
                  <c:v>3.6480000000000001</c:v>
                </c:pt>
                <c:pt idx="2960">
                  <c:v>3.6869999999999998</c:v>
                </c:pt>
                <c:pt idx="2961">
                  <c:v>3.7120000000000002</c:v>
                </c:pt>
                <c:pt idx="2962">
                  <c:v>3.6539999999999999</c:v>
                </c:pt>
                <c:pt idx="2963">
                  <c:v>3.6880000000000002</c:v>
                </c:pt>
                <c:pt idx="2964">
                  <c:v>3.6579999999999999</c:v>
                </c:pt>
                <c:pt idx="2965">
                  <c:v>3.6909999999999998</c:v>
                </c:pt>
                <c:pt idx="2966">
                  <c:v>3.6629999999999998</c:v>
                </c:pt>
                <c:pt idx="2967">
                  <c:v>3.665</c:v>
                </c:pt>
                <c:pt idx="2968">
                  <c:v>3.6440000000000001</c:v>
                </c:pt>
                <c:pt idx="2969">
                  <c:v>3.6749999999999998</c:v>
                </c:pt>
                <c:pt idx="2970">
                  <c:v>3.6339999999999999</c:v>
                </c:pt>
                <c:pt idx="2971">
                  <c:v>3.6419999999999999</c:v>
                </c:pt>
                <c:pt idx="2972">
                  <c:v>3.7309999999999999</c:v>
                </c:pt>
                <c:pt idx="2973">
                  <c:v>3.7610000000000001</c:v>
                </c:pt>
                <c:pt idx="2974">
                  <c:v>3.786</c:v>
                </c:pt>
                <c:pt idx="2975">
                  <c:v>3.7709999999999999</c:v>
                </c:pt>
                <c:pt idx="2976">
                  <c:v>3.8220000000000001</c:v>
                </c:pt>
                <c:pt idx="2977">
                  <c:v>3.839</c:v>
                </c:pt>
                <c:pt idx="2978">
                  <c:v>3.85</c:v>
                </c:pt>
                <c:pt idx="2979">
                  <c:v>3.8959999999999999</c:v>
                </c:pt>
                <c:pt idx="2980">
                  <c:v>3.8959999999999999</c:v>
                </c:pt>
                <c:pt idx="2981">
                  <c:v>3.8919999999999999</c:v>
                </c:pt>
                <c:pt idx="2982">
                  <c:v>3.875</c:v>
                </c:pt>
                <c:pt idx="2983">
                  <c:v>3.8860000000000001</c:v>
                </c:pt>
                <c:pt idx="2984">
                  <c:v>3.952</c:v>
                </c:pt>
                <c:pt idx="2985">
                  <c:v>3.9470000000000001</c:v>
                </c:pt>
                <c:pt idx="2986">
                  <c:v>3.9540000000000002</c:v>
                </c:pt>
                <c:pt idx="2987">
                  <c:v>3.9289999999999998</c:v>
                </c:pt>
                <c:pt idx="2988">
                  <c:v>3.952</c:v>
                </c:pt>
                <c:pt idx="2989">
                  <c:v>3.9409999999999998</c:v>
                </c:pt>
                <c:pt idx="2990">
                  <c:v>3.9860000000000002</c:v>
                </c:pt>
                <c:pt idx="2991">
                  <c:v>3.9969999999999999</c:v>
                </c:pt>
                <c:pt idx="2992">
                  <c:v>3.9660000000000002</c:v>
                </c:pt>
                <c:pt idx="2993">
                  <c:v>3.9510000000000001</c:v>
                </c:pt>
                <c:pt idx="2994">
                  <c:v>3.984</c:v>
                </c:pt>
                <c:pt idx="2995">
                  <c:v>4.0069999999999997</c:v>
                </c:pt>
                <c:pt idx="2996">
                  <c:v>4.0339999999999998</c:v>
                </c:pt>
                <c:pt idx="2997">
                  <c:v>4.0019999999999998</c:v>
                </c:pt>
                <c:pt idx="2998">
                  <c:v>4.0179999999999998</c:v>
                </c:pt>
                <c:pt idx="2999">
                  <c:v>4.0309999999999997</c:v>
                </c:pt>
                <c:pt idx="3000">
                  <c:v>3.9889999999999999</c:v>
                </c:pt>
                <c:pt idx="3001">
                  <c:v>4.069</c:v>
                </c:pt>
                <c:pt idx="3002">
                  <c:v>4.0810000000000004</c:v>
                </c:pt>
                <c:pt idx="3003">
                  <c:v>4.0179999999999998</c:v>
                </c:pt>
                <c:pt idx="3004">
                  <c:v>3.9780000000000002</c:v>
                </c:pt>
                <c:pt idx="3005">
                  <c:v>4.077</c:v>
                </c:pt>
                <c:pt idx="3006">
                  <c:v>4.032</c:v>
                </c:pt>
                <c:pt idx="3007">
                  <c:v>3.99</c:v>
                </c:pt>
                <c:pt idx="3008">
                  <c:v>3.9159999999999999</c:v>
                </c:pt>
                <c:pt idx="3009">
                  <c:v>3.9319999999999999</c:v>
                </c:pt>
                <c:pt idx="3010">
                  <c:v>3.891</c:v>
                </c:pt>
                <c:pt idx="3011">
                  <c:v>3.879</c:v>
                </c:pt>
                <c:pt idx="3012">
                  <c:v>3.8839999999999999</c:v>
                </c:pt>
                <c:pt idx="3013">
                  <c:v>3.891</c:v>
                </c:pt>
                <c:pt idx="3014">
                  <c:v>3.9390000000000001</c:v>
                </c:pt>
                <c:pt idx="3015">
                  <c:v>3.9820000000000002</c:v>
                </c:pt>
                <c:pt idx="3016">
                  <c:v>3.996</c:v>
                </c:pt>
                <c:pt idx="3017">
                  <c:v>3.9289999999999998</c:v>
                </c:pt>
                <c:pt idx="3018">
                  <c:v>3.97</c:v>
                </c:pt>
                <c:pt idx="3019">
                  <c:v>3.99</c:v>
                </c:pt>
                <c:pt idx="3020">
                  <c:v>4.008</c:v>
                </c:pt>
                <c:pt idx="3021">
                  <c:v>3.9359999999999999</c:v>
                </c:pt>
                <c:pt idx="3022">
                  <c:v>3.9340000000000002</c:v>
                </c:pt>
                <c:pt idx="3023">
                  <c:v>3.9140000000000001</c:v>
                </c:pt>
                <c:pt idx="3024">
                  <c:v>3.8679999999999999</c:v>
                </c:pt>
                <c:pt idx="3025">
                  <c:v>3.9</c:v>
                </c:pt>
                <c:pt idx="3026">
                  <c:v>3.95</c:v>
                </c:pt>
                <c:pt idx="3027">
                  <c:v>3.9390000000000001</c:v>
                </c:pt>
                <c:pt idx="3028">
                  <c:v>3.976</c:v>
                </c:pt>
                <c:pt idx="3029">
                  <c:v>3.9950000000000001</c:v>
                </c:pt>
                <c:pt idx="3030">
                  <c:v>4.0149999999999997</c:v>
                </c:pt>
                <c:pt idx="3031">
                  <c:v>4.0609999999999999</c:v>
                </c:pt>
                <c:pt idx="3032">
                  <c:v>4.0810000000000004</c:v>
                </c:pt>
                <c:pt idx="3033">
                  <c:v>4.0919999999999996</c:v>
                </c:pt>
                <c:pt idx="3034">
                  <c:v>4.0940000000000003</c:v>
                </c:pt>
                <c:pt idx="3035">
                  <c:v>4.0970000000000004</c:v>
                </c:pt>
                <c:pt idx="3036">
                  <c:v>4.0659999999999998</c:v>
                </c:pt>
                <c:pt idx="3037">
                  <c:v>4.0709999999999997</c:v>
                </c:pt>
                <c:pt idx="3038">
                  <c:v>4.0919999999999996</c:v>
                </c:pt>
                <c:pt idx="3039">
                  <c:v>4.0780000000000003</c:v>
                </c:pt>
                <c:pt idx="3040">
                  <c:v>4.1369999999999996</c:v>
                </c:pt>
                <c:pt idx="3041">
                  <c:v>4.1130000000000004</c:v>
                </c:pt>
                <c:pt idx="3042">
                  <c:v>4.0650000000000004</c:v>
                </c:pt>
                <c:pt idx="3043">
                  <c:v>4.0869999999999997</c:v>
                </c:pt>
                <c:pt idx="3044">
                  <c:v>4.0510000000000002</c:v>
                </c:pt>
                <c:pt idx="3045">
                  <c:v>4.0869999999999997</c:v>
                </c:pt>
                <c:pt idx="3046">
                  <c:v>4.048</c:v>
                </c:pt>
                <c:pt idx="3047">
                  <c:v>3.9830000000000001</c:v>
                </c:pt>
                <c:pt idx="3048">
                  <c:v>3.9929999999999999</c:v>
                </c:pt>
                <c:pt idx="3049">
                  <c:v>4.0140000000000002</c:v>
                </c:pt>
                <c:pt idx="3050">
                  <c:v>3.984</c:v>
                </c:pt>
                <c:pt idx="3051">
                  <c:v>3.9849999999999999</c:v>
                </c:pt>
                <c:pt idx="3052">
                  <c:v>3.956</c:v>
                </c:pt>
                <c:pt idx="3053">
                  <c:v>3.956</c:v>
                </c:pt>
                <c:pt idx="3054">
                  <c:v>3.9630000000000001</c:v>
                </c:pt>
                <c:pt idx="3055">
                  <c:v>3.9830000000000001</c:v>
                </c:pt>
                <c:pt idx="3056">
                  <c:v>3.948</c:v>
                </c:pt>
                <c:pt idx="3057">
                  <c:v>3.92</c:v>
                </c:pt>
                <c:pt idx="3058">
                  <c:v>3.9209999999999998</c:v>
                </c:pt>
                <c:pt idx="3059">
                  <c:v>3.9289999999999998</c:v>
                </c:pt>
                <c:pt idx="3060">
                  <c:v>3.9340000000000002</c:v>
                </c:pt>
                <c:pt idx="3061">
                  <c:v>3.9740000000000002</c:v>
                </c:pt>
                <c:pt idx="3062">
                  <c:v>3.9060000000000001</c:v>
                </c:pt>
                <c:pt idx="3063">
                  <c:v>3.907</c:v>
                </c:pt>
                <c:pt idx="3064">
                  <c:v>3.903</c:v>
                </c:pt>
                <c:pt idx="3065">
                  <c:v>3.9340000000000002</c:v>
                </c:pt>
                <c:pt idx="3066">
                  <c:v>3.9329999999999998</c:v>
                </c:pt>
                <c:pt idx="3067">
                  <c:v>3.9809999999999999</c:v>
                </c:pt>
                <c:pt idx="3068">
                  <c:v>4.0060000000000002</c:v>
                </c:pt>
                <c:pt idx="3069">
                  <c:v>3.97</c:v>
                </c:pt>
                <c:pt idx="3070">
                  <c:v>3.9319999999999999</c:v>
                </c:pt>
                <c:pt idx="3071">
                  <c:v>3.92</c:v>
                </c:pt>
                <c:pt idx="3072">
                  <c:v>3.9020000000000001</c:v>
                </c:pt>
                <c:pt idx="3073">
                  <c:v>3.8610000000000002</c:v>
                </c:pt>
                <c:pt idx="3074">
                  <c:v>3.8079999999999998</c:v>
                </c:pt>
                <c:pt idx="3075">
                  <c:v>3.827</c:v>
                </c:pt>
                <c:pt idx="3076">
                  <c:v>3.8090000000000002</c:v>
                </c:pt>
                <c:pt idx="3077">
                  <c:v>3.7930000000000001</c:v>
                </c:pt>
                <c:pt idx="3078">
                  <c:v>3.7949999999999999</c:v>
                </c:pt>
                <c:pt idx="3079">
                  <c:v>3.8279999999999998</c:v>
                </c:pt>
                <c:pt idx="3080">
                  <c:v>3.8010000000000002</c:v>
                </c:pt>
                <c:pt idx="3081">
                  <c:v>3.76</c:v>
                </c:pt>
                <c:pt idx="3082">
                  <c:v>3.7450000000000001</c:v>
                </c:pt>
                <c:pt idx="3083">
                  <c:v>3.7480000000000002</c:v>
                </c:pt>
                <c:pt idx="3084">
                  <c:v>3.7869999999999999</c:v>
                </c:pt>
                <c:pt idx="3085">
                  <c:v>3.831</c:v>
                </c:pt>
                <c:pt idx="3086">
                  <c:v>3.8170000000000002</c:v>
                </c:pt>
                <c:pt idx="3087">
                  <c:v>3.7869999999999999</c:v>
                </c:pt>
                <c:pt idx="3088">
                  <c:v>3.8029999999999999</c:v>
                </c:pt>
                <c:pt idx="3089">
                  <c:v>3.839</c:v>
                </c:pt>
                <c:pt idx="3090">
                  <c:v>3.79</c:v>
                </c:pt>
                <c:pt idx="3091">
                  <c:v>3.7919999999999998</c:v>
                </c:pt>
                <c:pt idx="3092">
                  <c:v>3.7759999999999998</c:v>
                </c:pt>
                <c:pt idx="3093">
                  <c:v>3.831</c:v>
                </c:pt>
                <c:pt idx="3094">
                  <c:v>3.78</c:v>
                </c:pt>
                <c:pt idx="3095">
                  <c:v>3.7730000000000001</c:v>
                </c:pt>
                <c:pt idx="3096">
                  <c:v>3.7519999999999998</c:v>
                </c:pt>
                <c:pt idx="3097">
                  <c:v>3.694</c:v>
                </c:pt>
                <c:pt idx="3098">
                  <c:v>3.6629999999999998</c:v>
                </c:pt>
                <c:pt idx="3099">
                  <c:v>3.6579999999999999</c:v>
                </c:pt>
                <c:pt idx="3100">
                  <c:v>3.6720000000000002</c:v>
                </c:pt>
                <c:pt idx="3101">
                  <c:v>3.6890000000000001</c:v>
                </c:pt>
                <c:pt idx="3102">
                  <c:v>3.7090000000000001</c:v>
                </c:pt>
                <c:pt idx="3103">
                  <c:v>3.69</c:v>
                </c:pt>
                <c:pt idx="3104">
                  <c:v>3.7349999999999999</c:v>
                </c:pt>
                <c:pt idx="3105">
                  <c:v>3.6970000000000001</c:v>
                </c:pt>
                <c:pt idx="3106">
                  <c:v>3.7109999999999999</c:v>
                </c:pt>
                <c:pt idx="3107">
                  <c:v>3.7519999999999998</c:v>
                </c:pt>
                <c:pt idx="3108">
                  <c:v>3.76</c:v>
                </c:pt>
                <c:pt idx="3109">
                  <c:v>3.8109999999999999</c:v>
                </c:pt>
                <c:pt idx="3110">
                  <c:v>3.8079999999999998</c:v>
                </c:pt>
                <c:pt idx="3111">
                  <c:v>3.8029999999999999</c:v>
                </c:pt>
                <c:pt idx="3112">
                  <c:v>3.8319999999999999</c:v>
                </c:pt>
                <c:pt idx="3113">
                  <c:v>3.83</c:v>
                </c:pt>
                <c:pt idx="3114">
                  <c:v>3.8</c:v>
                </c:pt>
                <c:pt idx="3115">
                  <c:v>3.8170000000000002</c:v>
                </c:pt>
                <c:pt idx="3116">
                  <c:v>3.8410000000000002</c:v>
                </c:pt>
                <c:pt idx="3117">
                  <c:v>3.839</c:v>
                </c:pt>
                <c:pt idx="3118">
                  <c:v>3.8769999999999998</c:v>
                </c:pt>
                <c:pt idx="3119">
                  <c:v>3.875</c:v>
                </c:pt>
                <c:pt idx="3120">
                  <c:v>3.8839999999999999</c:v>
                </c:pt>
                <c:pt idx="3121">
                  <c:v>3.8580000000000001</c:v>
                </c:pt>
                <c:pt idx="3122">
                  <c:v>3.8090000000000002</c:v>
                </c:pt>
                <c:pt idx="3123">
                  <c:v>3.7930000000000001</c:v>
                </c:pt>
                <c:pt idx="3124">
                  <c:v>3.7410000000000001</c:v>
                </c:pt>
                <c:pt idx="3125">
                  <c:v>3.706</c:v>
                </c:pt>
                <c:pt idx="3126">
                  <c:v>3.74</c:v>
                </c:pt>
                <c:pt idx="3127">
                  <c:v>3.7730000000000001</c:v>
                </c:pt>
                <c:pt idx="3128">
                  <c:v>3.7919999999999998</c:v>
                </c:pt>
                <c:pt idx="3129">
                  <c:v>3.7389999999999999</c:v>
                </c:pt>
                <c:pt idx="3130">
                  <c:v>3.758</c:v>
                </c:pt>
                <c:pt idx="3131">
                  <c:v>3.7410000000000001</c:v>
                </c:pt>
                <c:pt idx="3132">
                  <c:v>3.714</c:v>
                </c:pt>
                <c:pt idx="3133">
                  <c:v>3.738</c:v>
                </c:pt>
                <c:pt idx="3134">
                  <c:v>3.7120000000000002</c:v>
                </c:pt>
                <c:pt idx="3135">
                  <c:v>3.74</c:v>
                </c:pt>
                <c:pt idx="3136">
                  <c:v>3.7480000000000002</c:v>
                </c:pt>
                <c:pt idx="3137">
                  <c:v>3.73</c:v>
                </c:pt>
                <c:pt idx="3138">
                  <c:v>3.7189999999999999</c:v>
                </c:pt>
                <c:pt idx="3139">
                  <c:v>3.722</c:v>
                </c:pt>
                <c:pt idx="3140">
                  <c:v>3.72</c:v>
                </c:pt>
                <c:pt idx="3141">
                  <c:v>3.7450000000000001</c:v>
                </c:pt>
                <c:pt idx="3142">
                  <c:v>3.6989999999999998</c:v>
                </c:pt>
                <c:pt idx="3143">
                  <c:v>3.7229999999999999</c:v>
                </c:pt>
                <c:pt idx="3144">
                  <c:v>3.7050000000000001</c:v>
                </c:pt>
                <c:pt idx="3145">
                  <c:v>3.72</c:v>
                </c:pt>
                <c:pt idx="3146">
                  <c:v>3.6949999999999998</c:v>
                </c:pt>
                <c:pt idx="3147">
                  <c:v>3.6640000000000001</c:v>
                </c:pt>
                <c:pt idx="3148">
                  <c:v>3.6709999999999998</c:v>
                </c:pt>
                <c:pt idx="3149">
                  <c:v>3.68</c:v>
                </c:pt>
                <c:pt idx="3150">
                  <c:v>3.6880000000000002</c:v>
                </c:pt>
                <c:pt idx="3151">
                  <c:v>3.7120000000000002</c:v>
                </c:pt>
                <c:pt idx="3152">
                  <c:v>3.7280000000000002</c:v>
                </c:pt>
                <c:pt idx="3153">
                  <c:v>3.7450000000000001</c:v>
                </c:pt>
                <c:pt idx="3154">
                  <c:v>3.7389999999999999</c:v>
                </c:pt>
                <c:pt idx="3155">
                  <c:v>3.7509999999999999</c:v>
                </c:pt>
                <c:pt idx="3156">
                  <c:v>3.782</c:v>
                </c:pt>
                <c:pt idx="3157">
                  <c:v>3.7989999999999999</c:v>
                </c:pt>
                <c:pt idx="3158">
                  <c:v>3.8279999999999998</c:v>
                </c:pt>
                <c:pt idx="3159">
                  <c:v>3.8639999999999999</c:v>
                </c:pt>
                <c:pt idx="3160">
                  <c:v>3.86</c:v>
                </c:pt>
                <c:pt idx="3161">
                  <c:v>3.875</c:v>
                </c:pt>
                <c:pt idx="3162">
                  <c:v>3.8809999999999998</c:v>
                </c:pt>
                <c:pt idx="3163">
                  <c:v>3.9249999999999998</c:v>
                </c:pt>
                <c:pt idx="3164">
                  <c:v>3.9540000000000002</c:v>
                </c:pt>
                <c:pt idx="3165">
                  <c:v>3.948</c:v>
                </c:pt>
                <c:pt idx="3166">
                  <c:v>3.9369999999999998</c:v>
                </c:pt>
                <c:pt idx="3167">
                  <c:v>3.9540000000000002</c:v>
                </c:pt>
                <c:pt idx="3168">
                  <c:v>3.9329999999999998</c:v>
                </c:pt>
                <c:pt idx="3169">
                  <c:v>3.9820000000000002</c:v>
                </c:pt>
                <c:pt idx="3170">
                  <c:v>3.9729999999999999</c:v>
                </c:pt>
                <c:pt idx="3171">
                  <c:v>4.0039999999999996</c:v>
                </c:pt>
                <c:pt idx="3172">
                  <c:v>4.0209999999999999</c:v>
                </c:pt>
                <c:pt idx="3173">
                  <c:v>4.0140000000000002</c:v>
                </c:pt>
                <c:pt idx="3174">
                  <c:v>4.0629999999999997</c:v>
                </c:pt>
                <c:pt idx="3175">
                  <c:v>4.0540000000000003</c:v>
                </c:pt>
                <c:pt idx="3176">
                  <c:v>4.04</c:v>
                </c:pt>
                <c:pt idx="3177">
                  <c:v>4.04</c:v>
                </c:pt>
                <c:pt idx="3178">
                  <c:v>4.0620000000000003</c:v>
                </c:pt>
                <c:pt idx="3179">
                  <c:v>4.05</c:v>
                </c:pt>
                <c:pt idx="3180">
                  <c:v>4.0209999999999999</c:v>
                </c:pt>
                <c:pt idx="3181">
                  <c:v>4.0199999999999996</c:v>
                </c:pt>
                <c:pt idx="3182">
                  <c:v>4.04</c:v>
                </c:pt>
                <c:pt idx="3183">
                  <c:v>4.0789999999999997</c:v>
                </c:pt>
                <c:pt idx="3184">
                  <c:v>4.0919999999999996</c:v>
                </c:pt>
                <c:pt idx="3185">
                  <c:v>4.1189999999999998</c:v>
                </c:pt>
                <c:pt idx="3186">
                  <c:v>4.1100000000000003</c:v>
                </c:pt>
                <c:pt idx="3187">
                  <c:v>4.0999999999999996</c:v>
                </c:pt>
                <c:pt idx="3188">
                  <c:v>4.0910000000000002</c:v>
                </c:pt>
                <c:pt idx="3189">
                  <c:v>4.0609999999999999</c:v>
                </c:pt>
                <c:pt idx="3190">
                  <c:v>4.0309999999999997</c:v>
                </c:pt>
                <c:pt idx="3191">
                  <c:v>4.03</c:v>
                </c:pt>
                <c:pt idx="3192">
                  <c:v>4.03</c:v>
                </c:pt>
                <c:pt idx="3193">
                  <c:v>4.0469999999999997</c:v>
                </c:pt>
                <c:pt idx="3194">
                  <c:v>4.0910000000000002</c:v>
                </c:pt>
                <c:pt idx="3195">
                  <c:v>4.1079999999999997</c:v>
                </c:pt>
                <c:pt idx="3196">
                  <c:v>4.125</c:v>
                </c:pt>
                <c:pt idx="3197">
                  <c:v>4.0990000000000002</c:v>
                </c:pt>
                <c:pt idx="3198">
                  <c:v>4.0439999999999996</c:v>
                </c:pt>
                <c:pt idx="3199">
                  <c:v>4.05</c:v>
                </c:pt>
                <c:pt idx="3200">
                  <c:v>4.0659999999999998</c:v>
                </c:pt>
                <c:pt idx="3201">
                  <c:v>4.0629999999999997</c:v>
                </c:pt>
                <c:pt idx="3202">
                  <c:v>4.0529999999999999</c:v>
                </c:pt>
                <c:pt idx="3203">
                  <c:v>4.0860000000000003</c:v>
                </c:pt>
                <c:pt idx="3204">
                  <c:v>4.0469999999999997</c:v>
                </c:pt>
                <c:pt idx="3205">
                  <c:v>3.9950000000000001</c:v>
                </c:pt>
                <c:pt idx="3206">
                  <c:v>3.9649999999999999</c:v>
                </c:pt>
                <c:pt idx="3207">
                  <c:v>3.9569999999999999</c:v>
                </c:pt>
                <c:pt idx="3208">
                  <c:v>3.9470000000000001</c:v>
                </c:pt>
                <c:pt idx="3209">
                  <c:v>3.9380000000000002</c:v>
                </c:pt>
                <c:pt idx="3210">
                  <c:v>3.915</c:v>
                </c:pt>
                <c:pt idx="3211">
                  <c:v>3.9180000000000001</c:v>
                </c:pt>
                <c:pt idx="3212">
                  <c:v>3.92</c:v>
                </c:pt>
                <c:pt idx="3213">
                  <c:v>3.9289999999999998</c:v>
                </c:pt>
                <c:pt idx="3214">
                  <c:v>3.9590000000000001</c:v>
                </c:pt>
                <c:pt idx="3215">
                  <c:v>3.9319999999999999</c:v>
                </c:pt>
                <c:pt idx="3216">
                  <c:v>3.9049999999999998</c:v>
                </c:pt>
                <c:pt idx="3217">
                  <c:v>3.8820000000000001</c:v>
                </c:pt>
                <c:pt idx="3218">
                  <c:v>3.907</c:v>
                </c:pt>
                <c:pt idx="3219">
                  <c:v>3.9049999999999998</c:v>
                </c:pt>
                <c:pt idx="3220">
                  <c:v>3.9260000000000002</c:v>
                </c:pt>
                <c:pt idx="3221">
                  <c:v>3.9089999999999998</c:v>
                </c:pt>
                <c:pt idx="3222">
                  <c:v>3.927</c:v>
                </c:pt>
                <c:pt idx="3223">
                  <c:v>3.9489999999999998</c:v>
                </c:pt>
                <c:pt idx="3224">
                  <c:v>4.0010000000000003</c:v>
                </c:pt>
                <c:pt idx="3225">
                  <c:v>4.0010000000000003</c:v>
                </c:pt>
                <c:pt idx="3226">
                  <c:v>4.0220000000000002</c:v>
                </c:pt>
                <c:pt idx="3227">
                  <c:v>4.0309999999999997</c:v>
                </c:pt>
                <c:pt idx="3228">
                  <c:v>4.0529999999999999</c:v>
                </c:pt>
                <c:pt idx="3229">
                  <c:v>4.0570000000000004</c:v>
                </c:pt>
                <c:pt idx="3230">
                  <c:v>4.0720000000000001</c:v>
                </c:pt>
                <c:pt idx="3231">
                  <c:v>4.0970000000000004</c:v>
                </c:pt>
                <c:pt idx="3232">
                  <c:v>4.0709999999999997</c:v>
                </c:pt>
                <c:pt idx="3233">
                  <c:v>4.0949999999999998</c:v>
                </c:pt>
                <c:pt idx="3234">
                  <c:v>4.1280000000000001</c:v>
                </c:pt>
                <c:pt idx="3235">
                  <c:v>4.1429999999999998</c:v>
                </c:pt>
                <c:pt idx="3236">
                  <c:v>4.1820000000000004</c:v>
                </c:pt>
                <c:pt idx="3237">
                  <c:v>4.2309999999999999</c:v>
                </c:pt>
                <c:pt idx="3238">
                  <c:v>4.2069999999999999</c:v>
                </c:pt>
                <c:pt idx="3239">
                  <c:v>4.1820000000000004</c:v>
                </c:pt>
                <c:pt idx="3240">
                  <c:v>4.1539999999999999</c:v>
                </c:pt>
                <c:pt idx="3241">
                  <c:v>4.1970000000000001</c:v>
                </c:pt>
                <c:pt idx="3242">
                  <c:v>4.2030000000000003</c:v>
                </c:pt>
                <c:pt idx="3243">
                  <c:v>4.18</c:v>
                </c:pt>
                <c:pt idx="3244">
                  <c:v>4.1630000000000003</c:v>
                </c:pt>
                <c:pt idx="3245">
                  <c:v>4.1879999999999997</c:v>
                </c:pt>
                <c:pt idx="3246">
                  <c:v>4.22</c:v>
                </c:pt>
                <c:pt idx="3247">
                  <c:v>4.22</c:v>
                </c:pt>
                <c:pt idx="3248">
                  <c:v>4.1539999999999999</c:v>
                </c:pt>
                <c:pt idx="3249">
                  <c:v>4.21</c:v>
                </c:pt>
                <c:pt idx="3250">
                  <c:v>4.2300000000000004</c:v>
                </c:pt>
                <c:pt idx="3251">
                  <c:v>4.1950000000000003</c:v>
                </c:pt>
                <c:pt idx="3252">
                  <c:v>4.2119999999999997</c:v>
                </c:pt>
                <c:pt idx="3253">
                  <c:v>4.1950000000000003</c:v>
                </c:pt>
                <c:pt idx="3254">
                  <c:v>4.2080000000000002</c:v>
                </c:pt>
                <c:pt idx="3255">
                  <c:v>4.2140000000000004</c:v>
                </c:pt>
                <c:pt idx="3256">
                  <c:v>4.2169999999999996</c:v>
                </c:pt>
                <c:pt idx="3257">
                  <c:v>4.2690000000000001</c:v>
                </c:pt>
                <c:pt idx="3258">
                  <c:v>4.2990000000000004</c:v>
                </c:pt>
                <c:pt idx="3259">
                  <c:v>4.3029999999999999</c:v>
                </c:pt>
                <c:pt idx="3260">
                  <c:v>4.3120000000000003</c:v>
                </c:pt>
                <c:pt idx="3261">
                  <c:v>4.3109999999999999</c:v>
                </c:pt>
                <c:pt idx="3262">
                  <c:v>4.3220000000000001</c:v>
                </c:pt>
                <c:pt idx="3263">
                  <c:v>4.3380000000000001</c:v>
                </c:pt>
                <c:pt idx="3264">
                  <c:v>4.3810000000000002</c:v>
                </c:pt>
                <c:pt idx="3265">
                  <c:v>4.3689999999999998</c:v>
                </c:pt>
                <c:pt idx="3266">
                  <c:v>4.3869999999999996</c:v>
                </c:pt>
                <c:pt idx="3267">
                  <c:v>4.3920000000000003</c:v>
                </c:pt>
                <c:pt idx="3268">
                  <c:v>4.4020000000000001</c:v>
                </c:pt>
                <c:pt idx="3269">
                  <c:v>4.399</c:v>
                </c:pt>
                <c:pt idx="3270">
                  <c:v>4.4219999999999997</c:v>
                </c:pt>
                <c:pt idx="3271">
                  <c:v>4.4610000000000003</c:v>
                </c:pt>
                <c:pt idx="3272">
                  <c:v>4.4560000000000004</c:v>
                </c:pt>
                <c:pt idx="3273">
                  <c:v>4.4960000000000004</c:v>
                </c:pt>
                <c:pt idx="3274">
                  <c:v>4.4610000000000003</c:v>
                </c:pt>
                <c:pt idx="3275">
                  <c:v>4.5449999999999999</c:v>
                </c:pt>
                <c:pt idx="3276">
                  <c:v>4.5720000000000001</c:v>
                </c:pt>
                <c:pt idx="3277">
                  <c:v>4.5650000000000004</c:v>
                </c:pt>
                <c:pt idx="3278">
                  <c:v>4.6109999999999998</c:v>
                </c:pt>
                <c:pt idx="3279">
                  <c:v>4.6440000000000001</c:v>
                </c:pt>
                <c:pt idx="3280">
                  <c:v>4.6440000000000001</c:v>
                </c:pt>
                <c:pt idx="3281">
                  <c:v>4.657</c:v>
                </c:pt>
                <c:pt idx="3282">
                  <c:v>4.6630000000000003</c:v>
                </c:pt>
                <c:pt idx="3283">
                  <c:v>4.62</c:v>
                </c:pt>
                <c:pt idx="3284">
                  <c:v>4.6399999999999997</c:v>
                </c:pt>
                <c:pt idx="3285">
                  <c:v>4.6459999999999999</c:v>
                </c:pt>
                <c:pt idx="3286">
                  <c:v>4.6529999999999996</c:v>
                </c:pt>
                <c:pt idx="3287">
                  <c:v>4.6219999999999999</c:v>
                </c:pt>
                <c:pt idx="3288">
                  <c:v>4.6020000000000003</c:v>
                </c:pt>
                <c:pt idx="3289">
                  <c:v>4.5469999999999997</c:v>
                </c:pt>
                <c:pt idx="3290">
                  <c:v>4.5659999999999998</c:v>
                </c:pt>
                <c:pt idx="3291">
                  <c:v>4.5739999999999998</c:v>
                </c:pt>
                <c:pt idx="3292">
                  <c:v>4.5110000000000001</c:v>
                </c:pt>
                <c:pt idx="3293">
                  <c:v>4.5620000000000003</c:v>
                </c:pt>
                <c:pt idx="3294">
                  <c:v>4.6040000000000001</c:v>
                </c:pt>
                <c:pt idx="3295">
                  <c:v>4.6470000000000002</c:v>
                </c:pt>
                <c:pt idx="3296">
                  <c:v>4.6769999999999996</c:v>
                </c:pt>
                <c:pt idx="3297">
                  <c:v>4.6689999999999996</c:v>
                </c:pt>
                <c:pt idx="3298">
                  <c:v>4.5890000000000004</c:v>
                </c:pt>
                <c:pt idx="3299">
                  <c:v>4.577</c:v>
                </c:pt>
                <c:pt idx="3300">
                  <c:v>4.62</c:v>
                </c:pt>
                <c:pt idx="3301">
                  <c:v>4.6180000000000003</c:v>
                </c:pt>
                <c:pt idx="3302">
                  <c:v>4.5780000000000003</c:v>
                </c:pt>
                <c:pt idx="3303">
                  <c:v>4.5960000000000001</c:v>
                </c:pt>
                <c:pt idx="3304">
                  <c:v>4.5439999999999996</c:v>
                </c:pt>
                <c:pt idx="3305">
                  <c:v>4.55</c:v>
                </c:pt>
                <c:pt idx="3306">
                  <c:v>4.4379999999999997</c:v>
                </c:pt>
                <c:pt idx="3307">
                  <c:v>4.4400000000000004</c:v>
                </c:pt>
                <c:pt idx="3308">
                  <c:v>4.431</c:v>
                </c:pt>
                <c:pt idx="3309">
                  <c:v>4.4039999999999999</c:v>
                </c:pt>
                <c:pt idx="3310">
                  <c:v>4.3310000000000004</c:v>
                </c:pt>
                <c:pt idx="3311">
                  <c:v>4.3230000000000004</c:v>
                </c:pt>
                <c:pt idx="3312">
                  <c:v>4.3040000000000003</c:v>
                </c:pt>
                <c:pt idx="3313">
                  <c:v>4.3470000000000004</c:v>
                </c:pt>
                <c:pt idx="3314">
                  <c:v>4.3479999999999999</c:v>
                </c:pt>
                <c:pt idx="3315">
                  <c:v>4.3739999999999997</c:v>
                </c:pt>
                <c:pt idx="3316">
                  <c:v>4.3170000000000002</c:v>
                </c:pt>
                <c:pt idx="3317">
                  <c:v>4.3230000000000004</c:v>
                </c:pt>
                <c:pt idx="3318">
                  <c:v>4.3449999999999998</c:v>
                </c:pt>
                <c:pt idx="3319">
                  <c:v>4.4249999999999998</c:v>
                </c:pt>
                <c:pt idx="3320">
                  <c:v>4.3879999999999999</c:v>
                </c:pt>
                <c:pt idx="3321">
                  <c:v>4.3540000000000001</c:v>
                </c:pt>
                <c:pt idx="3322">
                  <c:v>4.3710000000000004</c:v>
                </c:pt>
                <c:pt idx="3323">
                  <c:v>4.3600000000000003</c:v>
                </c:pt>
                <c:pt idx="3324">
                  <c:v>4.335</c:v>
                </c:pt>
                <c:pt idx="3325">
                  <c:v>4.2460000000000004</c:v>
                </c:pt>
                <c:pt idx="3326">
                  <c:v>4.2869999999999999</c:v>
                </c:pt>
                <c:pt idx="3327">
                  <c:v>4.2729999999999997</c:v>
                </c:pt>
                <c:pt idx="3328">
                  <c:v>4.2300000000000004</c:v>
                </c:pt>
                <c:pt idx="3329">
                  <c:v>4.2949999999999999</c:v>
                </c:pt>
                <c:pt idx="3330">
                  <c:v>4.2679999999999998</c:v>
                </c:pt>
                <c:pt idx="3331">
                  <c:v>4.2619999999999996</c:v>
                </c:pt>
                <c:pt idx="3332">
                  <c:v>4.2519999999999998</c:v>
                </c:pt>
                <c:pt idx="3333">
                  <c:v>4.2279999999999998</c:v>
                </c:pt>
                <c:pt idx="3334">
                  <c:v>4.2249999999999996</c:v>
                </c:pt>
                <c:pt idx="3335">
                  <c:v>4.2320000000000002</c:v>
                </c:pt>
                <c:pt idx="3336">
                  <c:v>4.242</c:v>
                </c:pt>
                <c:pt idx="3337">
                  <c:v>4.2629999999999999</c:v>
                </c:pt>
                <c:pt idx="3338">
                  <c:v>4.2750000000000004</c:v>
                </c:pt>
                <c:pt idx="3339">
                  <c:v>4.21</c:v>
                </c:pt>
                <c:pt idx="3340">
                  <c:v>4.2060000000000004</c:v>
                </c:pt>
                <c:pt idx="3341">
                  <c:v>4.1219999999999999</c:v>
                </c:pt>
                <c:pt idx="3342">
                  <c:v>4.0720000000000001</c:v>
                </c:pt>
                <c:pt idx="3343">
                  <c:v>4.0940000000000003</c:v>
                </c:pt>
                <c:pt idx="3344">
                  <c:v>4.125</c:v>
                </c:pt>
                <c:pt idx="3345">
                  <c:v>4.17</c:v>
                </c:pt>
                <c:pt idx="3346">
                  <c:v>4.1660000000000004</c:v>
                </c:pt>
                <c:pt idx="3347">
                  <c:v>4.1539999999999999</c:v>
                </c:pt>
                <c:pt idx="3348">
                  <c:v>4.2190000000000003</c:v>
                </c:pt>
                <c:pt idx="3349">
                  <c:v>4.2839999999999998</c:v>
                </c:pt>
                <c:pt idx="3350">
                  <c:v>4.3419999999999996</c:v>
                </c:pt>
                <c:pt idx="3351">
                  <c:v>4.3579999999999997</c:v>
                </c:pt>
                <c:pt idx="3352">
                  <c:v>4.3650000000000002</c:v>
                </c:pt>
                <c:pt idx="3353">
                  <c:v>4.327</c:v>
                </c:pt>
                <c:pt idx="3354">
                  <c:v>4.3849999999999998</c:v>
                </c:pt>
                <c:pt idx="3355">
                  <c:v>4.3789999999999996</c:v>
                </c:pt>
                <c:pt idx="3356">
                  <c:v>4.3289999999999997</c:v>
                </c:pt>
                <c:pt idx="3357">
                  <c:v>4.3230000000000004</c:v>
                </c:pt>
                <c:pt idx="3358">
                  <c:v>4.3170000000000002</c:v>
                </c:pt>
                <c:pt idx="3359">
                  <c:v>4.3339999999999996</c:v>
                </c:pt>
                <c:pt idx="3360">
                  <c:v>4.2889999999999997</c:v>
                </c:pt>
                <c:pt idx="3361">
                  <c:v>4.3499999999999996</c:v>
                </c:pt>
                <c:pt idx="3362">
                  <c:v>4.3529999999999998</c:v>
                </c:pt>
                <c:pt idx="3363">
                  <c:v>4.319</c:v>
                </c:pt>
                <c:pt idx="3364">
                  <c:v>4.3520000000000003</c:v>
                </c:pt>
                <c:pt idx="3365">
                  <c:v>4.3940000000000001</c:v>
                </c:pt>
                <c:pt idx="3366">
                  <c:v>4.4210000000000003</c:v>
                </c:pt>
                <c:pt idx="3367">
                  <c:v>4.4290000000000003</c:v>
                </c:pt>
                <c:pt idx="3368">
                  <c:v>4.4359999999999999</c:v>
                </c:pt>
                <c:pt idx="3369">
                  <c:v>4.3940000000000001</c:v>
                </c:pt>
                <c:pt idx="3370">
                  <c:v>4.3239999999999998</c:v>
                </c:pt>
                <c:pt idx="3371">
                  <c:v>4.2249999999999996</c:v>
                </c:pt>
                <c:pt idx="3372">
                  <c:v>4.1920000000000002</c:v>
                </c:pt>
                <c:pt idx="3373">
                  <c:v>4.1989999999999998</c:v>
                </c:pt>
                <c:pt idx="3374">
                  <c:v>4.1500000000000004</c:v>
                </c:pt>
                <c:pt idx="3375">
                  <c:v>4.16</c:v>
                </c:pt>
                <c:pt idx="3376">
                  <c:v>4.173</c:v>
                </c:pt>
                <c:pt idx="3377">
                  <c:v>4.1710000000000003</c:v>
                </c:pt>
                <c:pt idx="3378">
                  <c:v>4.1870000000000003</c:v>
                </c:pt>
                <c:pt idx="3379">
                  <c:v>4.2389999999999999</c:v>
                </c:pt>
                <c:pt idx="3380">
                  <c:v>4.2060000000000004</c:v>
                </c:pt>
                <c:pt idx="3381">
                  <c:v>4.1769999999999996</c:v>
                </c:pt>
                <c:pt idx="3382">
                  <c:v>4.1669999999999998</c:v>
                </c:pt>
                <c:pt idx="3383">
                  <c:v>4.1829999999999998</c:v>
                </c:pt>
                <c:pt idx="3384">
                  <c:v>4.1520000000000001</c:v>
                </c:pt>
                <c:pt idx="3385">
                  <c:v>4.1260000000000003</c:v>
                </c:pt>
                <c:pt idx="3386">
                  <c:v>4.0869999999999997</c:v>
                </c:pt>
                <c:pt idx="3387">
                  <c:v>4.0999999999999996</c:v>
                </c:pt>
                <c:pt idx="3388">
                  <c:v>4.1269999999999998</c:v>
                </c:pt>
                <c:pt idx="3389">
                  <c:v>4.1459999999999999</c:v>
                </c:pt>
                <c:pt idx="3390">
                  <c:v>4.117</c:v>
                </c:pt>
                <c:pt idx="3391">
                  <c:v>4.0999999999999996</c:v>
                </c:pt>
                <c:pt idx="3392">
                  <c:v>4.0510000000000002</c:v>
                </c:pt>
                <c:pt idx="3393">
                  <c:v>4.056</c:v>
                </c:pt>
                <c:pt idx="3394">
                  <c:v>4.0129999999999999</c:v>
                </c:pt>
                <c:pt idx="3395">
                  <c:v>4.0060000000000002</c:v>
                </c:pt>
                <c:pt idx="3396">
                  <c:v>4.0220000000000002</c:v>
                </c:pt>
                <c:pt idx="3397">
                  <c:v>4.0209999999999999</c:v>
                </c:pt>
                <c:pt idx="3398">
                  <c:v>4.0369999999999999</c:v>
                </c:pt>
                <c:pt idx="3399">
                  <c:v>4.1109999999999998</c:v>
                </c:pt>
                <c:pt idx="3400">
                  <c:v>4.0659999999999998</c:v>
                </c:pt>
                <c:pt idx="3401">
                  <c:v>4.1260000000000003</c:v>
                </c:pt>
                <c:pt idx="3402">
                  <c:v>4.0670000000000002</c:v>
                </c:pt>
                <c:pt idx="3403">
                  <c:v>4.0259999999999998</c:v>
                </c:pt>
                <c:pt idx="3404">
                  <c:v>4.0330000000000004</c:v>
                </c:pt>
                <c:pt idx="3405">
                  <c:v>4.0830000000000002</c:v>
                </c:pt>
                <c:pt idx="3406">
                  <c:v>4.1989999999999998</c:v>
                </c:pt>
                <c:pt idx="3407">
                  <c:v>4.2679999999999998</c:v>
                </c:pt>
                <c:pt idx="3408">
                  <c:v>4.24</c:v>
                </c:pt>
                <c:pt idx="3409">
                  <c:v>4.306</c:v>
                </c:pt>
                <c:pt idx="3410">
                  <c:v>4.282</c:v>
                </c:pt>
                <c:pt idx="3411">
                  <c:v>4.3049999999999997</c:v>
                </c:pt>
                <c:pt idx="3412">
                  <c:v>4.2889999999999997</c:v>
                </c:pt>
                <c:pt idx="3413">
                  <c:v>4.2850000000000001</c:v>
                </c:pt>
                <c:pt idx="3414">
                  <c:v>4.2839999999999998</c:v>
                </c:pt>
                <c:pt idx="3415">
                  <c:v>4.25</c:v>
                </c:pt>
                <c:pt idx="3416">
                  <c:v>4.3040000000000003</c:v>
                </c:pt>
                <c:pt idx="3417">
                  <c:v>4.3310000000000004</c:v>
                </c:pt>
                <c:pt idx="3418">
                  <c:v>4.3730000000000002</c:v>
                </c:pt>
                <c:pt idx="3419">
                  <c:v>4.3390000000000004</c:v>
                </c:pt>
                <c:pt idx="3420">
                  <c:v>4.3310000000000004</c:v>
                </c:pt>
                <c:pt idx="3421">
                  <c:v>4.21</c:v>
                </c:pt>
                <c:pt idx="3422">
                  <c:v>4.1929999999999996</c:v>
                </c:pt>
                <c:pt idx="3423">
                  <c:v>4.1349999999999998</c:v>
                </c:pt>
                <c:pt idx="3424">
                  <c:v>4.125</c:v>
                </c:pt>
                <c:pt idx="3425">
                  <c:v>4.1529999999999996</c:v>
                </c:pt>
                <c:pt idx="3426">
                  <c:v>4.0890000000000004</c:v>
                </c:pt>
                <c:pt idx="3427">
                  <c:v>4.0890000000000004</c:v>
                </c:pt>
                <c:pt idx="3428">
                  <c:v>4.0869999999999997</c:v>
                </c:pt>
                <c:pt idx="3429">
                  <c:v>4.0540000000000003</c:v>
                </c:pt>
                <c:pt idx="3430">
                  <c:v>4.024</c:v>
                </c:pt>
                <c:pt idx="3431">
                  <c:v>3.9780000000000002</c:v>
                </c:pt>
                <c:pt idx="3432">
                  <c:v>3.9750000000000001</c:v>
                </c:pt>
                <c:pt idx="3433">
                  <c:v>3.9740000000000002</c:v>
                </c:pt>
                <c:pt idx="3434">
                  <c:v>3.9119999999999999</c:v>
                </c:pt>
                <c:pt idx="3435">
                  <c:v>3.992</c:v>
                </c:pt>
                <c:pt idx="3436">
                  <c:v>3.8889999999999998</c:v>
                </c:pt>
                <c:pt idx="3437">
                  <c:v>3.9980000000000002</c:v>
                </c:pt>
                <c:pt idx="3438">
                  <c:v>3.9769999999999999</c:v>
                </c:pt>
                <c:pt idx="3439">
                  <c:v>3.948</c:v>
                </c:pt>
                <c:pt idx="3440">
                  <c:v>3.9940000000000002</c:v>
                </c:pt>
                <c:pt idx="3441">
                  <c:v>4.0179999999999998</c:v>
                </c:pt>
                <c:pt idx="3442">
                  <c:v>3.93</c:v>
                </c:pt>
                <c:pt idx="3443">
                  <c:v>3.919</c:v>
                </c:pt>
                <c:pt idx="3444">
                  <c:v>3.9319999999999999</c:v>
                </c:pt>
                <c:pt idx="3445">
                  <c:v>3.8460000000000001</c:v>
                </c:pt>
                <c:pt idx="3446">
                  <c:v>3.895</c:v>
                </c:pt>
                <c:pt idx="3447">
                  <c:v>3.8769999999999998</c:v>
                </c:pt>
                <c:pt idx="3448">
                  <c:v>3.8639999999999999</c:v>
                </c:pt>
                <c:pt idx="3449">
                  <c:v>3.859</c:v>
                </c:pt>
                <c:pt idx="3450">
                  <c:v>3.9449999999999998</c:v>
                </c:pt>
                <c:pt idx="3451">
                  <c:v>3.956</c:v>
                </c:pt>
                <c:pt idx="3452">
                  <c:v>4.0049999999999999</c:v>
                </c:pt>
                <c:pt idx="3453">
                  <c:v>3.9550000000000001</c:v>
                </c:pt>
                <c:pt idx="3454">
                  <c:v>4.0149999999999997</c:v>
                </c:pt>
                <c:pt idx="3455">
                  <c:v>3.9940000000000002</c:v>
                </c:pt>
                <c:pt idx="3456">
                  <c:v>4.0250000000000004</c:v>
                </c:pt>
                <c:pt idx="3457">
                  <c:v>4.0149999999999997</c:v>
                </c:pt>
                <c:pt idx="3458">
                  <c:v>4.0030000000000001</c:v>
                </c:pt>
                <c:pt idx="3459">
                  <c:v>4.0359999999999996</c:v>
                </c:pt>
                <c:pt idx="3460">
                  <c:v>4.0739999999999998</c:v>
                </c:pt>
                <c:pt idx="3461">
                  <c:v>4.0880000000000001</c:v>
                </c:pt>
                <c:pt idx="3462">
                  <c:v>4.0010000000000003</c:v>
                </c:pt>
                <c:pt idx="3463">
                  <c:v>3.891</c:v>
                </c:pt>
                <c:pt idx="3464">
                  <c:v>3.86</c:v>
                </c:pt>
                <c:pt idx="3465">
                  <c:v>3.806</c:v>
                </c:pt>
                <c:pt idx="3466">
                  <c:v>3.8610000000000002</c:v>
                </c:pt>
                <c:pt idx="3467">
                  <c:v>3.8090000000000002</c:v>
                </c:pt>
                <c:pt idx="3468">
                  <c:v>3.7879999999999998</c:v>
                </c:pt>
                <c:pt idx="3469">
                  <c:v>3.7309999999999999</c:v>
                </c:pt>
                <c:pt idx="3470">
                  <c:v>3.7890000000000001</c:v>
                </c:pt>
                <c:pt idx="3471">
                  <c:v>3.7709999999999999</c:v>
                </c:pt>
                <c:pt idx="3472">
                  <c:v>3.76</c:v>
                </c:pt>
                <c:pt idx="3473">
                  <c:v>3.7320000000000002</c:v>
                </c:pt>
                <c:pt idx="3474">
                  <c:v>3.6880000000000002</c:v>
                </c:pt>
                <c:pt idx="3475">
                  <c:v>3.7610000000000001</c:v>
                </c:pt>
                <c:pt idx="3476">
                  <c:v>3.7610000000000001</c:v>
                </c:pt>
                <c:pt idx="3477">
                  <c:v>3.7519999999999998</c:v>
                </c:pt>
                <c:pt idx="3478">
                  <c:v>3.883</c:v>
                </c:pt>
                <c:pt idx="3479">
                  <c:v>3.8759999999999999</c:v>
                </c:pt>
                <c:pt idx="3480">
                  <c:v>3.9239999999999999</c:v>
                </c:pt>
                <c:pt idx="3481">
                  <c:v>3.9380000000000002</c:v>
                </c:pt>
                <c:pt idx="3482">
                  <c:v>3.899</c:v>
                </c:pt>
                <c:pt idx="3483">
                  <c:v>3.9740000000000002</c:v>
                </c:pt>
                <c:pt idx="3484">
                  <c:v>3.9929999999999999</c:v>
                </c:pt>
                <c:pt idx="3485">
                  <c:v>3.9820000000000002</c:v>
                </c:pt>
                <c:pt idx="3486">
                  <c:v>3.9460000000000002</c:v>
                </c:pt>
                <c:pt idx="3487">
                  <c:v>4.0129999999999999</c:v>
                </c:pt>
                <c:pt idx="3488">
                  <c:v>4.0209999999999999</c:v>
                </c:pt>
                <c:pt idx="3489">
                  <c:v>4.0049999999999999</c:v>
                </c:pt>
                <c:pt idx="3490">
                  <c:v>3.9820000000000002</c:v>
                </c:pt>
                <c:pt idx="3491">
                  <c:v>3.91</c:v>
                </c:pt>
                <c:pt idx="3492">
                  <c:v>3.9079999999999999</c:v>
                </c:pt>
                <c:pt idx="3493">
                  <c:v>3.964</c:v>
                </c:pt>
                <c:pt idx="3494">
                  <c:v>4.0369999999999999</c:v>
                </c:pt>
                <c:pt idx="3495">
                  <c:v>4.0759999999999996</c:v>
                </c:pt>
                <c:pt idx="3496">
                  <c:v>4.133</c:v>
                </c:pt>
                <c:pt idx="3497">
                  <c:v>4.1150000000000002</c:v>
                </c:pt>
                <c:pt idx="3498">
                  <c:v>4.1479999999999997</c:v>
                </c:pt>
                <c:pt idx="3499">
                  <c:v>4.1459999999999999</c:v>
                </c:pt>
                <c:pt idx="3500">
                  <c:v>4.1820000000000004</c:v>
                </c:pt>
                <c:pt idx="3501">
                  <c:v>4.1779999999999999</c:v>
                </c:pt>
                <c:pt idx="3502">
                  <c:v>4.2009999999999996</c:v>
                </c:pt>
                <c:pt idx="3503">
                  <c:v>4.1379999999999999</c:v>
                </c:pt>
                <c:pt idx="3504">
                  <c:v>4.1230000000000002</c:v>
                </c:pt>
                <c:pt idx="3505">
                  <c:v>4.1980000000000004</c:v>
                </c:pt>
                <c:pt idx="3506">
                  <c:v>4.1580000000000004</c:v>
                </c:pt>
                <c:pt idx="3507">
                  <c:v>4.133</c:v>
                </c:pt>
                <c:pt idx="3508">
                  <c:v>4.1760000000000002</c:v>
                </c:pt>
                <c:pt idx="3509">
                  <c:v>4.0640000000000001</c:v>
                </c:pt>
                <c:pt idx="3510">
                  <c:v>3.9950000000000001</c:v>
                </c:pt>
                <c:pt idx="3511">
                  <c:v>4.0110000000000001</c:v>
                </c:pt>
                <c:pt idx="3512">
                  <c:v>4.0940000000000003</c:v>
                </c:pt>
                <c:pt idx="3513">
                  <c:v>4.1639999999999997</c:v>
                </c:pt>
                <c:pt idx="3514">
                  <c:v>4.21</c:v>
                </c:pt>
                <c:pt idx="3515">
                  <c:v>4.1769999999999996</c:v>
                </c:pt>
                <c:pt idx="3516">
                  <c:v>4.22</c:v>
                </c:pt>
                <c:pt idx="3517">
                  <c:v>4.1900000000000004</c:v>
                </c:pt>
                <c:pt idx="3518">
                  <c:v>4.2640000000000002</c:v>
                </c:pt>
                <c:pt idx="3519">
                  <c:v>4.298</c:v>
                </c:pt>
                <c:pt idx="3520">
                  <c:v>4.266</c:v>
                </c:pt>
                <c:pt idx="3521">
                  <c:v>4.2839999999999998</c:v>
                </c:pt>
                <c:pt idx="3522">
                  <c:v>4.306</c:v>
                </c:pt>
                <c:pt idx="3523">
                  <c:v>4.3470000000000004</c:v>
                </c:pt>
                <c:pt idx="3524">
                  <c:v>4.43</c:v>
                </c:pt>
                <c:pt idx="3525">
                  <c:v>4.4050000000000002</c:v>
                </c:pt>
                <c:pt idx="3526">
                  <c:v>4.3470000000000004</c:v>
                </c:pt>
                <c:pt idx="3527">
                  <c:v>4.4269999999999996</c:v>
                </c:pt>
                <c:pt idx="3528">
                  <c:v>4.3840000000000003</c:v>
                </c:pt>
                <c:pt idx="3529">
                  <c:v>4.4690000000000003</c:v>
                </c:pt>
                <c:pt idx="3530">
                  <c:v>4.4029999999999996</c:v>
                </c:pt>
                <c:pt idx="3531">
                  <c:v>4.4660000000000002</c:v>
                </c:pt>
                <c:pt idx="3532">
                  <c:v>4.4980000000000002</c:v>
                </c:pt>
                <c:pt idx="3533">
                  <c:v>4.5259999999999998</c:v>
                </c:pt>
                <c:pt idx="3534">
                  <c:v>4.57</c:v>
                </c:pt>
                <c:pt idx="3535">
                  <c:v>4.617</c:v>
                </c:pt>
                <c:pt idx="3536">
                  <c:v>4.6130000000000004</c:v>
                </c:pt>
                <c:pt idx="3537">
                  <c:v>4.59</c:v>
                </c:pt>
                <c:pt idx="3538">
                  <c:v>4.5940000000000003</c:v>
                </c:pt>
                <c:pt idx="3539">
                  <c:v>4.66</c:v>
                </c:pt>
                <c:pt idx="3540">
                  <c:v>4.6070000000000002</c:v>
                </c:pt>
                <c:pt idx="3541">
                  <c:v>4.5990000000000002</c:v>
                </c:pt>
                <c:pt idx="3542">
                  <c:v>4.6020000000000003</c:v>
                </c:pt>
                <c:pt idx="3543">
                  <c:v>4.6130000000000004</c:v>
                </c:pt>
                <c:pt idx="3544">
                  <c:v>4.516</c:v>
                </c:pt>
                <c:pt idx="3545">
                  <c:v>4.5229999999999997</c:v>
                </c:pt>
                <c:pt idx="3546">
                  <c:v>4.6210000000000004</c:v>
                </c:pt>
                <c:pt idx="3547">
                  <c:v>4.6070000000000002</c:v>
                </c:pt>
                <c:pt idx="3548">
                  <c:v>4.6529999999999996</c:v>
                </c:pt>
                <c:pt idx="3549">
                  <c:v>4.556</c:v>
                </c:pt>
                <c:pt idx="3550">
                  <c:v>4.4950000000000001</c:v>
                </c:pt>
                <c:pt idx="3551">
                  <c:v>4.4269999999999996</c:v>
                </c:pt>
                <c:pt idx="3552">
                  <c:v>4.4130000000000003</c:v>
                </c:pt>
                <c:pt idx="3553">
                  <c:v>4.4130000000000003</c:v>
                </c:pt>
                <c:pt idx="3554">
                  <c:v>4.4000000000000004</c:v>
                </c:pt>
                <c:pt idx="3555">
                  <c:v>4.4269999999999996</c:v>
                </c:pt>
                <c:pt idx="3556">
                  <c:v>4.3979999999999997</c:v>
                </c:pt>
                <c:pt idx="3557">
                  <c:v>4.3849999999999998</c:v>
                </c:pt>
                <c:pt idx="3558">
                  <c:v>4.3920000000000003</c:v>
                </c:pt>
                <c:pt idx="3559">
                  <c:v>4.4429999999999996</c:v>
                </c:pt>
                <c:pt idx="3560">
                  <c:v>4.5709999999999997</c:v>
                </c:pt>
                <c:pt idx="3561">
                  <c:v>4.6349999999999998</c:v>
                </c:pt>
                <c:pt idx="3562">
                  <c:v>4.641</c:v>
                </c:pt>
                <c:pt idx="3563">
                  <c:v>4.6619999999999999</c:v>
                </c:pt>
                <c:pt idx="3564">
                  <c:v>4.5659999999999998</c:v>
                </c:pt>
                <c:pt idx="3565">
                  <c:v>4.6040000000000001</c:v>
                </c:pt>
                <c:pt idx="3566">
                  <c:v>4.5250000000000004</c:v>
                </c:pt>
                <c:pt idx="3567">
                  <c:v>4.4770000000000003</c:v>
                </c:pt>
                <c:pt idx="3568">
                  <c:v>4.4160000000000004</c:v>
                </c:pt>
                <c:pt idx="3569">
                  <c:v>4.3550000000000004</c:v>
                </c:pt>
                <c:pt idx="3570">
                  <c:v>4.3490000000000002</c:v>
                </c:pt>
                <c:pt idx="3571">
                  <c:v>4.3339999999999996</c:v>
                </c:pt>
                <c:pt idx="3572">
                  <c:v>4.3099999999999996</c:v>
                </c:pt>
                <c:pt idx="3573">
                  <c:v>4.3410000000000002</c:v>
                </c:pt>
                <c:pt idx="3574">
                  <c:v>4.2619999999999996</c:v>
                </c:pt>
                <c:pt idx="3575">
                  <c:v>4.2610000000000001</c:v>
                </c:pt>
                <c:pt idx="3576">
                  <c:v>4.2729999999999997</c:v>
                </c:pt>
                <c:pt idx="3577">
                  <c:v>4.2300000000000004</c:v>
                </c:pt>
                <c:pt idx="3578">
                  <c:v>4.2060000000000004</c:v>
                </c:pt>
                <c:pt idx="3579">
                  <c:v>4.2030000000000003</c:v>
                </c:pt>
                <c:pt idx="3580">
                  <c:v>4.165</c:v>
                </c:pt>
                <c:pt idx="3581">
                  <c:v>4.1429999999999998</c:v>
                </c:pt>
                <c:pt idx="3582">
                  <c:v>4.165</c:v>
                </c:pt>
                <c:pt idx="3583">
                  <c:v>4.1230000000000002</c:v>
                </c:pt>
                <c:pt idx="3584">
                  <c:v>4.1749999999999998</c:v>
                </c:pt>
                <c:pt idx="3585">
                  <c:v>4.2190000000000003</c:v>
                </c:pt>
                <c:pt idx="3586">
                  <c:v>4.1210000000000004</c:v>
                </c:pt>
                <c:pt idx="3587">
                  <c:v>4.1139999999999999</c:v>
                </c:pt>
                <c:pt idx="3588">
                  <c:v>4.1740000000000004</c:v>
                </c:pt>
                <c:pt idx="3589">
                  <c:v>4.1790000000000003</c:v>
                </c:pt>
                <c:pt idx="3590">
                  <c:v>4.1760000000000002</c:v>
                </c:pt>
                <c:pt idx="3591">
                  <c:v>4.1260000000000003</c:v>
                </c:pt>
                <c:pt idx="3592">
                  <c:v>4.141</c:v>
                </c:pt>
                <c:pt idx="3593">
                  <c:v>4.1399999999999997</c:v>
                </c:pt>
                <c:pt idx="3594">
                  <c:v>4.07</c:v>
                </c:pt>
                <c:pt idx="3595">
                  <c:v>4.0010000000000003</c:v>
                </c:pt>
                <c:pt idx="3596">
                  <c:v>4.0640000000000001</c:v>
                </c:pt>
                <c:pt idx="3597">
                  <c:v>4.0430000000000001</c:v>
                </c:pt>
                <c:pt idx="3598">
                  <c:v>4.0659999999999998</c:v>
                </c:pt>
                <c:pt idx="3599">
                  <c:v>4.0810000000000004</c:v>
                </c:pt>
                <c:pt idx="3600">
                  <c:v>4.1849999999999996</c:v>
                </c:pt>
                <c:pt idx="3601">
                  <c:v>4.0510000000000002</c:v>
                </c:pt>
                <c:pt idx="3602">
                  <c:v>3.996</c:v>
                </c:pt>
                <c:pt idx="3603">
                  <c:v>4.016</c:v>
                </c:pt>
                <c:pt idx="3604">
                  <c:v>4.0359999999999996</c:v>
                </c:pt>
                <c:pt idx="3605">
                  <c:v>4.2080000000000002</c:v>
                </c:pt>
                <c:pt idx="3606">
                  <c:v>4.2569999999999997</c:v>
                </c:pt>
                <c:pt idx="3607">
                  <c:v>4.2409999999999997</c:v>
                </c:pt>
                <c:pt idx="3608">
                  <c:v>4.1639999999999997</c:v>
                </c:pt>
                <c:pt idx="3609">
                  <c:v>4.2300000000000004</c:v>
                </c:pt>
                <c:pt idx="3610">
                  <c:v>4.1639999999999997</c:v>
                </c:pt>
                <c:pt idx="3611">
                  <c:v>3.972</c:v>
                </c:pt>
                <c:pt idx="3612">
                  <c:v>4.0149999999999997</c:v>
                </c:pt>
                <c:pt idx="3613">
                  <c:v>3.9950000000000001</c:v>
                </c:pt>
                <c:pt idx="3614">
                  <c:v>3.931</c:v>
                </c:pt>
                <c:pt idx="3615">
                  <c:v>3.9239999999999999</c:v>
                </c:pt>
                <c:pt idx="3616">
                  <c:v>3.7530000000000001</c:v>
                </c:pt>
                <c:pt idx="3617">
                  <c:v>3.7519999999999998</c:v>
                </c:pt>
                <c:pt idx="3618">
                  <c:v>3.8029999999999999</c:v>
                </c:pt>
                <c:pt idx="3619">
                  <c:v>3.8769999999999998</c:v>
                </c:pt>
                <c:pt idx="3620">
                  <c:v>3.996</c:v>
                </c:pt>
                <c:pt idx="3621">
                  <c:v>4.0739999999999998</c:v>
                </c:pt>
                <c:pt idx="3622">
                  <c:v>4.1159999999999997</c:v>
                </c:pt>
                <c:pt idx="3623">
                  <c:v>4.1230000000000002</c:v>
                </c:pt>
                <c:pt idx="3624">
                  <c:v>4.069</c:v>
                </c:pt>
                <c:pt idx="3625">
                  <c:v>4.0140000000000002</c:v>
                </c:pt>
                <c:pt idx="3626">
                  <c:v>4.0110000000000001</c:v>
                </c:pt>
                <c:pt idx="3627">
                  <c:v>3.94</c:v>
                </c:pt>
                <c:pt idx="3628">
                  <c:v>3.8069999999999999</c:v>
                </c:pt>
                <c:pt idx="3629">
                  <c:v>3.7789999999999999</c:v>
                </c:pt>
                <c:pt idx="3630">
                  <c:v>3.7509999999999999</c:v>
                </c:pt>
                <c:pt idx="3631">
                  <c:v>3.76</c:v>
                </c:pt>
                <c:pt idx="3632">
                  <c:v>3.7519999999999998</c:v>
                </c:pt>
                <c:pt idx="3633">
                  <c:v>3.7869999999999999</c:v>
                </c:pt>
                <c:pt idx="3634">
                  <c:v>3.7709999999999999</c:v>
                </c:pt>
                <c:pt idx="3635">
                  <c:v>3.9</c:v>
                </c:pt>
                <c:pt idx="3636">
                  <c:v>3.831</c:v>
                </c:pt>
                <c:pt idx="3637">
                  <c:v>3.8039999999999998</c:v>
                </c:pt>
                <c:pt idx="3638">
                  <c:v>3.7669999999999999</c:v>
                </c:pt>
                <c:pt idx="3639">
                  <c:v>3.7040000000000002</c:v>
                </c:pt>
                <c:pt idx="3640">
                  <c:v>3.681</c:v>
                </c:pt>
                <c:pt idx="3641">
                  <c:v>3.6829999999999998</c:v>
                </c:pt>
                <c:pt idx="3642">
                  <c:v>3.6709999999999998</c:v>
                </c:pt>
                <c:pt idx="3643">
                  <c:v>3.6309999999999998</c:v>
                </c:pt>
                <c:pt idx="3644">
                  <c:v>3.64</c:v>
                </c:pt>
                <c:pt idx="3645">
                  <c:v>3.673</c:v>
                </c:pt>
                <c:pt idx="3646">
                  <c:v>3.661</c:v>
                </c:pt>
                <c:pt idx="3647">
                  <c:v>3.6459999999999999</c:v>
                </c:pt>
                <c:pt idx="3648">
                  <c:v>3.5419999999999998</c:v>
                </c:pt>
                <c:pt idx="3649">
                  <c:v>3.4009999999999998</c:v>
                </c:pt>
                <c:pt idx="3650">
                  <c:v>3.39</c:v>
                </c:pt>
                <c:pt idx="3651">
                  <c:v>3.4260000000000002</c:v>
                </c:pt>
                <c:pt idx="3652">
                  <c:v>3.35</c:v>
                </c:pt>
                <c:pt idx="3653">
                  <c:v>3.2839999999999998</c:v>
                </c:pt>
                <c:pt idx="3654">
                  <c:v>3.294</c:v>
                </c:pt>
                <c:pt idx="3655">
                  <c:v>3.258</c:v>
                </c:pt>
                <c:pt idx="3656">
                  <c:v>3.1640000000000001</c:v>
                </c:pt>
                <c:pt idx="3657">
                  <c:v>3.048</c:v>
                </c:pt>
                <c:pt idx="3658">
                  <c:v>3.036</c:v>
                </c:pt>
                <c:pt idx="3659">
                  <c:v>3.0960000000000001</c:v>
                </c:pt>
                <c:pt idx="3660">
                  <c:v>3.0289999999999999</c:v>
                </c:pt>
                <c:pt idx="3661">
                  <c:v>3.1549999999999998</c:v>
                </c:pt>
                <c:pt idx="3662">
                  <c:v>3.2330000000000001</c:v>
                </c:pt>
                <c:pt idx="3663">
                  <c:v>3.2080000000000002</c:v>
                </c:pt>
                <c:pt idx="3664">
                  <c:v>3.2149999999999999</c:v>
                </c:pt>
                <c:pt idx="3665">
                  <c:v>3.2970000000000002</c:v>
                </c:pt>
                <c:pt idx="3666">
                  <c:v>3.1970000000000001</c:v>
                </c:pt>
                <c:pt idx="3667">
                  <c:v>3.1349999999999998</c:v>
                </c:pt>
                <c:pt idx="3668">
                  <c:v>2.9870000000000001</c:v>
                </c:pt>
                <c:pt idx="3669">
                  <c:v>2.9740000000000002</c:v>
                </c:pt>
                <c:pt idx="3670">
                  <c:v>3.0019999999999998</c:v>
                </c:pt>
                <c:pt idx="3671">
                  <c:v>2.9369999999999998</c:v>
                </c:pt>
                <c:pt idx="3672">
                  <c:v>2.9449999999999998</c:v>
                </c:pt>
                <c:pt idx="3673">
                  <c:v>2.9420000000000002</c:v>
                </c:pt>
                <c:pt idx="3674">
                  <c:v>2.9089999999999998</c:v>
                </c:pt>
                <c:pt idx="3675">
                  <c:v>2.9489999999999998</c:v>
                </c:pt>
                <c:pt idx="3676">
                  <c:v>2.9510000000000001</c:v>
                </c:pt>
                <c:pt idx="3677">
                  <c:v>2.9569999999999999</c:v>
                </c:pt>
                <c:pt idx="3678">
                  <c:v>3.0129999999999999</c:v>
                </c:pt>
                <c:pt idx="3679">
                  <c:v>3.153</c:v>
                </c:pt>
                <c:pt idx="3680">
                  <c:v>3.198</c:v>
                </c:pt>
                <c:pt idx="3681">
                  <c:v>3.1269999999999998</c:v>
                </c:pt>
                <c:pt idx="3682">
                  <c:v>3.0169999999999999</c:v>
                </c:pt>
                <c:pt idx="3683">
                  <c:v>2.9860000000000002</c:v>
                </c:pt>
                <c:pt idx="3684">
                  <c:v>2.9910000000000001</c:v>
                </c:pt>
                <c:pt idx="3685">
                  <c:v>2.9340000000000002</c:v>
                </c:pt>
                <c:pt idx="3686">
                  <c:v>2.89</c:v>
                </c:pt>
                <c:pt idx="3687">
                  <c:v>2.93</c:v>
                </c:pt>
                <c:pt idx="3688">
                  <c:v>2.996</c:v>
                </c:pt>
                <c:pt idx="3689">
                  <c:v>3.0190000000000001</c:v>
                </c:pt>
                <c:pt idx="3690">
                  <c:v>2.9990000000000001</c:v>
                </c:pt>
                <c:pt idx="3691">
                  <c:v>3.1080000000000001</c:v>
                </c:pt>
                <c:pt idx="3692">
                  <c:v>3.2370000000000001</c:v>
                </c:pt>
                <c:pt idx="3693">
                  <c:v>3.327</c:v>
                </c:pt>
                <c:pt idx="3694">
                  <c:v>3.26</c:v>
                </c:pt>
                <c:pt idx="3695">
                  <c:v>3.2330000000000001</c:v>
                </c:pt>
                <c:pt idx="3696">
                  <c:v>3.2589999999999999</c:v>
                </c:pt>
                <c:pt idx="3697">
                  <c:v>3.2959999999999998</c:v>
                </c:pt>
                <c:pt idx="3698">
                  <c:v>3.2839999999999998</c:v>
                </c:pt>
                <c:pt idx="3699">
                  <c:v>3.335</c:v>
                </c:pt>
                <c:pt idx="3700">
                  <c:v>3.363</c:v>
                </c:pt>
                <c:pt idx="3701">
                  <c:v>3.339</c:v>
                </c:pt>
                <c:pt idx="3702">
                  <c:v>3.371</c:v>
                </c:pt>
                <c:pt idx="3703">
                  <c:v>3.403</c:v>
                </c:pt>
                <c:pt idx="3704">
                  <c:v>3.343</c:v>
                </c:pt>
                <c:pt idx="3705">
                  <c:v>3.1890000000000001</c:v>
                </c:pt>
                <c:pt idx="3706">
                  <c:v>3.0830000000000002</c:v>
                </c:pt>
                <c:pt idx="3707">
                  <c:v>3.1070000000000002</c:v>
                </c:pt>
                <c:pt idx="3708">
                  <c:v>3.0369999999999999</c:v>
                </c:pt>
                <c:pt idx="3709">
                  <c:v>2.9750000000000001</c:v>
                </c:pt>
                <c:pt idx="3710">
                  <c:v>2.9940000000000002</c:v>
                </c:pt>
                <c:pt idx="3711">
                  <c:v>3.08</c:v>
                </c:pt>
                <c:pt idx="3712">
                  <c:v>3.0139999999999998</c:v>
                </c:pt>
                <c:pt idx="3713">
                  <c:v>3.0139999999999998</c:v>
                </c:pt>
                <c:pt idx="3714">
                  <c:v>2.988</c:v>
                </c:pt>
                <c:pt idx="3715">
                  <c:v>2.9929999999999999</c:v>
                </c:pt>
                <c:pt idx="3716">
                  <c:v>3.1280000000000001</c:v>
                </c:pt>
                <c:pt idx="3717">
                  <c:v>3.1120000000000001</c:v>
                </c:pt>
                <c:pt idx="3718">
                  <c:v>3.03</c:v>
                </c:pt>
                <c:pt idx="3719">
                  <c:v>3.048</c:v>
                </c:pt>
                <c:pt idx="3720">
                  <c:v>3.1360000000000001</c:v>
                </c:pt>
                <c:pt idx="3721">
                  <c:v>3.0169999999999999</c:v>
                </c:pt>
                <c:pt idx="3722">
                  <c:v>2.9249999999999998</c:v>
                </c:pt>
                <c:pt idx="3723">
                  <c:v>2.9359999999999999</c:v>
                </c:pt>
                <c:pt idx="3724">
                  <c:v>3</c:v>
                </c:pt>
                <c:pt idx="3725">
                  <c:v>3.07</c:v>
                </c:pt>
                <c:pt idx="3726">
                  <c:v>3.0070000000000001</c:v>
                </c:pt>
                <c:pt idx="3727">
                  <c:v>3.0590000000000002</c:v>
                </c:pt>
                <c:pt idx="3728">
                  <c:v>3.145</c:v>
                </c:pt>
                <c:pt idx="3729">
                  <c:v>3.1909999999999998</c:v>
                </c:pt>
                <c:pt idx="3730">
                  <c:v>3.2210000000000001</c:v>
                </c:pt>
                <c:pt idx="3731">
                  <c:v>3.0449999999999999</c:v>
                </c:pt>
                <c:pt idx="3732">
                  <c:v>2.9740000000000002</c:v>
                </c:pt>
                <c:pt idx="3733">
                  <c:v>3.0190000000000001</c:v>
                </c:pt>
                <c:pt idx="3734">
                  <c:v>3.149</c:v>
                </c:pt>
                <c:pt idx="3735">
                  <c:v>3.1459999999999999</c:v>
                </c:pt>
                <c:pt idx="3736">
                  <c:v>3.13</c:v>
                </c:pt>
                <c:pt idx="3737">
                  <c:v>3.0859999999999999</c:v>
                </c:pt>
                <c:pt idx="3738">
                  <c:v>3.0259999999999998</c:v>
                </c:pt>
                <c:pt idx="3739">
                  <c:v>2.9940000000000002</c:v>
                </c:pt>
                <c:pt idx="3740">
                  <c:v>2.9940000000000002</c:v>
                </c:pt>
                <c:pt idx="3741">
                  <c:v>3.16</c:v>
                </c:pt>
                <c:pt idx="3742">
                  <c:v>3.2210000000000001</c:v>
                </c:pt>
                <c:pt idx="3743">
                  <c:v>3.218</c:v>
                </c:pt>
                <c:pt idx="3744">
                  <c:v>3.2170000000000001</c:v>
                </c:pt>
                <c:pt idx="3745">
                  <c:v>3.214</c:v>
                </c:pt>
                <c:pt idx="3746">
                  <c:v>3.2570000000000001</c:v>
                </c:pt>
                <c:pt idx="3747">
                  <c:v>3.1989999999999998</c:v>
                </c:pt>
                <c:pt idx="3748">
                  <c:v>3.1419999999999999</c:v>
                </c:pt>
                <c:pt idx="3749">
                  <c:v>3.1760000000000002</c:v>
                </c:pt>
                <c:pt idx="3750">
                  <c:v>3.27</c:v>
                </c:pt>
                <c:pt idx="3751">
                  <c:v>3.149</c:v>
                </c:pt>
                <c:pt idx="3752">
                  <c:v>3.14</c:v>
                </c:pt>
                <c:pt idx="3753">
                  <c:v>3.2090000000000001</c:v>
                </c:pt>
                <c:pt idx="3754">
                  <c:v>3.222</c:v>
                </c:pt>
                <c:pt idx="3755">
                  <c:v>3.1909999999999998</c:v>
                </c:pt>
                <c:pt idx="3756">
                  <c:v>3.161</c:v>
                </c:pt>
                <c:pt idx="3757">
                  <c:v>3.141</c:v>
                </c:pt>
                <c:pt idx="3758">
                  <c:v>3.1309999999999998</c:v>
                </c:pt>
                <c:pt idx="3759">
                  <c:v>3.1779999999999999</c:v>
                </c:pt>
                <c:pt idx="3760">
                  <c:v>3.2429999999999999</c:v>
                </c:pt>
                <c:pt idx="3761">
                  <c:v>3.2109999999999999</c:v>
                </c:pt>
                <c:pt idx="3762">
                  <c:v>3.24</c:v>
                </c:pt>
                <c:pt idx="3763">
                  <c:v>3.38</c:v>
                </c:pt>
                <c:pt idx="3764">
                  <c:v>3.4470000000000001</c:v>
                </c:pt>
                <c:pt idx="3765">
                  <c:v>3.3879999999999999</c:v>
                </c:pt>
                <c:pt idx="3766">
                  <c:v>3.407</c:v>
                </c:pt>
                <c:pt idx="3767">
                  <c:v>3.343</c:v>
                </c:pt>
                <c:pt idx="3768">
                  <c:v>3.3050000000000002</c:v>
                </c:pt>
                <c:pt idx="3769">
                  <c:v>3.3650000000000002</c:v>
                </c:pt>
                <c:pt idx="3770">
                  <c:v>3.3580000000000001</c:v>
                </c:pt>
                <c:pt idx="3771">
                  <c:v>3.4380000000000002</c:v>
                </c:pt>
                <c:pt idx="3772">
                  <c:v>3.4329999999999998</c:v>
                </c:pt>
                <c:pt idx="3773">
                  <c:v>3.37</c:v>
                </c:pt>
                <c:pt idx="3774">
                  <c:v>3.4630000000000001</c:v>
                </c:pt>
                <c:pt idx="3775">
                  <c:v>3.6040000000000001</c:v>
                </c:pt>
                <c:pt idx="3776">
                  <c:v>3.621</c:v>
                </c:pt>
                <c:pt idx="3777">
                  <c:v>3.6259999999999999</c:v>
                </c:pt>
                <c:pt idx="3778">
                  <c:v>3.66</c:v>
                </c:pt>
                <c:pt idx="3779">
                  <c:v>3.589</c:v>
                </c:pt>
                <c:pt idx="3780">
                  <c:v>3.669</c:v>
                </c:pt>
                <c:pt idx="3781">
                  <c:v>3.6589999999999998</c:v>
                </c:pt>
                <c:pt idx="3782">
                  <c:v>3.573</c:v>
                </c:pt>
                <c:pt idx="3783">
                  <c:v>3.6379999999999999</c:v>
                </c:pt>
                <c:pt idx="3784">
                  <c:v>3.722</c:v>
                </c:pt>
                <c:pt idx="3785">
                  <c:v>3.6760000000000002</c:v>
                </c:pt>
                <c:pt idx="3786">
                  <c:v>3.6360000000000001</c:v>
                </c:pt>
                <c:pt idx="3787">
                  <c:v>3.6880000000000002</c:v>
                </c:pt>
                <c:pt idx="3788">
                  <c:v>3.698</c:v>
                </c:pt>
                <c:pt idx="3789">
                  <c:v>3.6339999999999999</c:v>
                </c:pt>
                <c:pt idx="3790">
                  <c:v>3.5219999999999998</c:v>
                </c:pt>
                <c:pt idx="3791">
                  <c:v>3.5249999999999999</c:v>
                </c:pt>
                <c:pt idx="3792">
                  <c:v>3.4809999999999999</c:v>
                </c:pt>
                <c:pt idx="3793">
                  <c:v>3.5470000000000002</c:v>
                </c:pt>
                <c:pt idx="3794">
                  <c:v>3.5019999999999998</c:v>
                </c:pt>
                <c:pt idx="3795">
                  <c:v>3.45</c:v>
                </c:pt>
                <c:pt idx="3796">
                  <c:v>3.4630000000000001</c:v>
                </c:pt>
                <c:pt idx="3797">
                  <c:v>3.45</c:v>
                </c:pt>
                <c:pt idx="3798">
                  <c:v>3.4260000000000002</c:v>
                </c:pt>
                <c:pt idx="3799">
                  <c:v>3.391</c:v>
                </c:pt>
                <c:pt idx="3800">
                  <c:v>3.3690000000000002</c:v>
                </c:pt>
                <c:pt idx="3801">
                  <c:v>3.3860000000000001</c:v>
                </c:pt>
                <c:pt idx="3802">
                  <c:v>3.4140000000000001</c:v>
                </c:pt>
                <c:pt idx="3803">
                  <c:v>3.3279999999999998</c:v>
                </c:pt>
                <c:pt idx="3804">
                  <c:v>3.34</c:v>
                </c:pt>
                <c:pt idx="3805">
                  <c:v>3.3</c:v>
                </c:pt>
                <c:pt idx="3806">
                  <c:v>3.3180000000000001</c:v>
                </c:pt>
                <c:pt idx="3807">
                  <c:v>3.2770000000000001</c:v>
                </c:pt>
                <c:pt idx="3808">
                  <c:v>3.2989999999999999</c:v>
                </c:pt>
                <c:pt idx="3809">
                  <c:v>3.2589999999999999</c:v>
                </c:pt>
                <c:pt idx="3810">
                  <c:v>3.266</c:v>
                </c:pt>
                <c:pt idx="3811">
                  <c:v>3.3039999999999998</c:v>
                </c:pt>
                <c:pt idx="3812">
                  <c:v>3.367</c:v>
                </c:pt>
                <c:pt idx="3813">
                  <c:v>3.3159999999999998</c:v>
                </c:pt>
                <c:pt idx="3814">
                  <c:v>3.4</c:v>
                </c:pt>
                <c:pt idx="3815">
                  <c:v>3.4169999999999998</c:v>
                </c:pt>
                <c:pt idx="3816">
                  <c:v>3.3540000000000001</c:v>
                </c:pt>
                <c:pt idx="3817">
                  <c:v>3.38</c:v>
                </c:pt>
                <c:pt idx="3818">
                  <c:v>3.4590000000000001</c:v>
                </c:pt>
                <c:pt idx="3819">
                  <c:v>3.4769999999999999</c:v>
                </c:pt>
                <c:pt idx="3820">
                  <c:v>3.4870000000000001</c:v>
                </c:pt>
                <c:pt idx="3821">
                  <c:v>3.427</c:v>
                </c:pt>
                <c:pt idx="3822">
                  <c:v>3.4180000000000001</c:v>
                </c:pt>
                <c:pt idx="3823">
                  <c:v>3.43</c:v>
                </c:pt>
                <c:pt idx="3824">
                  <c:v>3.3</c:v>
                </c:pt>
                <c:pt idx="3825">
                  <c:v>3.3439999999999999</c:v>
                </c:pt>
                <c:pt idx="3826">
                  <c:v>3.3460000000000001</c:v>
                </c:pt>
                <c:pt idx="3827">
                  <c:v>3.339</c:v>
                </c:pt>
                <c:pt idx="3828">
                  <c:v>3.3740000000000001</c:v>
                </c:pt>
                <c:pt idx="3829">
                  <c:v>3.51</c:v>
                </c:pt>
                <c:pt idx="3830">
                  <c:v>3.4830000000000001</c:v>
                </c:pt>
                <c:pt idx="3831">
                  <c:v>3.4729999999999999</c:v>
                </c:pt>
                <c:pt idx="3832">
                  <c:v>3.456</c:v>
                </c:pt>
                <c:pt idx="3833">
                  <c:v>3.4239999999999999</c:v>
                </c:pt>
                <c:pt idx="3834">
                  <c:v>3.3170000000000002</c:v>
                </c:pt>
                <c:pt idx="3835">
                  <c:v>3.2839999999999998</c:v>
                </c:pt>
                <c:pt idx="3836">
                  <c:v>3.2949999999999999</c:v>
                </c:pt>
                <c:pt idx="3837">
                  <c:v>3.2490000000000001</c:v>
                </c:pt>
                <c:pt idx="3838">
                  <c:v>3.2549999999999999</c:v>
                </c:pt>
                <c:pt idx="3839">
                  <c:v>3.3119999999999998</c:v>
                </c:pt>
                <c:pt idx="3840">
                  <c:v>3.3050000000000002</c:v>
                </c:pt>
                <c:pt idx="3841">
                  <c:v>3.2690000000000001</c:v>
                </c:pt>
                <c:pt idx="3842">
                  <c:v>3.2349999999999999</c:v>
                </c:pt>
                <c:pt idx="3843">
                  <c:v>3.2450000000000001</c:v>
                </c:pt>
                <c:pt idx="3844">
                  <c:v>3.25</c:v>
                </c:pt>
                <c:pt idx="3845">
                  <c:v>3.2570000000000001</c:v>
                </c:pt>
                <c:pt idx="3846">
                  <c:v>3.2349999999999999</c:v>
                </c:pt>
                <c:pt idx="3847">
                  <c:v>3.2309999999999999</c:v>
                </c:pt>
                <c:pt idx="3848">
                  <c:v>3.2429999999999999</c:v>
                </c:pt>
                <c:pt idx="3849">
                  <c:v>3.242</c:v>
                </c:pt>
                <c:pt idx="3850">
                  <c:v>3.2320000000000002</c:v>
                </c:pt>
                <c:pt idx="3851">
                  <c:v>3.274</c:v>
                </c:pt>
                <c:pt idx="3852">
                  <c:v>3.3620000000000001</c:v>
                </c:pt>
                <c:pt idx="3853">
                  <c:v>3.3039999999999998</c:v>
                </c:pt>
                <c:pt idx="3854">
                  <c:v>3.2360000000000002</c:v>
                </c:pt>
                <c:pt idx="3855">
                  <c:v>3.2570000000000001</c:v>
                </c:pt>
                <c:pt idx="3856">
                  <c:v>3.2919999999999998</c:v>
                </c:pt>
                <c:pt idx="3857">
                  <c:v>3.3370000000000002</c:v>
                </c:pt>
                <c:pt idx="3858">
                  <c:v>3.3650000000000002</c:v>
                </c:pt>
                <c:pt idx="3859">
                  <c:v>3.3759999999999999</c:v>
                </c:pt>
                <c:pt idx="3860">
                  <c:v>3.379</c:v>
                </c:pt>
                <c:pt idx="3861">
                  <c:v>3.395</c:v>
                </c:pt>
                <c:pt idx="3862">
                  <c:v>3.3730000000000002</c:v>
                </c:pt>
                <c:pt idx="3863">
                  <c:v>3.3050000000000002</c:v>
                </c:pt>
                <c:pt idx="3864">
                  <c:v>3.2559999999999998</c:v>
                </c:pt>
                <c:pt idx="3865">
                  <c:v>3.254</c:v>
                </c:pt>
                <c:pt idx="3866">
                  <c:v>3.2229999999999999</c:v>
                </c:pt>
                <c:pt idx="3867">
                  <c:v>3.22</c:v>
                </c:pt>
                <c:pt idx="3868">
                  <c:v>3.157</c:v>
                </c:pt>
                <c:pt idx="3869">
                  <c:v>3.1219999999999999</c:v>
                </c:pt>
                <c:pt idx="3870">
                  <c:v>3.1240000000000001</c:v>
                </c:pt>
                <c:pt idx="3871">
                  <c:v>3.1579999999999999</c:v>
                </c:pt>
                <c:pt idx="3872">
                  <c:v>3.1179999999999999</c:v>
                </c:pt>
                <c:pt idx="3873">
                  <c:v>3.1150000000000002</c:v>
                </c:pt>
                <c:pt idx="3874">
                  <c:v>3.2040000000000002</c:v>
                </c:pt>
                <c:pt idx="3875">
                  <c:v>3.1819999999999999</c:v>
                </c:pt>
                <c:pt idx="3876">
                  <c:v>3.1640000000000001</c:v>
                </c:pt>
                <c:pt idx="3877">
                  <c:v>3.2269999999999999</c:v>
                </c:pt>
                <c:pt idx="3878">
                  <c:v>3.2970000000000002</c:v>
                </c:pt>
                <c:pt idx="3879">
                  <c:v>3.286</c:v>
                </c:pt>
                <c:pt idx="3880">
                  <c:v>3.3010000000000002</c:v>
                </c:pt>
                <c:pt idx="3881">
                  <c:v>3.2349999999999999</c:v>
                </c:pt>
                <c:pt idx="3882">
                  <c:v>3.3170000000000002</c:v>
                </c:pt>
                <c:pt idx="3883">
                  <c:v>3.3050000000000002</c:v>
                </c:pt>
                <c:pt idx="3884">
                  <c:v>3.3479999999999999</c:v>
                </c:pt>
                <c:pt idx="3885">
                  <c:v>3.3540000000000001</c:v>
                </c:pt>
                <c:pt idx="3886">
                  <c:v>3.2690000000000001</c:v>
                </c:pt>
                <c:pt idx="3887">
                  <c:v>3.2530000000000001</c:v>
                </c:pt>
                <c:pt idx="3888">
                  <c:v>3.3239999999999998</c:v>
                </c:pt>
                <c:pt idx="3889">
                  <c:v>3.2309999999999999</c:v>
                </c:pt>
                <c:pt idx="3890">
                  <c:v>3.2370000000000001</c:v>
                </c:pt>
                <c:pt idx="3891">
                  <c:v>3.2629999999999999</c:v>
                </c:pt>
                <c:pt idx="3892">
                  <c:v>3.3180000000000001</c:v>
                </c:pt>
                <c:pt idx="3893">
                  <c:v>3.3439999999999999</c:v>
                </c:pt>
                <c:pt idx="3894">
                  <c:v>3.3639999999999999</c:v>
                </c:pt>
                <c:pt idx="3895">
                  <c:v>3.3180000000000001</c:v>
                </c:pt>
                <c:pt idx="3896">
                  <c:v>3.28</c:v>
                </c:pt>
                <c:pt idx="3897">
                  <c:v>3.343</c:v>
                </c:pt>
                <c:pt idx="3898">
                  <c:v>3.3620000000000001</c:v>
                </c:pt>
                <c:pt idx="3899">
                  <c:v>3.3809999999999998</c:v>
                </c:pt>
                <c:pt idx="3900">
                  <c:v>3.323</c:v>
                </c:pt>
                <c:pt idx="3901">
                  <c:v>3.2829999999999999</c:v>
                </c:pt>
                <c:pt idx="3902">
                  <c:v>3.2890000000000001</c:v>
                </c:pt>
                <c:pt idx="3903">
                  <c:v>3.2709999999999999</c:v>
                </c:pt>
                <c:pt idx="3904">
                  <c:v>3.254</c:v>
                </c:pt>
                <c:pt idx="3905">
                  <c:v>3.274</c:v>
                </c:pt>
                <c:pt idx="3906">
                  <c:v>3.254</c:v>
                </c:pt>
                <c:pt idx="3907">
                  <c:v>3.2650000000000001</c:v>
                </c:pt>
                <c:pt idx="3908">
                  <c:v>3.1659999999999999</c:v>
                </c:pt>
                <c:pt idx="3909">
                  <c:v>3.1680000000000001</c:v>
                </c:pt>
                <c:pt idx="3910">
                  <c:v>3.1589999999999998</c:v>
                </c:pt>
                <c:pt idx="3911">
                  <c:v>3.1520000000000001</c:v>
                </c:pt>
                <c:pt idx="3912">
                  <c:v>3.161</c:v>
                </c:pt>
                <c:pt idx="3913">
                  <c:v>3.177</c:v>
                </c:pt>
                <c:pt idx="3914">
                  <c:v>3.238</c:v>
                </c:pt>
                <c:pt idx="3915">
                  <c:v>3.1850000000000001</c:v>
                </c:pt>
                <c:pt idx="3916">
                  <c:v>3.14</c:v>
                </c:pt>
                <c:pt idx="3917">
                  <c:v>3.137</c:v>
                </c:pt>
                <c:pt idx="3918">
                  <c:v>3.1779999999999999</c:v>
                </c:pt>
                <c:pt idx="3919">
                  <c:v>3.2090000000000001</c:v>
                </c:pt>
                <c:pt idx="3920">
                  <c:v>3.1850000000000001</c:v>
                </c:pt>
                <c:pt idx="3921">
                  <c:v>3.2429999999999999</c:v>
                </c:pt>
                <c:pt idx="3922">
                  <c:v>3.198</c:v>
                </c:pt>
                <c:pt idx="3923">
                  <c:v>3.1419999999999999</c:v>
                </c:pt>
                <c:pt idx="3924">
                  <c:v>3.137</c:v>
                </c:pt>
                <c:pt idx="3925">
                  <c:v>3.194</c:v>
                </c:pt>
                <c:pt idx="3926">
                  <c:v>3.2639999999999998</c:v>
                </c:pt>
                <c:pt idx="3927">
                  <c:v>3.3170000000000002</c:v>
                </c:pt>
                <c:pt idx="3928">
                  <c:v>3.3220000000000001</c:v>
                </c:pt>
                <c:pt idx="3929">
                  <c:v>3.3519999999999999</c:v>
                </c:pt>
                <c:pt idx="3930">
                  <c:v>3.3679999999999999</c:v>
                </c:pt>
                <c:pt idx="3931">
                  <c:v>3.387</c:v>
                </c:pt>
                <c:pt idx="3932">
                  <c:v>3.387</c:v>
                </c:pt>
                <c:pt idx="3933">
                  <c:v>3.391</c:v>
                </c:pt>
                <c:pt idx="3934">
                  <c:v>3.3730000000000002</c:v>
                </c:pt>
                <c:pt idx="3935">
                  <c:v>3.3809999999999998</c:v>
                </c:pt>
                <c:pt idx="3936">
                  <c:v>3.37</c:v>
                </c:pt>
                <c:pt idx="3937">
                  <c:v>3.3849999999999998</c:v>
                </c:pt>
                <c:pt idx="3938">
                  <c:v>3.347</c:v>
                </c:pt>
                <c:pt idx="3939">
                  <c:v>3.3130000000000002</c:v>
                </c:pt>
                <c:pt idx="3940">
                  <c:v>3.3029999999999999</c:v>
                </c:pt>
                <c:pt idx="3941">
                  <c:v>3.298</c:v>
                </c:pt>
                <c:pt idx="3942">
                  <c:v>3.262</c:v>
                </c:pt>
                <c:pt idx="3943">
                  <c:v>3.2480000000000002</c:v>
                </c:pt>
                <c:pt idx="3944">
                  <c:v>3.2770000000000001</c:v>
                </c:pt>
                <c:pt idx="3945">
                  <c:v>3.2229999999999999</c:v>
                </c:pt>
                <c:pt idx="3946">
                  <c:v>3.2069999999999999</c:v>
                </c:pt>
                <c:pt idx="3947">
                  <c:v>3.2149999999999999</c:v>
                </c:pt>
                <c:pt idx="3948">
                  <c:v>3.2170000000000001</c:v>
                </c:pt>
                <c:pt idx="3949">
                  <c:v>3.2069999999999999</c:v>
                </c:pt>
                <c:pt idx="3950">
                  <c:v>3.2</c:v>
                </c:pt>
                <c:pt idx="3951">
                  <c:v>3.2010000000000001</c:v>
                </c:pt>
                <c:pt idx="3952">
                  <c:v>3.1960000000000002</c:v>
                </c:pt>
                <c:pt idx="3953">
                  <c:v>3.1850000000000001</c:v>
                </c:pt>
                <c:pt idx="3954">
                  <c:v>3.1949999999999998</c:v>
                </c:pt>
                <c:pt idx="3955">
                  <c:v>3.2229999999999999</c:v>
                </c:pt>
                <c:pt idx="3956">
                  <c:v>3.1629999999999998</c:v>
                </c:pt>
                <c:pt idx="3957">
                  <c:v>3.12</c:v>
                </c:pt>
                <c:pt idx="3958">
                  <c:v>3.145</c:v>
                </c:pt>
                <c:pt idx="3959">
                  <c:v>3.2</c:v>
                </c:pt>
                <c:pt idx="3960">
                  <c:v>3.198</c:v>
                </c:pt>
                <c:pt idx="3961">
                  <c:v>3.234</c:v>
                </c:pt>
                <c:pt idx="3962">
                  <c:v>3.1920000000000002</c:v>
                </c:pt>
                <c:pt idx="3963">
                  <c:v>3.2040000000000002</c:v>
                </c:pt>
                <c:pt idx="3964">
                  <c:v>3.2050000000000001</c:v>
                </c:pt>
                <c:pt idx="3965">
                  <c:v>3.194</c:v>
                </c:pt>
                <c:pt idx="3966">
                  <c:v>3.2509999999999999</c:v>
                </c:pt>
                <c:pt idx="3967">
                  <c:v>3.2850000000000001</c:v>
                </c:pt>
                <c:pt idx="3968">
                  <c:v>3.27</c:v>
                </c:pt>
                <c:pt idx="3969">
                  <c:v>3.1669999999999998</c:v>
                </c:pt>
                <c:pt idx="3970">
                  <c:v>3.1349999999999998</c:v>
                </c:pt>
                <c:pt idx="3971">
                  <c:v>3.11</c:v>
                </c:pt>
                <c:pt idx="3972">
                  <c:v>3.101</c:v>
                </c:pt>
                <c:pt idx="3973">
                  <c:v>3.1080000000000001</c:v>
                </c:pt>
                <c:pt idx="3974">
                  <c:v>3.1139999999999999</c:v>
                </c:pt>
                <c:pt idx="3975">
                  <c:v>3.1379999999999999</c:v>
                </c:pt>
                <c:pt idx="3976">
                  <c:v>3.1230000000000002</c:v>
                </c:pt>
                <c:pt idx="3977">
                  <c:v>3.1560000000000001</c:v>
                </c:pt>
                <c:pt idx="3978">
                  <c:v>3.165</c:v>
                </c:pt>
                <c:pt idx="3979">
                  <c:v>3.1320000000000001</c:v>
                </c:pt>
                <c:pt idx="3980">
                  <c:v>3.153</c:v>
                </c:pt>
                <c:pt idx="3981">
                  <c:v>3.1789999999999998</c:v>
                </c:pt>
                <c:pt idx="3982">
                  <c:v>3.1669999999999998</c:v>
                </c:pt>
                <c:pt idx="3983">
                  <c:v>3.1549999999999998</c:v>
                </c:pt>
                <c:pt idx="3984">
                  <c:v>3.1389999999999998</c:v>
                </c:pt>
                <c:pt idx="3985">
                  <c:v>3.1110000000000002</c:v>
                </c:pt>
                <c:pt idx="3986">
                  <c:v>3.1269999999999998</c:v>
                </c:pt>
                <c:pt idx="3987">
                  <c:v>3.109</c:v>
                </c:pt>
                <c:pt idx="3988">
                  <c:v>3.07</c:v>
                </c:pt>
                <c:pt idx="3989">
                  <c:v>3.056</c:v>
                </c:pt>
                <c:pt idx="3990">
                  <c:v>3.0790000000000002</c:v>
                </c:pt>
                <c:pt idx="3991">
                  <c:v>3.1520000000000001</c:v>
                </c:pt>
                <c:pt idx="3992">
                  <c:v>3.15</c:v>
                </c:pt>
                <c:pt idx="3993">
                  <c:v>3.1320000000000001</c:v>
                </c:pt>
                <c:pt idx="3994">
                  <c:v>3.11</c:v>
                </c:pt>
                <c:pt idx="3995">
                  <c:v>3.0920000000000001</c:v>
                </c:pt>
                <c:pt idx="3996">
                  <c:v>3.0880000000000001</c:v>
                </c:pt>
                <c:pt idx="3997">
                  <c:v>3.1429999999999998</c:v>
                </c:pt>
                <c:pt idx="3998">
                  <c:v>3.1190000000000002</c:v>
                </c:pt>
                <c:pt idx="3999">
                  <c:v>3.0960000000000001</c:v>
                </c:pt>
                <c:pt idx="4000">
                  <c:v>3.1659999999999999</c:v>
                </c:pt>
                <c:pt idx="4001">
                  <c:v>3.177</c:v>
                </c:pt>
                <c:pt idx="4002">
                  <c:v>3.1459999999999999</c:v>
                </c:pt>
                <c:pt idx="4003">
                  <c:v>3.1379999999999999</c:v>
                </c:pt>
                <c:pt idx="4004">
                  <c:v>3.1320000000000001</c:v>
                </c:pt>
                <c:pt idx="4005">
                  <c:v>3.0840000000000001</c:v>
                </c:pt>
                <c:pt idx="4006">
                  <c:v>3.0779999999999998</c:v>
                </c:pt>
                <c:pt idx="4007">
                  <c:v>3.0979999999999999</c:v>
                </c:pt>
                <c:pt idx="4008">
                  <c:v>3.0790000000000002</c:v>
                </c:pt>
                <c:pt idx="4009">
                  <c:v>3.052</c:v>
                </c:pt>
                <c:pt idx="4010">
                  <c:v>3.0609999999999999</c:v>
                </c:pt>
                <c:pt idx="4011">
                  <c:v>3.0459999999999998</c:v>
                </c:pt>
                <c:pt idx="4012">
                  <c:v>2.9390000000000001</c:v>
                </c:pt>
                <c:pt idx="4013">
                  <c:v>2.9820000000000002</c:v>
                </c:pt>
                <c:pt idx="4014">
                  <c:v>3.0619999999999998</c:v>
                </c:pt>
                <c:pt idx="4015">
                  <c:v>3.0169999999999999</c:v>
                </c:pt>
                <c:pt idx="4016">
                  <c:v>3.0649999999999999</c:v>
                </c:pt>
                <c:pt idx="4017">
                  <c:v>2.9489999999999998</c:v>
                </c:pt>
                <c:pt idx="4018">
                  <c:v>2.8610000000000002</c:v>
                </c:pt>
                <c:pt idx="4019">
                  <c:v>2.7930000000000001</c:v>
                </c:pt>
                <c:pt idx="4020">
                  <c:v>2.7970000000000002</c:v>
                </c:pt>
                <c:pt idx="4021">
                  <c:v>2.9550000000000001</c:v>
                </c:pt>
                <c:pt idx="4022">
                  <c:v>2.9369999999999998</c:v>
                </c:pt>
                <c:pt idx="4023">
                  <c:v>2.9420000000000002</c:v>
                </c:pt>
                <c:pt idx="4024">
                  <c:v>2.94</c:v>
                </c:pt>
                <c:pt idx="4025">
                  <c:v>2.86</c:v>
                </c:pt>
                <c:pt idx="4026">
                  <c:v>2.863</c:v>
                </c:pt>
                <c:pt idx="4027">
                  <c:v>2.8239999999999998</c:v>
                </c:pt>
                <c:pt idx="4028">
                  <c:v>2.766</c:v>
                </c:pt>
                <c:pt idx="4029">
                  <c:v>2.6850000000000001</c:v>
                </c:pt>
                <c:pt idx="4030">
                  <c:v>2.6659999999999999</c:v>
                </c:pt>
                <c:pt idx="4031">
                  <c:v>2.6549999999999998</c:v>
                </c:pt>
                <c:pt idx="4032">
                  <c:v>2.5779999999999998</c:v>
                </c:pt>
                <c:pt idx="4033">
                  <c:v>2.645</c:v>
                </c:pt>
                <c:pt idx="4034">
                  <c:v>2.7120000000000002</c:v>
                </c:pt>
                <c:pt idx="4035">
                  <c:v>2.6819999999999999</c:v>
                </c:pt>
                <c:pt idx="4036">
                  <c:v>2.66</c:v>
                </c:pt>
                <c:pt idx="4037">
                  <c:v>2.6749999999999998</c:v>
                </c:pt>
                <c:pt idx="4038">
                  <c:v>2.6549999999999998</c:v>
                </c:pt>
                <c:pt idx="4039">
                  <c:v>2.6760000000000002</c:v>
                </c:pt>
                <c:pt idx="4040">
                  <c:v>2.5840000000000001</c:v>
                </c:pt>
                <c:pt idx="4041">
                  <c:v>2.5630000000000002</c:v>
                </c:pt>
                <c:pt idx="4042">
                  <c:v>2.512</c:v>
                </c:pt>
                <c:pt idx="4043">
                  <c:v>2.5670000000000002</c:v>
                </c:pt>
                <c:pt idx="4044">
                  <c:v>2.61</c:v>
                </c:pt>
                <c:pt idx="4045">
                  <c:v>2.5659999999999998</c:v>
                </c:pt>
                <c:pt idx="4046">
                  <c:v>2.6419999999999999</c:v>
                </c:pt>
                <c:pt idx="4047">
                  <c:v>2.6739999999999999</c:v>
                </c:pt>
                <c:pt idx="4048">
                  <c:v>2.6709999999999998</c:v>
                </c:pt>
                <c:pt idx="4049">
                  <c:v>2.6629999999999998</c:v>
                </c:pt>
                <c:pt idx="4050">
                  <c:v>2.7290000000000001</c:v>
                </c:pt>
                <c:pt idx="4051">
                  <c:v>2.766</c:v>
                </c:pt>
                <c:pt idx="4052">
                  <c:v>2.6920000000000002</c:v>
                </c:pt>
                <c:pt idx="4053">
                  <c:v>2.6469999999999998</c:v>
                </c:pt>
                <c:pt idx="4054">
                  <c:v>2.6019999999999999</c:v>
                </c:pt>
                <c:pt idx="4055">
                  <c:v>2.6110000000000002</c:v>
                </c:pt>
                <c:pt idx="4056">
                  <c:v>2.585</c:v>
                </c:pt>
                <c:pt idx="4057">
                  <c:v>2.5590000000000002</c:v>
                </c:pt>
                <c:pt idx="4058">
                  <c:v>2.577</c:v>
                </c:pt>
                <c:pt idx="4059">
                  <c:v>2.5659999999999998</c:v>
                </c:pt>
                <c:pt idx="4060">
                  <c:v>2.5830000000000002</c:v>
                </c:pt>
                <c:pt idx="4061">
                  <c:v>2.5430000000000001</c:v>
                </c:pt>
                <c:pt idx="4062">
                  <c:v>2.589</c:v>
                </c:pt>
                <c:pt idx="4063">
                  <c:v>2.5979999999999999</c:v>
                </c:pt>
                <c:pt idx="4064">
                  <c:v>2.6320000000000001</c:v>
                </c:pt>
                <c:pt idx="4065">
                  <c:v>2.6339999999999999</c:v>
                </c:pt>
                <c:pt idx="4066">
                  <c:v>2.589</c:v>
                </c:pt>
                <c:pt idx="4067">
                  <c:v>2.641</c:v>
                </c:pt>
                <c:pt idx="4068">
                  <c:v>2.6549999999999998</c:v>
                </c:pt>
                <c:pt idx="4069">
                  <c:v>2.653</c:v>
                </c:pt>
                <c:pt idx="4070">
                  <c:v>2.6059999999999999</c:v>
                </c:pt>
                <c:pt idx="4071">
                  <c:v>2.6589999999999998</c:v>
                </c:pt>
                <c:pt idx="4072">
                  <c:v>2.6360000000000001</c:v>
                </c:pt>
                <c:pt idx="4073">
                  <c:v>2.6360000000000001</c:v>
                </c:pt>
                <c:pt idx="4074">
                  <c:v>2.6669999999999998</c:v>
                </c:pt>
                <c:pt idx="4075">
                  <c:v>2.706</c:v>
                </c:pt>
                <c:pt idx="4076">
                  <c:v>2.7610000000000001</c:v>
                </c:pt>
                <c:pt idx="4077">
                  <c:v>2.77</c:v>
                </c:pt>
                <c:pt idx="4078">
                  <c:v>2.7490000000000001</c:v>
                </c:pt>
                <c:pt idx="4079">
                  <c:v>2.7170000000000001</c:v>
                </c:pt>
                <c:pt idx="4080">
                  <c:v>2.669</c:v>
                </c:pt>
                <c:pt idx="4081">
                  <c:v>2.698</c:v>
                </c:pt>
                <c:pt idx="4082">
                  <c:v>2.6070000000000002</c:v>
                </c:pt>
                <c:pt idx="4083">
                  <c:v>2.6040000000000001</c:v>
                </c:pt>
                <c:pt idx="4084">
                  <c:v>2.5619999999999998</c:v>
                </c:pt>
                <c:pt idx="4085">
                  <c:v>2.5190000000000001</c:v>
                </c:pt>
                <c:pt idx="4086">
                  <c:v>2.5249999999999999</c:v>
                </c:pt>
                <c:pt idx="4087">
                  <c:v>2.5369999999999999</c:v>
                </c:pt>
                <c:pt idx="4088">
                  <c:v>2.4279999999999999</c:v>
                </c:pt>
                <c:pt idx="4089">
                  <c:v>2.4209999999999998</c:v>
                </c:pt>
                <c:pt idx="4090">
                  <c:v>2.3929999999999998</c:v>
                </c:pt>
                <c:pt idx="4091">
                  <c:v>2.33</c:v>
                </c:pt>
                <c:pt idx="4092">
                  <c:v>2.363</c:v>
                </c:pt>
                <c:pt idx="4093">
                  <c:v>2.319</c:v>
                </c:pt>
                <c:pt idx="4094">
                  <c:v>2.3119999999999998</c:v>
                </c:pt>
                <c:pt idx="4095">
                  <c:v>2.2669999999999999</c:v>
                </c:pt>
                <c:pt idx="4096">
                  <c:v>2.286</c:v>
                </c:pt>
                <c:pt idx="4097">
                  <c:v>2.1800000000000002</c:v>
                </c:pt>
                <c:pt idx="4098">
                  <c:v>2.1459999999999999</c:v>
                </c:pt>
                <c:pt idx="4099">
                  <c:v>2.157</c:v>
                </c:pt>
                <c:pt idx="4100">
                  <c:v>2.2000000000000002</c:v>
                </c:pt>
                <c:pt idx="4101">
                  <c:v>2.1349999999999998</c:v>
                </c:pt>
                <c:pt idx="4102">
                  <c:v>2.1160000000000001</c:v>
                </c:pt>
                <c:pt idx="4103">
                  <c:v>2.2240000000000002</c:v>
                </c:pt>
                <c:pt idx="4104">
                  <c:v>2.2829999999999999</c:v>
                </c:pt>
                <c:pt idx="4105">
                  <c:v>2.3540000000000001</c:v>
                </c:pt>
                <c:pt idx="4106">
                  <c:v>2.3359999999999999</c:v>
                </c:pt>
                <c:pt idx="4107">
                  <c:v>2.2549999999999999</c:v>
                </c:pt>
                <c:pt idx="4108">
                  <c:v>2.2970000000000002</c:v>
                </c:pt>
                <c:pt idx="4109">
                  <c:v>2.3359999999999999</c:v>
                </c:pt>
                <c:pt idx="4110">
                  <c:v>2.4</c:v>
                </c:pt>
                <c:pt idx="4111">
                  <c:v>2.427</c:v>
                </c:pt>
                <c:pt idx="4112">
                  <c:v>2.371</c:v>
                </c:pt>
                <c:pt idx="4113">
                  <c:v>2.4039999999999999</c:v>
                </c:pt>
                <c:pt idx="4114">
                  <c:v>2.4780000000000002</c:v>
                </c:pt>
                <c:pt idx="4115">
                  <c:v>2.427</c:v>
                </c:pt>
                <c:pt idx="4116">
                  <c:v>2.4670000000000001</c:v>
                </c:pt>
                <c:pt idx="4117">
                  <c:v>2.4529999999999998</c:v>
                </c:pt>
                <c:pt idx="4118">
                  <c:v>2.3490000000000002</c:v>
                </c:pt>
                <c:pt idx="4119">
                  <c:v>2.2850000000000001</c:v>
                </c:pt>
                <c:pt idx="4120">
                  <c:v>2.3420000000000001</c:v>
                </c:pt>
                <c:pt idx="4121">
                  <c:v>2.2690000000000001</c:v>
                </c:pt>
                <c:pt idx="4122">
                  <c:v>2.2480000000000002</c:v>
                </c:pt>
                <c:pt idx="4123">
                  <c:v>2.2400000000000002</c:v>
                </c:pt>
                <c:pt idx="4124">
                  <c:v>2.2749999999999999</c:v>
                </c:pt>
                <c:pt idx="4125">
                  <c:v>2.2850000000000001</c:v>
                </c:pt>
                <c:pt idx="4126">
                  <c:v>2.2519999999999998</c:v>
                </c:pt>
                <c:pt idx="4127">
                  <c:v>2.2789999999999999</c:v>
                </c:pt>
                <c:pt idx="4128">
                  <c:v>2.2240000000000002</c:v>
                </c:pt>
                <c:pt idx="4129">
                  <c:v>2.262</c:v>
                </c:pt>
                <c:pt idx="4130">
                  <c:v>2.254</c:v>
                </c:pt>
                <c:pt idx="4131">
                  <c:v>2.2719999999999998</c:v>
                </c:pt>
                <c:pt idx="4132">
                  <c:v>2.2429999999999999</c:v>
                </c:pt>
                <c:pt idx="4133">
                  <c:v>2.286</c:v>
                </c:pt>
                <c:pt idx="4134">
                  <c:v>2.2949999999999999</c:v>
                </c:pt>
                <c:pt idx="4135">
                  <c:v>2.371</c:v>
                </c:pt>
                <c:pt idx="4136">
                  <c:v>2.3849999999999998</c:v>
                </c:pt>
                <c:pt idx="4137">
                  <c:v>2.4140000000000001</c:v>
                </c:pt>
                <c:pt idx="4138">
                  <c:v>2.44</c:v>
                </c:pt>
                <c:pt idx="4139">
                  <c:v>2.484</c:v>
                </c:pt>
                <c:pt idx="4140">
                  <c:v>2.4740000000000002</c:v>
                </c:pt>
                <c:pt idx="4141">
                  <c:v>2.4500000000000002</c:v>
                </c:pt>
                <c:pt idx="4142">
                  <c:v>2.5070000000000001</c:v>
                </c:pt>
                <c:pt idx="4143">
                  <c:v>2.5590000000000002</c:v>
                </c:pt>
                <c:pt idx="4144">
                  <c:v>2.5659999999999998</c:v>
                </c:pt>
                <c:pt idx="4145">
                  <c:v>2.5179999999999998</c:v>
                </c:pt>
                <c:pt idx="4146">
                  <c:v>2.4809999999999999</c:v>
                </c:pt>
                <c:pt idx="4147">
                  <c:v>2.4700000000000002</c:v>
                </c:pt>
                <c:pt idx="4148">
                  <c:v>2.4180000000000001</c:v>
                </c:pt>
                <c:pt idx="4149">
                  <c:v>2.3959999999999999</c:v>
                </c:pt>
                <c:pt idx="4150">
                  <c:v>2.4169999999999998</c:v>
                </c:pt>
                <c:pt idx="4151">
                  <c:v>2.39</c:v>
                </c:pt>
                <c:pt idx="4152">
                  <c:v>2.407</c:v>
                </c:pt>
                <c:pt idx="4153">
                  <c:v>2.4409999999999998</c:v>
                </c:pt>
                <c:pt idx="4154">
                  <c:v>2.4350000000000001</c:v>
                </c:pt>
                <c:pt idx="4155">
                  <c:v>2.512</c:v>
                </c:pt>
                <c:pt idx="4156">
                  <c:v>2.5630000000000002</c:v>
                </c:pt>
                <c:pt idx="4157">
                  <c:v>2.6219999999999999</c:v>
                </c:pt>
                <c:pt idx="4158">
                  <c:v>2.601</c:v>
                </c:pt>
                <c:pt idx="4159">
                  <c:v>2.7040000000000002</c:v>
                </c:pt>
                <c:pt idx="4160">
                  <c:v>2.7029999999999998</c:v>
                </c:pt>
                <c:pt idx="4161">
                  <c:v>2.65</c:v>
                </c:pt>
                <c:pt idx="4162">
                  <c:v>2.552</c:v>
                </c:pt>
                <c:pt idx="4163">
                  <c:v>2.66</c:v>
                </c:pt>
                <c:pt idx="4164">
                  <c:v>2.7120000000000002</c:v>
                </c:pt>
                <c:pt idx="4165">
                  <c:v>2.734</c:v>
                </c:pt>
                <c:pt idx="4166">
                  <c:v>2.7570000000000001</c:v>
                </c:pt>
                <c:pt idx="4167">
                  <c:v>2.67</c:v>
                </c:pt>
                <c:pt idx="4168">
                  <c:v>2.78</c:v>
                </c:pt>
                <c:pt idx="4169">
                  <c:v>2.819</c:v>
                </c:pt>
                <c:pt idx="4170">
                  <c:v>2.8570000000000002</c:v>
                </c:pt>
                <c:pt idx="4171">
                  <c:v>2.8530000000000002</c:v>
                </c:pt>
                <c:pt idx="4172">
                  <c:v>2.948</c:v>
                </c:pt>
                <c:pt idx="4173">
                  <c:v>3.0139999999999998</c:v>
                </c:pt>
                <c:pt idx="4174">
                  <c:v>2.9470000000000001</c:v>
                </c:pt>
                <c:pt idx="4175">
                  <c:v>2.9540000000000002</c:v>
                </c:pt>
                <c:pt idx="4176">
                  <c:v>2.976</c:v>
                </c:pt>
                <c:pt idx="4177">
                  <c:v>3.0259999999999998</c:v>
                </c:pt>
                <c:pt idx="4178">
                  <c:v>3.03</c:v>
                </c:pt>
                <c:pt idx="4179">
                  <c:v>3.0649999999999999</c:v>
                </c:pt>
                <c:pt idx="4180">
                  <c:v>3.0289999999999999</c:v>
                </c:pt>
                <c:pt idx="4181">
                  <c:v>2.9670000000000001</c:v>
                </c:pt>
                <c:pt idx="4182">
                  <c:v>2.9860000000000002</c:v>
                </c:pt>
                <c:pt idx="4183">
                  <c:v>2.952</c:v>
                </c:pt>
                <c:pt idx="4184">
                  <c:v>2.9769999999999999</c:v>
                </c:pt>
                <c:pt idx="4185">
                  <c:v>2.9820000000000002</c:v>
                </c:pt>
                <c:pt idx="4186">
                  <c:v>3.0289999999999999</c:v>
                </c:pt>
                <c:pt idx="4187">
                  <c:v>2.976</c:v>
                </c:pt>
                <c:pt idx="4188">
                  <c:v>3.0179999999999998</c:v>
                </c:pt>
                <c:pt idx="4189">
                  <c:v>2.9590000000000001</c:v>
                </c:pt>
                <c:pt idx="4190">
                  <c:v>2.9630000000000001</c:v>
                </c:pt>
                <c:pt idx="4191">
                  <c:v>2.9220000000000002</c:v>
                </c:pt>
                <c:pt idx="4192">
                  <c:v>2.891</c:v>
                </c:pt>
                <c:pt idx="4193">
                  <c:v>2.9380000000000002</c:v>
                </c:pt>
                <c:pt idx="4194">
                  <c:v>2.9129999999999998</c:v>
                </c:pt>
                <c:pt idx="4195">
                  <c:v>2.8690000000000002</c:v>
                </c:pt>
                <c:pt idx="4196">
                  <c:v>2.87</c:v>
                </c:pt>
                <c:pt idx="4197">
                  <c:v>2.9249999999999998</c:v>
                </c:pt>
                <c:pt idx="4198">
                  <c:v>3.052</c:v>
                </c:pt>
                <c:pt idx="4199">
                  <c:v>3.044</c:v>
                </c:pt>
                <c:pt idx="4200">
                  <c:v>3.028</c:v>
                </c:pt>
                <c:pt idx="4201">
                  <c:v>3.0379999999999998</c:v>
                </c:pt>
                <c:pt idx="4202">
                  <c:v>3.1150000000000002</c:v>
                </c:pt>
                <c:pt idx="4203">
                  <c:v>3.105</c:v>
                </c:pt>
                <c:pt idx="4204">
                  <c:v>3.1589999999999998</c:v>
                </c:pt>
                <c:pt idx="4205">
                  <c:v>3.1760000000000002</c:v>
                </c:pt>
                <c:pt idx="4206">
                  <c:v>3.15</c:v>
                </c:pt>
                <c:pt idx="4207">
                  <c:v>3.1440000000000001</c:v>
                </c:pt>
                <c:pt idx="4208">
                  <c:v>3.1850000000000001</c:v>
                </c:pt>
                <c:pt idx="4209">
                  <c:v>3.206</c:v>
                </c:pt>
                <c:pt idx="4210">
                  <c:v>3.1480000000000001</c:v>
                </c:pt>
                <c:pt idx="4211">
                  <c:v>3.1549999999999998</c:v>
                </c:pt>
                <c:pt idx="4212">
                  <c:v>3.2210000000000001</c:v>
                </c:pt>
                <c:pt idx="4213">
                  <c:v>3.2589999999999999</c:v>
                </c:pt>
                <c:pt idx="4214">
                  <c:v>3.2160000000000002</c:v>
                </c:pt>
                <c:pt idx="4215">
                  <c:v>3.2610000000000001</c:v>
                </c:pt>
                <c:pt idx="4216">
                  <c:v>3.2530000000000001</c:v>
                </c:pt>
                <c:pt idx="4217">
                  <c:v>3.2549999999999999</c:v>
                </c:pt>
                <c:pt idx="4218">
                  <c:v>3.306</c:v>
                </c:pt>
                <c:pt idx="4219">
                  <c:v>3.3010000000000002</c:v>
                </c:pt>
                <c:pt idx="4220">
                  <c:v>3.294</c:v>
                </c:pt>
                <c:pt idx="4221">
                  <c:v>3.2959999999999998</c:v>
                </c:pt>
                <c:pt idx="4222">
                  <c:v>3.282</c:v>
                </c:pt>
                <c:pt idx="4223">
                  <c:v>3.2370000000000001</c:v>
                </c:pt>
                <c:pt idx="4224">
                  <c:v>3.1829999999999998</c:v>
                </c:pt>
                <c:pt idx="4225">
                  <c:v>3.254</c:v>
                </c:pt>
                <c:pt idx="4226">
                  <c:v>3.1840000000000002</c:v>
                </c:pt>
                <c:pt idx="4227">
                  <c:v>3.1459999999999999</c:v>
                </c:pt>
                <c:pt idx="4228">
                  <c:v>3.14</c:v>
                </c:pt>
                <c:pt idx="4229">
                  <c:v>3.1309999999999998</c:v>
                </c:pt>
                <c:pt idx="4230">
                  <c:v>3.1520000000000001</c:v>
                </c:pt>
                <c:pt idx="4231">
                  <c:v>3.17</c:v>
                </c:pt>
                <c:pt idx="4232">
                  <c:v>3.1789999999999998</c:v>
                </c:pt>
                <c:pt idx="4233">
                  <c:v>3.1970000000000001</c:v>
                </c:pt>
                <c:pt idx="4234">
                  <c:v>3.3260000000000001</c:v>
                </c:pt>
                <c:pt idx="4235">
                  <c:v>3.2730000000000001</c:v>
                </c:pt>
                <c:pt idx="4236">
                  <c:v>3.2730000000000001</c:v>
                </c:pt>
                <c:pt idx="4237">
                  <c:v>3.3050000000000002</c:v>
                </c:pt>
                <c:pt idx="4238">
                  <c:v>3.29</c:v>
                </c:pt>
                <c:pt idx="4239">
                  <c:v>3.25</c:v>
                </c:pt>
                <c:pt idx="4240">
                  <c:v>3.214</c:v>
                </c:pt>
                <c:pt idx="4241">
                  <c:v>3.2269999999999999</c:v>
                </c:pt>
                <c:pt idx="4242">
                  <c:v>3.137</c:v>
                </c:pt>
                <c:pt idx="4243">
                  <c:v>3.09</c:v>
                </c:pt>
                <c:pt idx="4244">
                  <c:v>3.169</c:v>
                </c:pt>
                <c:pt idx="4245">
                  <c:v>3.1880000000000002</c:v>
                </c:pt>
                <c:pt idx="4246">
                  <c:v>3.2330000000000001</c:v>
                </c:pt>
                <c:pt idx="4247">
                  <c:v>3.2570000000000001</c:v>
                </c:pt>
                <c:pt idx="4248">
                  <c:v>3.2360000000000002</c:v>
                </c:pt>
                <c:pt idx="4249">
                  <c:v>3.2450000000000001</c:v>
                </c:pt>
                <c:pt idx="4250">
                  <c:v>3.28</c:v>
                </c:pt>
                <c:pt idx="4251">
                  <c:v>3.2909999999999999</c:v>
                </c:pt>
                <c:pt idx="4252">
                  <c:v>3.3319999999999999</c:v>
                </c:pt>
                <c:pt idx="4253">
                  <c:v>3.339</c:v>
                </c:pt>
                <c:pt idx="4254">
                  <c:v>3.3540000000000001</c:v>
                </c:pt>
                <c:pt idx="4255">
                  <c:v>3.3719999999999999</c:v>
                </c:pt>
                <c:pt idx="4256">
                  <c:v>3.3690000000000002</c:v>
                </c:pt>
                <c:pt idx="4257">
                  <c:v>3.3919999999999999</c:v>
                </c:pt>
                <c:pt idx="4258">
                  <c:v>3.431</c:v>
                </c:pt>
                <c:pt idx="4259">
                  <c:v>3.4220000000000002</c:v>
                </c:pt>
                <c:pt idx="4260">
                  <c:v>3.4809999999999999</c:v>
                </c:pt>
                <c:pt idx="4261">
                  <c:v>3.4910000000000001</c:v>
                </c:pt>
                <c:pt idx="4262">
                  <c:v>3.4409999999999998</c:v>
                </c:pt>
                <c:pt idx="4263">
                  <c:v>3.4350000000000001</c:v>
                </c:pt>
                <c:pt idx="4264">
                  <c:v>3.4279999999999999</c:v>
                </c:pt>
                <c:pt idx="4265">
                  <c:v>3.3780000000000001</c:v>
                </c:pt>
                <c:pt idx="4266">
                  <c:v>3.2480000000000002</c:v>
                </c:pt>
                <c:pt idx="4267">
                  <c:v>3.2749999999999999</c:v>
                </c:pt>
                <c:pt idx="4268">
                  <c:v>3.3050000000000002</c:v>
                </c:pt>
                <c:pt idx="4269">
                  <c:v>3.26</c:v>
                </c:pt>
                <c:pt idx="4270">
                  <c:v>3.2480000000000002</c:v>
                </c:pt>
                <c:pt idx="4271">
                  <c:v>3.2919999999999998</c:v>
                </c:pt>
                <c:pt idx="4272">
                  <c:v>3.2229999999999999</c:v>
                </c:pt>
                <c:pt idx="4273">
                  <c:v>3.2389999999999999</c:v>
                </c:pt>
                <c:pt idx="4274">
                  <c:v>3.246</c:v>
                </c:pt>
                <c:pt idx="4275">
                  <c:v>3.2789999999999999</c:v>
                </c:pt>
                <c:pt idx="4276">
                  <c:v>3.2959999999999998</c:v>
                </c:pt>
                <c:pt idx="4277">
                  <c:v>3.2149999999999999</c:v>
                </c:pt>
                <c:pt idx="4278">
                  <c:v>3.17</c:v>
                </c:pt>
                <c:pt idx="4279">
                  <c:v>3.1030000000000002</c:v>
                </c:pt>
                <c:pt idx="4280">
                  <c:v>3.1219999999999999</c:v>
                </c:pt>
                <c:pt idx="4281">
                  <c:v>3.1280000000000001</c:v>
                </c:pt>
                <c:pt idx="4282">
                  <c:v>3.109</c:v>
                </c:pt>
                <c:pt idx="4283">
                  <c:v>3.077</c:v>
                </c:pt>
                <c:pt idx="4284">
                  <c:v>3.1160000000000001</c:v>
                </c:pt>
                <c:pt idx="4285">
                  <c:v>3.093</c:v>
                </c:pt>
                <c:pt idx="4286">
                  <c:v>3.12</c:v>
                </c:pt>
                <c:pt idx="4287">
                  <c:v>3.1139999999999999</c:v>
                </c:pt>
                <c:pt idx="4288">
                  <c:v>3.0569999999999999</c:v>
                </c:pt>
                <c:pt idx="4289">
                  <c:v>3.0139999999999998</c:v>
                </c:pt>
                <c:pt idx="4290">
                  <c:v>3.069</c:v>
                </c:pt>
                <c:pt idx="4291">
                  <c:v>3.048</c:v>
                </c:pt>
                <c:pt idx="4292">
                  <c:v>2.9969999999999999</c:v>
                </c:pt>
                <c:pt idx="4293">
                  <c:v>2.9849999999999999</c:v>
                </c:pt>
                <c:pt idx="4294">
                  <c:v>2.976</c:v>
                </c:pt>
                <c:pt idx="4295">
                  <c:v>3.02</c:v>
                </c:pt>
                <c:pt idx="4296">
                  <c:v>2.9870000000000001</c:v>
                </c:pt>
                <c:pt idx="4297">
                  <c:v>2.99</c:v>
                </c:pt>
                <c:pt idx="4298">
                  <c:v>3.0579999999999998</c:v>
                </c:pt>
                <c:pt idx="4299">
                  <c:v>3.0249999999999999</c:v>
                </c:pt>
                <c:pt idx="4300">
                  <c:v>3.0939999999999999</c:v>
                </c:pt>
                <c:pt idx="4301">
                  <c:v>3.0539999999999998</c:v>
                </c:pt>
                <c:pt idx="4302">
                  <c:v>3.03</c:v>
                </c:pt>
                <c:pt idx="4303">
                  <c:v>2.9620000000000002</c:v>
                </c:pt>
                <c:pt idx="4304">
                  <c:v>2.9580000000000002</c:v>
                </c:pt>
                <c:pt idx="4305">
                  <c:v>3.0139999999999998</c:v>
                </c:pt>
                <c:pt idx="4306">
                  <c:v>2.9529999999999998</c:v>
                </c:pt>
                <c:pt idx="4307">
                  <c:v>2.9159999999999999</c:v>
                </c:pt>
                <c:pt idx="4308">
                  <c:v>2.9590000000000001</c:v>
                </c:pt>
                <c:pt idx="4309">
                  <c:v>2.9649999999999999</c:v>
                </c:pt>
                <c:pt idx="4310">
                  <c:v>2.9790000000000001</c:v>
                </c:pt>
                <c:pt idx="4311">
                  <c:v>2.9420000000000002</c:v>
                </c:pt>
                <c:pt idx="4312">
                  <c:v>2.8660000000000001</c:v>
                </c:pt>
                <c:pt idx="4313">
                  <c:v>2.8340000000000001</c:v>
                </c:pt>
                <c:pt idx="4314">
                  <c:v>2.891</c:v>
                </c:pt>
                <c:pt idx="4315">
                  <c:v>2.9329999999999998</c:v>
                </c:pt>
                <c:pt idx="4316">
                  <c:v>2.984</c:v>
                </c:pt>
                <c:pt idx="4317">
                  <c:v>3.0249999999999999</c:v>
                </c:pt>
                <c:pt idx="4318">
                  <c:v>3.0339999999999998</c:v>
                </c:pt>
                <c:pt idx="4319">
                  <c:v>3.02</c:v>
                </c:pt>
                <c:pt idx="4320">
                  <c:v>3.008</c:v>
                </c:pt>
                <c:pt idx="4321">
                  <c:v>2.9329999999999998</c:v>
                </c:pt>
                <c:pt idx="4322">
                  <c:v>2.9670000000000001</c:v>
                </c:pt>
                <c:pt idx="4323">
                  <c:v>2.8290000000000002</c:v>
                </c:pt>
                <c:pt idx="4324">
                  <c:v>2.6720000000000002</c:v>
                </c:pt>
                <c:pt idx="4325">
                  <c:v>2.7109999999999999</c:v>
                </c:pt>
                <c:pt idx="4326">
                  <c:v>2.7480000000000002</c:v>
                </c:pt>
                <c:pt idx="4327">
                  <c:v>2.738</c:v>
                </c:pt>
                <c:pt idx="4328">
                  <c:v>2.6949999999999998</c:v>
                </c:pt>
                <c:pt idx="4329">
                  <c:v>2.6480000000000001</c:v>
                </c:pt>
                <c:pt idx="4330">
                  <c:v>2.6779999999999999</c:v>
                </c:pt>
                <c:pt idx="4331">
                  <c:v>2.7669999999999999</c:v>
                </c:pt>
                <c:pt idx="4332">
                  <c:v>2.8769999999999998</c:v>
                </c:pt>
                <c:pt idx="4333">
                  <c:v>2.8279999999999998</c:v>
                </c:pt>
                <c:pt idx="4334">
                  <c:v>2.7629999999999999</c:v>
                </c:pt>
                <c:pt idx="4335">
                  <c:v>2.74</c:v>
                </c:pt>
                <c:pt idx="4336">
                  <c:v>2.6509999999999998</c:v>
                </c:pt>
                <c:pt idx="4337">
                  <c:v>2.633</c:v>
                </c:pt>
                <c:pt idx="4338">
                  <c:v>2.5379999999999998</c:v>
                </c:pt>
                <c:pt idx="4339">
                  <c:v>2.4529999999999998</c:v>
                </c:pt>
                <c:pt idx="4340">
                  <c:v>2.4159999999999999</c:v>
                </c:pt>
                <c:pt idx="4341">
                  <c:v>2.403</c:v>
                </c:pt>
                <c:pt idx="4342">
                  <c:v>2.2999999999999998</c:v>
                </c:pt>
                <c:pt idx="4343">
                  <c:v>2.3460000000000001</c:v>
                </c:pt>
                <c:pt idx="4344">
                  <c:v>2.262</c:v>
                </c:pt>
                <c:pt idx="4345">
                  <c:v>2.3650000000000002</c:v>
                </c:pt>
                <c:pt idx="4346">
                  <c:v>2.1920000000000002</c:v>
                </c:pt>
                <c:pt idx="4347">
                  <c:v>2.3180000000000001</c:v>
                </c:pt>
                <c:pt idx="4348">
                  <c:v>2.3330000000000002</c:v>
                </c:pt>
                <c:pt idx="4349">
                  <c:v>2.3250000000000002</c:v>
                </c:pt>
                <c:pt idx="4350">
                  <c:v>2.3239999999999998</c:v>
                </c:pt>
                <c:pt idx="4351">
                  <c:v>2.2029999999999998</c:v>
                </c:pt>
                <c:pt idx="4352">
                  <c:v>2.0870000000000002</c:v>
                </c:pt>
                <c:pt idx="4353">
                  <c:v>2.105</c:v>
                </c:pt>
                <c:pt idx="4354">
                  <c:v>2.1019999999999999</c:v>
                </c:pt>
                <c:pt idx="4355">
                  <c:v>2.1280000000000001</c:v>
                </c:pt>
                <c:pt idx="4356">
                  <c:v>2.1779999999999999</c:v>
                </c:pt>
                <c:pt idx="4357">
                  <c:v>2.1859999999999999</c:v>
                </c:pt>
                <c:pt idx="4358">
                  <c:v>2.157</c:v>
                </c:pt>
                <c:pt idx="4359">
                  <c:v>2.2269999999999999</c:v>
                </c:pt>
                <c:pt idx="4360">
                  <c:v>2.153</c:v>
                </c:pt>
                <c:pt idx="4361">
                  <c:v>2.2189999999999999</c:v>
                </c:pt>
                <c:pt idx="4362">
                  <c:v>2.145</c:v>
                </c:pt>
                <c:pt idx="4363">
                  <c:v>2.008</c:v>
                </c:pt>
                <c:pt idx="4364">
                  <c:v>1.847</c:v>
                </c:pt>
                <c:pt idx="4365">
                  <c:v>1.8480000000000001</c:v>
                </c:pt>
                <c:pt idx="4366">
                  <c:v>1.907</c:v>
                </c:pt>
                <c:pt idx="4367">
                  <c:v>1.869</c:v>
                </c:pt>
                <c:pt idx="4368">
                  <c:v>1.772</c:v>
                </c:pt>
                <c:pt idx="4369">
                  <c:v>1.744</c:v>
                </c:pt>
                <c:pt idx="4370">
                  <c:v>1.794</c:v>
                </c:pt>
                <c:pt idx="4371">
                  <c:v>1.8779999999999999</c:v>
                </c:pt>
                <c:pt idx="4372">
                  <c:v>1.929</c:v>
                </c:pt>
                <c:pt idx="4373">
                  <c:v>1.863</c:v>
                </c:pt>
                <c:pt idx="4374">
                  <c:v>1.8</c:v>
                </c:pt>
                <c:pt idx="4375">
                  <c:v>1.7909999999999999</c:v>
                </c:pt>
                <c:pt idx="4376">
                  <c:v>1.772</c:v>
                </c:pt>
                <c:pt idx="4377">
                  <c:v>1.6739999999999999</c:v>
                </c:pt>
                <c:pt idx="4378">
                  <c:v>1.7470000000000001</c:v>
                </c:pt>
                <c:pt idx="4379">
                  <c:v>1.829</c:v>
                </c:pt>
                <c:pt idx="4380">
                  <c:v>1.962</c:v>
                </c:pt>
                <c:pt idx="4381">
                  <c:v>2.0110000000000001</c:v>
                </c:pt>
                <c:pt idx="4382">
                  <c:v>2.0070000000000001</c:v>
                </c:pt>
                <c:pt idx="4383">
                  <c:v>1.887</c:v>
                </c:pt>
                <c:pt idx="4384">
                  <c:v>1.8149999999999999</c:v>
                </c:pt>
                <c:pt idx="4385">
                  <c:v>1.726</c:v>
                </c:pt>
                <c:pt idx="4386">
                  <c:v>1.839</c:v>
                </c:pt>
                <c:pt idx="4387">
                  <c:v>1.9419999999999999</c:v>
                </c:pt>
                <c:pt idx="4388">
                  <c:v>2.0019999999999998</c:v>
                </c:pt>
                <c:pt idx="4389">
                  <c:v>2.0830000000000002</c:v>
                </c:pt>
                <c:pt idx="4390">
                  <c:v>2.089</c:v>
                </c:pt>
                <c:pt idx="4391">
                  <c:v>2.1890000000000001</c:v>
                </c:pt>
                <c:pt idx="4392">
                  <c:v>2.105</c:v>
                </c:pt>
                <c:pt idx="4393">
                  <c:v>2.1989999999999998</c:v>
                </c:pt>
                <c:pt idx="4394">
                  <c:v>2.0979999999999999</c:v>
                </c:pt>
                <c:pt idx="4395">
                  <c:v>2.0129999999999999</c:v>
                </c:pt>
                <c:pt idx="4396">
                  <c:v>2.0590000000000002</c:v>
                </c:pt>
                <c:pt idx="4397">
                  <c:v>1.998</c:v>
                </c:pt>
                <c:pt idx="4398">
                  <c:v>2.1059999999999999</c:v>
                </c:pt>
                <c:pt idx="4399">
                  <c:v>2.121</c:v>
                </c:pt>
                <c:pt idx="4400">
                  <c:v>2.0590000000000002</c:v>
                </c:pt>
                <c:pt idx="4401">
                  <c:v>2.0369999999999999</c:v>
                </c:pt>
                <c:pt idx="4402">
                  <c:v>2.206</c:v>
                </c:pt>
                <c:pt idx="4403">
                  <c:v>2.1789999999999998</c:v>
                </c:pt>
                <c:pt idx="4404">
                  <c:v>2.0249999999999999</c:v>
                </c:pt>
                <c:pt idx="4405">
                  <c:v>1.768</c:v>
                </c:pt>
                <c:pt idx="4406">
                  <c:v>1.827</c:v>
                </c:pt>
                <c:pt idx="4407">
                  <c:v>1.913</c:v>
                </c:pt>
                <c:pt idx="4408">
                  <c:v>1.823</c:v>
                </c:pt>
                <c:pt idx="4409">
                  <c:v>1.78</c:v>
                </c:pt>
                <c:pt idx="4410">
                  <c:v>1.8009999999999999</c:v>
                </c:pt>
                <c:pt idx="4411">
                  <c:v>1.7210000000000001</c:v>
                </c:pt>
                <c:pt idx="4412">
                  <c:v>1.776</c:v>
                </c:pt>
                <c:pt idx="4413">
                  <c:v>1.8879999999999999</c:v>
                </c:pt>
                <c:pt idx="4414">
                  <c:v>1.7809999999999999</c:v>
                </c:pt>
                <c:pt idx="4415">
                  <c:v>1.782</c:v>
                </c:pt>
                <c:pt idx="4416">
                  <c:v>1.8149999999999999</c:v>
                </c:pt>
                <c:pt idx="4417">
                  <c:v>1.8919999999999999</c:v>
                </c:pt>
                <c:pt idx="4418">
                  <c:v>1.9670000000000001</c:v>
                </c:pt>
                <c:pt idx="4419">
                  <c:v>1.915</c:v>
                </c:pt>
                <c:pt idx="4420">
                  <c:v>1.919</c:v>
                </c:pt>
                <c:pt idx="4421">
                  <c:v>2.1480000000000001</c:v>
                </c:pt>
                <c:pt idx="4422">
                  <c:v>2.194</c:v>
                </c:pt>
                <c:pt idx="4423">
                  <c:v>2.2629999999999999</c:v>
                </c:pt>
                <c:pt idx="4424">
                  <c:v>2.2999999999999998</c:v>
                </c:pt>
                <c:pt idx="4425">
                  <c:v>2.3319999999999999</c:v>
                </c:pt>
                <c:pt idx="4426">
                  <c:v>2.2799999999999998</c:v>
                </c:pt>
                <c:pt idx="4427">
                  <c:v>2.1779999999999999</c:v>
                </c:pt>
                <c:pt idx="4428">
                  <c:v>2.1349999999999998</c:v>
                </c:pt>
                <c:pt idx="4429">
                  <c:v>2.2040000000000002</c:v>
                </c:pt>
                <c:pt idx="4430">
                  <c:v>2.1880000000000002</c:v>
                </c:pt>
                <c:pt idx="4431">
                  <c:v>2.1040000000000001</c:v>
                </c:pt>
                <c:pt idx="4432">
                  <c:v>2.016</c:v>
                </c:pt>
                <c:pt idx="4433">
                  <c:v>2.149</c:v>
                </c:pt>
                <c:pt idx="4434">
                  <c:v>2.0209999999999999</c:v>
                </c:pt>
                <c:pt idx="4435">
                  <c:v>2.028</c:v>
                </c:pt>
                <c:pt idx="4436">
                  <c:v>1.921</c:v>
                </c:pt>
                <c:pt idx="4437">
                  <c:v>1.9450000000000001</c:v>
                </c:pt>
                <c:pt idx="4438">
                  <c:v>1.8520000000000001</c:v>
                </c:pt>
                <c:pt idx="4439">
                  <c:v>1.8819999999999999</c:v>
                </c:pt>
                <c:pt idx="4440">
                  <c:v>1.9550000000000001</c:v>
                </c:pt>
                <c:pt idx="4441">
                  <c:v>1.9339999999999999</c:v>
                </c:pt>
                <c:pt idx="4442">
                  <c:v>1.944</c:v>
                </c:pt>
                <c:pt idx="4443">
                  <c:v>1.96</c:v>
                </c:pt>
                <c:pt idx="4444">
                  <c:v>1.921</c:v>
                </c:pt>
                <c:pt idx="4445">
                  <c:v>1.8939999999999999</c:v>
                </c:pt>
                <c:pt idx="4446">
                  <c:v>1.8420000000000001</c:v>
                </c:pt>
                <c:pt idx="4447">
                  <c:v>1.829</c:v>
                </c:pt>
                <c:pt idx="4448">
                  <c:v>1.905</c:v>
                </c:pt>
                <c:pt idx="4449">
                  <c:v>1.899</c:v>
                </c:pt>
                <c:pt idx="4450">
                  <c:v>1.9239999999999999</c:v>
                </c:pt>
                <c:pt idx="4451">
                  <c:v>1.863</c:v>
                </c:pt>
                <c:pt idx="4452">
                  <c:v>1.8540000000000001</c:v>
                </c:pt>
                <c:pt idx="4453">
                  <c:v>1.845</c:v>
                </c:pt>
                <c:pt idx="4454">
                  <c:v>1.8839999999999999</c:v>
                </c:pt>
                <c:pt idx="4455">
                  <c:v>1.8140000000000001</c:v>
                </c:pt>
                <c:pt idx="4456">
                  <c:v>1.835</c:v>
                </c:pt>
                <c:pt idx="4457">
                  <c:v>1.7649999999999999</c:v>
                </c:pt>
                <c:pt idx="4458">
                  <c:v>1.7689999999999999</c:v>
                </c:pt>
                <c:pt idx="4459">
                  <c:v>1.792</c:v>
                </c:pt>
                <c:pt idx="4460">
                  <c:v>1.7849999999999999</c:v>
                </c:pt>
                <c:pt idx="4461">
                  <c:v>1.86</c:v>
                </c:pt>
                <c:pt idx="4462">
                  <c:v>1.929</c:v>
                </c:pt>
                <c:pt idx="4463">
                  <c:v>1.9710000000000001</c:v>
                </c:pt>
                <c:pt idx="4464">
                  <c:v>1.9930000000000001</c:v>
                </c:pt>
                <c:pt idx="4465">
                  <c:v>1.9450000000000001</c:v>
                </c:pt>
                <c:pt idx="4466">
                  <c:v>1.871</c:v>
                </c:pt>
                <c:pt idx="4467">
                  <c:v>1.8580000000000001</c:v>
                </c:pt>
                <c:pt idx="4468">
                  <c:v>1.7929999999999999</c:v>
                </c:pt>
                <c:pt idx="4469">
                  <c:v>1.7869999999999999</c:v>
                </c:pt>
                <c:pt idx="4470">
                  <c:v>1.8520000000000001</c:v>
                </c:pt>
                <c:pt idx="4471">
                  <c:v>1.8520000000000001</c:v>
                </c:pt>
                <c:pt idx="4472">
                  <c:v>1.9330000000000001</c:v>
                </c:pt>
                <c:pt idx="4473">
                  <c:v>1.887</c:v>
                </c:pt>
                <c:pt idx="4474">
                  <c:v>1.9630000000000001</c:v>
                </c:pt>
                <c:pt idx="4475">
                  <c:v>1.9830000000000001</c:v>
                </c:pt>
                <c:pt idx="4476">
                  <c:v>2.016</c:v>
                </c:pt>
                <c:pt idx="4477">
                  <c:v>1.907</c:v>
                </c:pt>
                <c:pt idx="4478">
                  <c:v>1.931</c:v>
                </c:pt>
                <c:pt idx="4479">
                  <c:v>1.9019999999999999</c:v>
                </c:pt>
                <c:pt idx="4480">
                  <c:v>1.861</c:v>
                </c:pt>
                <c:pt idx="4481">
                  <c:v>1.8959999999999999</c:v>
                </c:pt>
                <c:pt idx="4482">
                  <c:v>1.925</c:v>
                </c:pt>
                <c:pt idx="4483">
                  <c:v>1.9610000000000001</c:v>
                </c:pt>
                <c:pt idx="4484">
                  <c:v>1.982</c:v>
                </c:pt>
                <c:pt idx="4485">
                  <c:v>1.8919999999999999</c:v>
                </c:pt>
                <c:pt idx="4486">
                  <c:v>1.883</c:v>
                </c:pt>
                <c:pt idx="4487">
                  <c:v>1.8839999999999999</c:v>
                </c:pt>
                <c:pt idx="4488">
                  <c:v>1.829</c:v>
                </c:pt>
                <c:pt idx="4489">
                  <c:v>1.8009999999999999</c:v>
                </c:pt>
                <c:pt idx="4490">
                  <c:v>1.8180000000000001</c:v>
                </c:pt>
                <c:pt idx="4491">
                  <c:v>1.865</c:v>
                </c:pt>
                <c:pt idx="4492">
                  <c:v>1.8</c:v>
                </c:pt>
                <c:pt idx="4493">
                  <c:v>1.8260000000000001</c:v>
                </c:pt>
                <c:pt idx="4494">
                  <c:v>1.7769999999999999</c:v>
                </c:pt>
                <c:pt idx="4495">
                  <c:v>1.772</c:v>
                </c:pt>
                <c:pt idx="4496">
                  <c:v>1.798</c:v>
                </c:pt>
                <c:pt idx="4497">
                  <c:v>1.794</c:v>
                </c:pt>
                <c:pt idx="4498">
                  <c:v>1.7569999999999999</c:v>
                </c:pt>
                <c:pt idx="4499">
                  <c:v>1.821</c:v>
                </c:pt>
                <c:pt idx="4500">
                  <c:v>1.954</c:v>
                </c:pt>
                <c:pt idx="4501">
                  <c:v>1.968</c:v>
                </c:pt>
                <c:pt idx="4502">
                  <c:v>2.0499999999999998</c:v>
                </c:pt>
                <c:pt idx="4503">
                  <c:v>2.056</c:v>
                </c:pt>
                <c:pt idx="4504">
                  <c:v>2.0409999999999999</c:v>
                </c:pt>
                <c:pt idx="4505">
                  <c:v>1.9790000000000001</c:v>
                </c:pt>
                <c:pt idx="4506">
                  <c:v>1.9119999999999999</c:v>
                </c:pt>
                <c:pt idx="4507">
                  <c:v>1.865</c:v>
                </c:pt>
                <c:pt idx="4508">
                  <c:v>1.954</c:v>
                </c:pt>
                <c:pt idx="4509">
                  <c:v>1.889</c:v>
                </c:pt>
                <c:pt idx="4510">
                  <c:v>1.8320000000000001</c:v>
                </c:pt>
                <c:pt idx="4511">
                  <c:v>1.8080000000000001</c:v>
                </c:pt>
                <c:pt idx="4512">
                  <c:v>1.794</c:v>
                </c:pt>
                <c:pt idx="4513">
                  <c:v>1.804</c:v>
                </c:pt>
                <c:pt idx="4514">
                  <c:v>1.804</c:v>
                </c:pt>
                <c:pt idx="4515">
                  <c:v>1.788</c:v>
                </c:pt>
                <c:pt idx="4516">
                  <c:v>1.7350000000000001</c:v>
                </c:pt>
                <c:pt idx="4517">
                  <c:v>1.643</c:v>
                </c:pt>
                <c:pt idx="4518">
                  <c:v>1.7809999999999999</c:v>
                </c:pt>
                <c:pt idx="4519">
                  <c:v>1.788</c:v>
                </c:pt>
                <c:pt idx="4520">
                  <c:v>1.7350000000000001</c:v>
                </c:pt>
                <c:pt idx="4521">
                  <c:v>1.7170000000000001</c:v>
                </c:pt>
                <c:pt idx="4522">
                  <c:v>1.75</c:v>
                </c:pt>
                <c:pt idx="4523">
                  <c:v>1.72</c:v>
                </c:pt>
                <c:pt idx="4524">
                  <c:v>1.6919999999999999</c:v>
                </c:pt>
                <c:pt idx="4525">
                  <c:v>1.7090000000000001</c:v>
                </c:pt>
                <c:pt idx="4526">
                  <c:v>1.6439999999999999</c:v>
                </c:pt>
                <c:pt idx="4527">
                  <c:v>1.698</c:v>
                </c:pt>
                <c:pt idx="4528">
                  <c:v>1.7410000000000001</c:v>
                </c:pt>
                <c:pt idx="4529">
                  <c:v>1.6830000000000001</c:v>
                </c:pt>
                <c:pt idx="4530">
                  <c:v>1.6990000000000001</c:v>
                </c:pt>
                <c:pt idx="4531">
                  <c:v>1.663</c:v>
                </c:pt>
                <c:pt idx="4532">
                  <c:v>1.609</c:v>
                </c:pt>
                <c:pt idx="4533">
                  <c:v>1.6120000000000001</c:v>
                </c:pt>
                <c:pt idx="4534">
                  <c:v>1.5840000000000001</c:v>
                </c:pt>
                <c:pt idx="4535">
                  <c:v>1.605</c:v>
                </c:pt>
                <c:pt idx="4536">
                  <c:v>1.542</c:v>
                </c:pt>
                <c:pt idx="4537">
                  <c:v>1.518</c:v>
                </c:pt>
                <c:pt idx="4538">
                  <c:v>1.5389999999999999</c:v>
                </c:pt>
                <c:pt idx="4539">
                  <c:v>1.516</c:v>
                </c:pt>
                <c:pt idx="4540">
                  <c:v>1.4570000000000001</c:v>
                </c:pt>
                <c:pt idx="4541">
                  <c:v>1.47</c:v>
                </c:pt>
                <c:pt idx="4542">
                  <c:v>1.47</c:v>
                </c:pt>
                <c:pt idx="4543">
                  <c:v>1.413</c:v>
                </c:pt>
                <c:pt idx="4544">
                  <c:v>1.4259999999999999</c:v>
                </c:pt>
                <c:pt idx="4545">
                  <c:v>1.431</c:v>
                </c:pt>
                <c:pt idx="4546">
                  <c:v>1.468</c:v>
                </c:pt>
                <c:pt idx="4547">
                  <c:v>1.3839999999999999</c:v>
                </c:pt>
                <c:pt idx="4548">
                  <c:v>1.391</c:v>
                </c:pt>
                <c:pt idx="4549">
                  <c:v>1.37</c:v>
                </c:pt>
                <c:pt idx="4550">
                  <c:v>1.3640000000000001</c:v>
                </c:pt>
                <c:pt idx="4551">
                  <c:v>1.359</c:v>
                </c:pt>
                <c:pt idx="4552">
                  <c:v>1.2689999999999999</c:v>
                </c:pt>
                <c:pt idx="4553">
                  <c:v>1.2</c:v>
                </c:pt>
                <c:pt idx="4554">
                  <c:v>1.1719999999999999</c:v>
                </c:pt>
                <c:pt idx="4555">
                  <c:v>1.208</c:v>
                </c:pt>
                <c:pt idx="4556">
                  <c:v>1.208</c:v>
                </c:pt>
                <c:pt idx="4557">
                  <c:v>1.335</c:v>
                </c:pt>
                <c:pt idx="4558">
                  <c:v>1.375</c:v>
                </c:pt>
                <c:pt idx="4559">
                  <c:v>1.329</c:v>
                </c:pt>
                <c:pt idx="4560">
                  <c:v>1.3049999999999999</c:v>
                </c:pt>
                <c:pt idx="4561">
                  <c:v>1.4239999999999999</c:v>
                </c:pt>
                <c:pt idx="4562">
                  <c:v>1.488</c:v>
                </c:pt>
                <c:pt idx="4563">
                  <c:v>1.4870000000000001</c:v>
                </c:pt>
                <c:pt idx="4564">
                  <c:v>1.4370000000000001</c:v>
                </c:pt>
                <c:pt idx="4565">
                  <c:v>1.4119999999999999</c:v>
                </c:pt>
                <c:pt idx="4566">
                  <c:v>1.5309999999999999</c:v>
                </c:pt>
                <c:pt idx="4567">
                  <c:v>1.615</c:v>
                </c:pt>
                <c:pt idx="4568">
                  <c:v>1.534</c:v>
                </c:pt>
                <c:pt idx="4569">
                  <c:v>1.581</c:v>
                </c:pt>
                <c:pt idx="4570">
                  <c:v>1.4630000000000001</c:v>
                </c:pt>
                <c:pt idx="4571">
                  <c:v>1.5049999999999999</c:v>
                </c:pt>
                <c:pt idx="4572">
                  <c:v>1.5669999999999999</c:v>
                </c:pt>
                <c:pt idx="4573">
                  <c:v>1.5129999999999999</c:v>
                </c:pt>
                <c:pt idx="4574">
                  <c:v>1.583</c:v>
                </c:pt>
                <c:pt idx="4575">
                  <c:v>1.5189999999999999</c:v>
                </c:pt>
                <c:pt idx="4576">
                  <c:v>1.5329999999999999</c:v>
                </c:pt>
                <c:pt idx="4577">
                  <c:v>1.454</c:v>
                </c:pt>
                <c:pt idx="4578">
                  <c:v>1.3819999999999999</c:v>
                </c:pt>
                <c:pt idx="4579">
                  <c:v>1.327</c:v>
                </c:pt>
                <c:pt idx="4580">
                  <c:v>1.321</c:v>
                </c:pt>
                <c:pt idx="4581">
                  <c:v>1.321</c:v>
                </c:pt>
                <c:pt idx="4582">
                  <c:v>1.2709999999999999</c:v>
                </c:pt>
                <c:pt idx="4583">
                  <c:v>1.2490000000000001</c:v>
                </c:pt>
                <c:pt idx="4584">
                  <c:v>1.26</c:v>
                </c:pt>
                <c:pt idx="4585">
                  <c:v>1.232</c:v>
                </c:pt>
                <c:pt idx="4586">
                  <c:v>1.232</c:v>
                </c:pt>
                <c:pt idx="4587">
                  <c:v>1.1990000000000001</c:v>
                </c:pt>
                <c:pt idx="4588">
                  <c:v>1.2170000000000001</c:v>
                </c:pt>
                <c:pt idx="4589">
                  <c:v>1.167</c:v>
                </c:pt>
                <c:pt idx="4590">
                  <c:v>1.175</c:v>
                </c:pt>
                <c:pt idx="4591">
                  <c:v>1.236</c:v>
                </c:pt>
                <c:pt idx="4592">
                  <c:v>1.262</c:v>
                </c:pt>
                <c:pt idx="4593">
                  <c:v>1.321</c:v>
                </c:pt>
                <c:pt idx="4594">
                  <c:v>1.3979999999999999</c:v>
                </c:pt>
                <c:pt idx="4595">
                  <c:v>1.375</c:v>
                </c:pt>
                <c:pt idx="4596">
                  <c:v>1.2849999999999999</c:v>
                </c:pt>
                <c:pt idx="4597">
                  <c:v>1.3680000000000001</c:v>
                </c:pt>
                <c:pt idx="4598">
                  <c:v>1.2270000000000001</c:v>
                </c:pt>
                <c:pt idx="4599">
                  <c:v>1.4239999999999999</c:v>
                </c:pt>
                <c:pt idx="4600">
                  <c:v>1.3959999999999999</c:v>
                </c:pt>
                <c:pt idx="4601">
                  <c:v>1.4850000000000001</c:v>
                </c:pt>
                <c:pt idx="4602">
                  <c:v>1.421</c:v>
                </c:pt>
                <c:pt idx="4603">
                  <c:v>1.4339999999999999</c:v>
                </c:pt>
                <c:pt idx="4604">
                  <c:v>1.385</c:v>
                </c:pt>
                <c:pt idx="4605">
                  <c:v>1.4019999999999999</c:v>
                </c:pt>
                <c:pt idx="4606">
                  <c:v>1.468</c:v>
                </c:pt>
                <c:pt idx="4607">
                  <c:v>1.5629999999999999</c:v>
                </c:pt>
                <c:pt idx="4608">
                  <c:v>1.526</c:v>
                </c:pt>
                <c:pt idx="4609">
                  <c:v>1.496</c:v>
                </c:pt>
                <c:pt idx="4610">
                  <c:v>1.5089999999999999</c:v>
                </c:pt>
                <c:pt idx="4611">
                  <c:v>1.5569999999999999</c:v>
                </c:pt>
                <c:pt idx="4612">
                  <c:v>1.4610000000000001</c:v>
                </c:pt>
                <c:pt idx="4613">
                  <c:v>1.377</c:v>
                </c:pt>
                <c:pt idx="4614">
                  <c:v>1.355</c:v>
                </c:pt>
                <c:pt idx="4615">
                  <c:v>1.3520000000000001</c:v>
                </c:pt>
                <c:pt idx="4616">
                  <c:v>1.341</c:v>
                </c:pt>
                <c:pt idx="4617">
                  <c:v>1.38</c:v>
                </c:pt>
                <c:pt idx="4618">
                  <c:v>1.3220000000000001</c:v>
                </c:pt>
                <c:pt idx="4619">
                  <c:v>1.3340000000000001</c:v>
                </c:pt>
                <c:pt idx="4620">
                  <c:v>1.3779999999999999</c:v>
                </c:pt>
                <c:pt idx="4621">
                  <c:v>1.391</c:v>
                </c:pt>
                <c:pt idx="4622">
                  <c:v>1.4790000000000001</c:v>
                </c:pt>
                <c:pt idx="4623">
                  <c:v>1.5589999999999999</c:v>
                </c:pt>
                <c:pt idx="4624">
                  <c:v>1.5189999999999999</c:v>
                </c:pt>
                <c:pt idx="4625">
                  <c:v>1.5469999999999999</c:v>
                </c:pt>
                <c:pt idx="4626">
                  <c:v>1.5429999999999999</c:v>
                </c:pt>
                <c:pt idx="4627">
                  <c:v>1.617</c:v>
                </c:pt>
                <c:pt idx="4628">
                  <c:v>1.554</c:v>
                </c:pt>
                <c:pt idx="4629">
                  <c:v>1.706</c:v>
                </c:pt>
                <c:pt idx="4630">
                  <c:v>1.6719999999999999</c:v>
                </c:pt>
                <c:pt idx="4631">
                  <c:v>1.637</c:v>
                </c:pt>
                <c:pt idx="4632">
                  <c:v>1.6220000000000001</c:v>
                </c:pt>
                <c:pt idx="4633">
                  <c:v>1.5740000000000001</c:v>
                </c:pt>
                <c:pt idx="4634">
                  <c:v>1.5960000000000001</c:v>
                </c:pt>
                <c:pt idx="4635">
                  <c:v>1.5589999999999999</c:v>
                </c:pt>
                <c:pt idx="4636">
                  <c:v>1.5840000000000001</c:v>
                </c:pt>
                <c:pt idx="4637">
                  <c:v>1.456</c:v>
                </c:pt>
                <c:pt idx="4638">
                  <c:v>1.4570000000000001</c:v>
                </c:pt>
                <c:pt idx="4639">
                  <c:v>1.4419999999999999</c:v>
                </c:pt>
                <c:pt idx="4640">
                  <c:v>1.45</c:v>
                </c:pt>
                <c:pt idx="4641">
                  <c:v>1.456</c:v>
                </c:pt>
                <c:pt idx="4642">
                  <c:v>1.446</c:v>
                </c:pt>
                <c:pt idx="4643">
                  <c:v>1.446</c:v>
                </c:pt>
                <c:pt idx="4644">
                  <c:v>1.52</c:v>
                </c:pt>
                <c:pt idx="4645">
                  <c:v>1.4750000000000001</c:v>
                </c:pt>
                <c:pt idx="4646">
                  <c:v>1.474</c:v>
                </c:pt>
                <c:pt idx="4647">
                  <c:v>1.4890000000000001</c:v>
                </c:pt>
                <c:pt idx="4648">
                  <c:v>1.502</c:v>
                </c:pt>
                <c:pt idx="4649">
                  <c:v>1.4450000000000001</c:v>
                </c:pt>
                <c:pt idx="4650">
                  <c:v>1.472</c:v>
                </c:pt>
                <c:pt idx="4651">
                  <c:v>1.5429999999999999</c:v>
                </c:pt>
                <c:pt idx="4652">
                  <c:v>1.6339999999999999</c:v>
                </c:pt>
                <c:pt idx="4653">
                  <c:v>1.633</c:v>
                </c:pt>
                <c:pt idx="4654">
                  <c:v>1.5940000000000001</c:v>
                </c:pt>
                <c:pt idx="4655">
                  <c:v>1.6180000000000001</c:v>
                </c:pt>
                <c:pt idx="4656">
                  <c:v>1.5720000000000001</c:v>
                </c:pt>
                <c:pt idx="4657">
                  <c:v>1.556</c:v>
                </c:pt>
                <c:pt idx="4658">
                  <c:v>1.583</c:v>
                </c:pt>
                <c:pt idx="4659">
                  <c:v>1.5369999999999999</c:v>
                </c:pt>
                <c:pt idx="4660">
                  <c:v>1.458</c:v>
                </c:pt>
                <c:pt idx="4661">
                  <c:v>1.478</c:v>
                </c:pt>
                <c:pt idx="4662">
                  <c:v>1.462</c:v>
                </c:pt>
                <c:pt idx="4663">
                  <c:v>1.4550000000000001</c:v>
                </c:pt>
                <c:pt idx="4664">
                  <c:v>1.45</c:v>
                </c:pt>
                <c:pt idx="4665">
                  <c:v>1.4279999999999999</c:v>
                </c:pt>
                <c:pt idx="4666">
                  <c:v>1.4390000000000001</c:v>
                </c:pt>
                <c:pt idx="4667">
                  <c:v>1.38</c:v>
                </c:pt>
                <c:pt idx="4668">
                  <c:v>1.3640000000000001</c:v>
                </c:pt>
                <c:pt idx="4669">
                  <c:v>1.3480000000000001</c:v>
                </c:pt>
                <c:pt idx="4670">
                  <c:v>1.3440000000000001</c:v>
                </c:pt>
                <c:pt idx="4671">
                  <c:v>1.3380000000000001</c:v>
                </c:pt>
                <c:pt idx="4672">
                  <c:v>1.341</c:v>
                </c:pt>
                <c:pt idx="4673">
                  <c:v>1.3380000000000001</c:v>
                </c:pt>
                <c:pt idx="4674">
                  <c:v>1.331</c:v>
                </c:pt>
                <c:pt idx="4675">
                  <c:v>1.355</c:v>
                </c:pt>
                <c:pt idx="4676">
                  <c:v>1.417</c:v>
                </c:pt>
                <c:pt idx="4677">
                  <c:v>1.431</c:v>
                </c:pt>
                <c:pt idx="4678">
                  <c:v>1.431</c:v>
                </c:pt>
                <c:pt idx="4679">
                  <c:v>1.4359999999999999</c:v>
                </c:pt>
                <c:pt idx="4680">
                  <c:v>1.4139999999999999</c:v>
                </c:pt>
                <c:pt idx="4681">
                  <c:v>1.44</c:v>
                </c:pt>
                <c:pt idx="4682">
                  <c:v>1.3680000000000001</c:v>
                </c:pt>
                <c:pt idx="4683">
                  <c:v>1.3660000000000001</c:v>
                </c:pt>
                <c:pt idx="4684">
                  <c:v>1.3859999999999999</c:v>
                </c:pt>
                <c:pt idx="4685">
                  <c:v>1.409</c:v>
                </c:pt>
                <c:pt idx="4686">
                  <c:v>1.3939999999999999</c:v>
                </c:pt>
                <c:pt idx="4687">
                  <c:v>1.3480000000000001</c:v>
                </c:pt>
                <c:pt idx="4688">
                  <c:v>1.296</c:v>
                </c:pt>
                <c:pt idx="4689">
                  <c:v>1.2949999999999999</c:v>
                </c:pt>
                <c:pt idx="4690">
                  <c:v>1.306</c:v>
                </c:pt>
                <c:pt idx="4691">
                  <c:v>1.319</c:v>
                </c:pt>
                <c:pt idx="4692">
                  <c:v>1.335</c:v>
                </c:pt>
                <c:pt idx="4693">
                  <c:v>1.353</c:v>
                </c:pt>
                <c:pt idx="4694">
                  <c:v>1.3480000000000001</c:v>
                </c:pt>
                <c:pt idx="4695">
                  <c:v>1.3720000000000001</c:v>
                </c:pt>
                <c:pt idx="4696">
                  <c:v>1.41</c:v>
                </c:pt>
                <c:pt idx="4697">
                  <c:v>1.43</c:v>
                </c:pt>
                <c:pt idx="4698">
                  <c:v>1.4159999999999999</c:v>
                </c:pt>
                <c:pt idx="4699">
                  <c:v>1.3759999999999999</c:v>
                </c:pt>
                <c:pt idx="4700">
                  <c:v>1.3149999999999999</c:v>
                </c:pt>
                <c:pt idx="4701">
                  <c:v>1.31</c:v>
                </c:pt>
                <c:pt idx="4702">
                  <c:v>1.3160000000000001</c:v>
                </c:pt>
                <c:pt idx="4703">
                  <c:v>1.4419999999999999</c:v>
                </c:pt>
                <c:pt idx="4704">
                  <c:v>1.4790000000000001</c:v>
                </c:pt>
                <c:pt idx="4705">
                  <c:v>1.536</c:v>
                </c:pt>
                <c:pt idx="4706">
                  <c:v>1.5149999999999999</c:v>
                </c:pt>
                <c:pt idx="4707">
                  <c:v>1.4910000000000001</c:v>
                </c:pt>
                <c:pt idx="4708">
                  <c:v>1.4770000000000001</c:v>
                </c:pt>
                <c:pt idx="4709">
                  <c:v>1.56</c:v>
                </c:pt>
                <c:pt idx="4710">
                  <c:v>1.583</c:v>
                </c:pt>
                <c:pt idx="4711">
                  <c:v>1.5509999999999999</c:v>
                </c:pt>
                <c:pt idx="4712">
                  <c:v>1.5089999999999999</c:v>
                </c:pt>
                <c:pt idx="4713">
                  <c:v>1.5649999999999999</c:v>
                </c:pt>
                <c:pt idx="4714">
                  <c:v>1.607</c:v>
                </c:pt>
                <c:pt idx="4715">
                  <c:v>1.5549999999999999</c:v>
                </c:pt>
                <c:pt idx="4716">
                  <c:v>1.593</c:v>
                </c:pt>
                <c:pt idx="4717">
                  <c:v>1.5720000000000001</c:v>
                </c:pt>
                <c:pt idx="4718">
                  <c:v>1.544</c:v>
                </c:pt>
                <c:pt idx="4719">
                  <c:v>1.5720000000000001</c:v>
                </c:pt>
                <c:pt idx="4720">
                  <c:v>1.6359999999999999</c:v>
                </c:pt>
                <c:pt idx="4721">
                  <c:v>1.6930000000000001</c:v>
                </c:pt>
                <c:pt idx="4722">
                  <c:v>1.69</c:v>
                </c:pt>
                <c:pt idx="4723">
                  <c:v>1.7110000000000001</c:v>
                </c:pt>
                <c:pt idx="4724">
                  <c:v>1.68</c:v>
                </c:pt>
                <c:pt idx="4725">
                  <c:v>1.6719999999999999</c:v>
                </c:pt>
                <c:pt idx="4726">
                  <c:v>1.611</c:v>
                </c:pt>
                <c:pt idx="4727">
                  <c:v>1.651</c:v>
                </c:pt>
                <c:pt idx="4728">
                  <c:v>1.63</c:v>
                </c:pt>
                <c:pt idx="4729">
                  <c:v>1.6040000000000001</c:v>
                </c:pt>
                <c:pt idx="4730">
                  <c:v>1.609</c:v>
                </c:pt>
                <c:pt idx="4731">
                  <c:v>1.609</c:v>
                </c:pt>
                <c:pt idx="4732">
                  <c:v>1.629</c:v>
                </c:pt>
                <c:pt idx="4733">
                  <c:v>1.671</c:v>
                </c:pt>
                <c:pt idx="4734">
                  <c:v>1.643</c:v>
                </c:pt>
                <c:pt idx="4735">
                  <c:v>1.6519999999999999</c:v>
                </c:pt>
                <c:pt idx="4736">
                  <c:v>1.629</c:v>
                </c:pt>
                <c:pt idx="4737">
                  <c:v>1.6220000000000001</c:v>
                </c:pt>
                <c:pt idx="4738">
                  <c:v>1.6539999999999999</c:v>
                </c:pt>
                <c:pt idx="4739">
                  <c:v>1.573</c:v>
                </c:pt>
                <c:pt idx="4740">
                  <c:v>1.5680000000000001</c:v>
                </c:pt>
                <c:pt idx="4741">
                  <c:v>1.556</c:v>
                </c:pt>
                <c:pt idx="4742">
                  <c:v>1.4530000000000001</c:v>
                </c:pt>
                <c:pt idx="4743">
                  <c:v>1.4510000000000001</c:v>
                </c:pt>
                <c:pt idx="4744">
                  <c:v>1.454</c:v>
                </c:pt>
                <c:pt idx="4745">
                  <c:v>1.41</c:v>
                </c:pt>
                <c:pt idx="4746">
                  <c:v>1.4179999999999999</c:v>
                </c:pt>
                <c:pt idx="4747">
                  <c:v>1.45</c:v>
                </c:pt>
                <c:pt idx="4748">
                  <c:v>1.4570000000000001</c:v>
                </c:pt>
                <c:pt idx="4749">
                  <c:v>1.492</c:v>
                </c:pt>
                <c:pt idx="4750">
                  <c:v>1.5249999999999999</c:v>
                </c:pt>
                <c:pt idx="4751">
                  <c:v>1.516</c:v>
                </c:pt>
                <c:pt idx="4752">
                  <c:v>1.4810000000000001</c:v>
                </c:pt>
                <c:pt idx="4753">
                  <c:v>1.4810000000000001</c:v>
                </c:pt>
                <c:pt idx="4754">
                  <c:v>1.4730000000000001</c:v>
                </c:pt>
                <c:pt idx="4755">
                  <c:v>1.4550000000000001</c:v>
                </c:pt>
                <c:pt idx="4756">
                  <c:v>1.407</c:v>
                </c:pt>
                <c:pt idx="4757">
                  <c:v>1.3460000000000001</c:v>
                </c:pt>
                <c:pt idx="4758">
                  <c:v>1.387</c:v>
                </c:pt>
                <c:pt idx="4759">
                  <c:v>1.365</c:v>
                </c:pt>
                <c:pt idx="4760">
                  <c:v>1.379</c:v>
                </c:pt>
                <c:pt idx="4761">
                  <c:v>1.327</c:v>
                </c:pt>
                <c:pt idx="4762">
                  <c:v>1.345</c:v>
                </c:pt>
                <c:pt idx="4763">
                  <c:v>1.27</c:v>
                </c:pt>
                <c:pt idx="4764">
                  <c:v>1.2889999999999999</c:v>
                </c:pt>
                <c:pt idx="4765">
                  <c:v>1.3069999999999999</c:v>
                </c:pt>
                <c:pt idx="4766">
                  <c:v>1.288</c:v>
                </c:pt>
                <c:pt idx="4767">
                  <c:v>1.2390000000000001</c:v>
                </c:pt>
                <c:pt idx="4768">
                  <c:v>1.212</c:v>
                </c:pt>
                <c:pt idx="4769">
                  <c:v>1.2370000000000001</c:v>
                </c:pt>
                <c:pt idx="4770">
                  <c:v>1.26</c:v>
                </c:pt>
                <c:pt idx="4771">
                  <c:v>1.304</c:v>
                </c:pt>
                <c:pt idx="4772">
                  <c:v>1.3009999999999999</c:v>
                </c:pt>
                <c:pt idx="4773">
                  <c:v>1.26</c:v>
                </c:pt>
                <c:pt idx="4774">
                  <c:v>1.2450000000000001</c:v>
                </c:pt>
                <c:pt idx="4775">
                  <c:v>1.2769999999999999</c:v>
                </c:pt>
                <c:pt idx="4776">
                  <c:v>1.228</c:v>
                </c:pt>
                <c:pt idx="4777">
                  <c:v>1.226</c:v>
                </c:pt>
                <c:pt idx="4778">
                  <c:v>1.2509999999999999</c:v>
                </c:pt>
                <c:pt idx="4779">
                  <c:v>1.232</c:v>
                </c:pt>
                <c:pt idx="4780">
                  <c:v>1.26</c:v>
                </c:pt>
                <c:pt idx="4781">
                  <c:v>1.238</c:v>
                </c:pt>
                <c:pt idx="4782">
                  <c:v>1.238</c:v>
                </c:pt>
                <c:pt idx="4783">
                  <c:v>1.206</c:v>
                </c:pt>
                <c:pt idx="4784">
                  <c:v>1.204</c:v>
                </c:pt>
                <c:pt idx="4785">
                  <c:v>1.216</c:v>
                </c:pt>
                <c:pt idx="4786">
                  <c:v>1.165</c:v>
                </c:pt>
                <c:pt idx="4787">
                  <c:v>1.24</c:v>
                </c:pt>
                <c:pt idx="4788">
                  <c:v>1.2430000000000001</c:v>
                </c:pt>
                <c:pt idx="4789">
                  <c:v>1.298</c:v>
                </c:pt>
                <c:pt idx="4790">
                  <c:v>1.2689999999999999</c:v>
                </c:pt>
                <c:pt idx="4791">
                  <c:v>1.27</c:v>
                </c:pt>
                <c:pt idx="4792">
                  <c:v>1.38</c:v>
                </c:pt>
                <c:pt idx="4793">
                  <c:v>1.3560000000000001</c:v>
                </c:pt>
                <c:pt idx="4794">
                  <c:v>1.3740000000000001</c:v>
                </c:pt>
                <c:pt idx="4795">
                  <c:v>1.3819999999999999</c:v>
                </c:pt>
                <c:pt idx="4796">
                  <c:v>1.331</c:v>
                </c:pt>
                <c:pt idx="4797">
                  <c:v>1.3260000000000001</c:v>
                </c:pt>
                <c:pt idx="4798">
                  <c:v>1.3759999999999999</c:v>
                </c:pt>
                <c:pt idx="4799">
                  <c:v>1.391</c:v>
                </c:pt>
                <c:pt idx="4800">
                  <c:v>1.427</c:v>
                </c:pt>
                <c:pt idx="4801">
                  <c:v>1.444</c:v>
                </c:pt>
                <c:pt idx="4802">
                  <c:v>1.431</c:v>
                </c:pt>
                <c:pt idx="4803">
                  <c:v>1.4570000000000001</c:v>
                </c:pt>
                <c:pt idx="4804">
                  <c:v>1.498</c:v>
                </c:pt>
                <c:pt idx="4805">
                  <c:v>1.5329999999999999</c:v>
                </c:pt>
                <c:pt idx="4806">
                  <c:v>1.5169999999999999</c:v>
                </c:pt>
                <c:pt idx="4807">
                  <c:v>1.5049999999999999</c:v>
                </c:pt>
                <c:pt idx="4808">
                  <c:v>1.522</c:v>
                </c:pt>
                <c:pt idx="4809">
                  <c:v>1.5429999999999999</c:v>
                </c:pt>
                <c:pt idx="4810">
                  <c:v>1.5109999999999999</c:v>
                </c:pt>
                <c:pt idx="4811">
                  <c:v>1.5209999999999999</c:v>
                </c:pt>
                <c:pt idx="4812">
                  <c:v>1.546</c:v>
                </c:pt>
                <c:pt idx="4813">
                  <c:v>1.601</c:v>
                </c:pt>
                <c:pt idx="4814">
                  <c:v>1.6</c:v>
                </c:pt>
                <c:pt idx="4815">
                  <c:v>1.585</c:v>
                </c:pt>
                <c:pt idx="4816">
                  <c:v>1.5609999999999999</c:v>
                </c:pt>
                <c:pt idx="4817">
                  <c:v>1.514</c:v>
                </c:pt>
                <c:pt idx="4818">
                  <c:v>1.5209999999999999</c:v>
                </c:pt>
                <c:pt idx="4819">
                  <c:v>1.57</c:v>
                </c:pt>
                <c:pt idx="4820">
                  <c:v>1.5580000000000001</c:v>
                </c:pt>
                <c:pt idx="4821">
                  <c:v>1.665</c:v>
                </c:pt>
                <c:pt idx="4822">
                  <c:v>1.7250000000000001</c:v>
                </c:pt>
                <c:pt idx="4823">
                  <c:v>1.8109999999999999</c:v>
                </c:pt>
                <c:pt idx="4824">
                  <c:v>1.804</c:v>
                </c:pt>
                <c:pt idx="4825">
                  <c:v>1.7669999999999999</c:v>
                </c:pt>
                <c:pt idx="4826">
                  <c:v>1.7250000000000001</c:v>
                </c:pt>
                <c:pt idx="4827">
                  <c:v>1.728</c:v>
                </c:pt>
                <c:pt idx="4828">
                  <c:v>1.72</c:v>
                </c:pt>
                <c:pt idx="4829">
                  <c:v>1.704</c:v>
                </c:pt>
                <c:pt idx="4830">
                  <c:v>1.66</c:v>
                </c:pt>
                <c:pt idx="4831">
                  <c:v>1.6479999999999999</c:v>
                </c:pt>
                <c:pt idx="4832">
                  <c:v>1.7190000000000001</c:v>
                </c:pt>
                <c:pt idx="4833">
                  <c:v>1.698</c:v>
                </c:pt>
                <c:pt idx="4834">
                  <c:v>1.653</c:v>
                </c:pt>
                <c:pt idx="4835">
                  <c:v>1.6579999999999999</c:v>
                </c:pt>
                <c:pt idx="4836">
                  <c:v>1.623</c:v>
                </c:pt>
                <c:pt idx="4837">
                  <c:v>1.56</c:v>
                </c:pt>
                <c:pt idx="4838">
                  <c:v>1.5780000000000001</c:v>
                </c:pt>
                <c:pt idx="4839">
                  <c:v>1.55</c:v>
                </c:pt>
                <c:pt idx="4840">
                  <c:v>1.542</c:v>
                </c:pt>
                <c:pt idx="4841">
                  <c:v>1.5189999999999999</c:v>
                </c:pt>
                <c:pt idx="4842">
                  <c:v>1.5189999999999999</c:v>
                </c:pt>
                <c:pt idx="4843">
                  <c:v>1.5149999999999999</c:v>
                </c:pt>
                <c:pt idx="4844">
                  <c:v>1.5509999999999999</c:v>
                </c:pt>
                <c:pt idx="4845">
                  <c:v>1.6459999999999999</c:v>
                </c:pt>
                <c:pt idx="4846">
                  <c:v>1.671</c:v>
                </c:pt>
                <c:pt idx="4847">
                  <c:v>1.665</c:v>
                </c:pt>
                <c:pt idx="4848">
                  <c:v>1.6639999999999999</c:v>
                </c:pt>
                <c:pt idx="4849">
                  <c:v>1.6679999999999999</c:v>
                </c:pt>
                <c:pt idx="4850">
                  <c:v>1.67</c:v>
                </c:pt>
                <c:pt idx="4851">
                  <c:v>1.667</c:v>
                </c:pt>
                <c:pt idx="4852">
                  <c:v>1.651</c:v>
                </c:pt>
                <c:pt idx="4853">
                  <c:v>1.6870000000000001</c:v>
                </c:pt>
                <c:pt idx="4854">
                  <c:v>1.702</c:v>
                </c:pt>
                <c:pt idx="4855">
                  <c:v>1.6870000000000001</c:v>
                </c:pt>
                <c:pt idx="4856">
                  <c:v>1.6859999999999999</c:v>
                </c:pt>
                <c:pt idx="4857">
                  <c:v>1.68</c:v>
                </c:pt>
                <c:pt idx="4858">
                  <c:v>1.702</c:v>
                </c:pt>
                <c:pt idx="4859">
                  <c:v>1.8080000000000001</c:v>
                </c:pt>
                <c:pt idx="4860">
                  <c:v>1.8220000000000001</c:v>
                </c:pt>
                <c:pt idx="4861">
                  <c:v>1.883</c:v>
                </c:pt>
                <c:pt idx="4862">
                  <c:v>1.881</c:v>
                </c:pt>
                <c:pt idx="4863">
                  <c:v>1.897</c:v>
                </c:pt>
                <c:pt idx="4864">
                  <c:v>1.841</c:v>
                </c:pt>
                <c:pt idx="4865">
                  <c:v>1.871</c:v>
                </c:pt>
                <c:pt idx="4866">
                  <c:v>1.92</c:v>
                </c:pt>
                <c:pt idx="4867">
                  <c:v>1.9350000000000001</c:v>
                </c:pt>
                <c:pt idx="4868">
                  <c:v>1.8939999999999999</c:v>
                </c:pt>
                <c:pt idx="4869">
                  <c:v>1.847</c:v>
                </c:pt>
                <c:pt idx="4870">
                  <c:v>1.8759999999999999</c:v>
                </c:pt>
                <c:pt idx="4871">
                  <c:v>1.855</c:v>
                </c:pt>
                <c:pt idx="4872">
                  <c:v>1.8560000000000001</c:v>
                </c:pt>
                <c:pt idx="4873">
                  <c:v>1.9039999999999999</c:v>
                </c:pt>
                <c:pt idx="4874">
                  <c:v>1.9410000000000001</c:v>
                </c:pt>
                <c:pt idx="4875">
                  <c:v>1.9410000000000001</c:v>
                </c:pt>
                <c:pt idx="4876">
                  <c:v>2.0419999999999998</c:v>
                </c:pt>
                <c:pt idx="4877">
                  <c:v>1.95</c:v>
                </c:pt>
                <c:pt idx="4878">
                  <c:v>1.96</c:v>
                </c:pt>
                <c:pt idx="4879">
                  <c:v>2.0270000000000001</c:v>
                </c:pt>
                <c:pt idx="4880">
                  <c:v>2.0449999999999999</c:v>
                </c:pt>
                <c:pt idx="4881">
                  <c:v>2</c:v>
                </c:pt>
                <c:pt idx="4882">
                  <c:v>1.976</c:v>
                </c:pt>
                <c:pt idx="4883">
                  <c:v>1.9370000000000001</c:v>
                </c:pt>
                <c:pt idx="4884">
                  <c:v>1.9630000000000001</c:v>
                </c:pt>
                <c:pt idx="4885">
                  <c:v>2</c:v>
                </c:pt>
                <c:pt idx="4886">
                  <c:v>1.921</c:v>
                </c:pt>
                <c:pt idx="4887">
                  <c:v>1.9430000000000001</c:v>
                </c:pt>
                <c:pt idx="4888">
                  <c:v>1.917</c:v>
                </c:pt>
                <c:pt idx="4889">
                  <c:v>1.845</c:v>
                </c:pt>
                <c:pt idx="4890">
                  <c:v>1.8220000000000001</c:v>
                </c:pt>
                <c:pt idx="4891">
                  <c:v>1.83</c:v>
                </c:pt>
                <c:pt idx="4892">
                  <c:v>1.778</c:v>
                </c:pt>
                <c:pt idx="4893">
                  <c:v>1.7789999999999999</c:v>
                </c:pt>
                <c:pt idx="4894">
                  <c:v>1.804</c:v>
                </c:pt>
                <c:pt idx="4895">
                  <c:v>1.8109999999999999</c:v>
                </c:pt>
                <c:pt idx="4896">
                  <c:v>1.7929999999999999</c:v>
                </c:pt>
                <c:pt idx="4897">
                  <c:v>1.841</c:v>
                </c:pt>
                <c:pt idx="4898">
                  <c:v>1.8029999999999999</c:v>
                </c:pt>
                <c:pt idx="4899">
                  <c:v>1.8109999999999999</c:v>
                </c:pt>
                <c:pt idx="4900">
                  <c:v>1.8120000000000001</c:v>
                </c:pt>
                <c:pt idx="4901">
                  <c:v>1.869</c:v>
                </c:pt>
                <c:pt idx="4902">
                  <c:v>1.8640000000000001</c:v>
                </c:pt>
                <c:pt idx="4903">
                  <c:v>1.859</c:v>
                </c:pt>
                <c:pt idx="4904">
                  <c:v>1.9139999999999999</c:v>
                </c:pt>
                <c:pt idx="4905">
                  <c:v>1.929</c:v>
                </c:pt>
                <c:pt idx="4906">
                  <c:v>1.867</c:v>
                </c:pt>
                <c:pt idx="4907">
                  <c:v>1.831</c:v>
                </c:pt>
                <c:pt idx="4908">
                  <c:v>1.8480000000000001</c:v>
                </c:pt>
                <c:pt idx="4909">
                  <c:v>1.796</c:v>
                </c:pt>
                <c:pt idx="4910">
                  <c:v>1.766</c:v>
                </c:pt>
                <c:pt idx="4911">
                  <c:v>1.7649999999999999</c:v>
                </c:pt>
                <c:pt idx="4912">
                  <c:v>1.7549999999999999</c:v>
                </c:pt>
                <c:pt idx="4913">
                  <c:v>1.7490000000000001</c:v>
                </c:pt>
                <c:pt idx="4914">
                  <c:v>1.7410000000000001</c:v>
                </c:pt>
                <c:pt idx="4915">
                  <c:v>1.6879999999999999</c:v>
                </c:pt>
                <c:pt idx="4916">
                  <c:v>1.6739999999999999</c:v>
                </c:pt>
                <c:pt idx="4917">
                  <c:v>1.6910000000000001</c:v>
                </c:pt>
                <c:pt idx="4918">
                  <c:v>1.677</c:v>
                </c:pt>
                <c:pt idx="4919">
                  <c:v>1.7430000000000001</c:v>
                </c:pt>
                <c:pt idx="4920">
                  <c:v>1.7410000000000001</c:v>
                </c:pt>
                <c:pt idx="4921">
                  <c:v>1.6839999999999999</c:v>
                </c:pt>
                <c:pt idx="4922">
                  <c:v>1.7569999999999999</c:v>
                </c:pt>
                <c:pt idx="4923">
                  <c:v>1.754</c:v>
                </c:pt>
                <c:pt idx="4924">
                  <c:v>1.7889999999999999</c:v>
                </c:pt>
                <c:pt idx="4925">
                  <c:v>1.7350000000000001</c:v>
                </c:pt>
                <c:pt idx="4926">
                  <c:v>1.7010000000000001</c:v>
                </c:pt>
                <c:pt idx="4927">
                  <c:v>1.706</c:v>
                </c:pt>
                <c:pt idx="4928">
                  <c:v>1.681</c:v>
                </c:pt>
                <c:pt idx="4929">
                  <c:v>1.7190000000000001</c:v>
                </c:pt>
                <c:pt idx="4930">
                  <c:v>1.714</c:v>
                </c:pt>
                <c:pt idx="4931">
                  <c:v>1.7410000000000001</c:v>
                </c:pt>
                <c:pt idx="4932">
                  <c:v>1.746</c:v>
                </c:pt>
                <c:pt idx="4933">
                  <c:v>1.722</c:v>
                </c:pt>
                <c:pt idx="4934">
                  <c:v>1.6870000000000001</c:v>
                </c:pt>
                <c:pt idx="4935">
                  <c:v>1.7170000000000001</c:v>
                </c:pt>
                <c:pt idx="4936">
                  <c:v>1.6950000000000001</c:v>
                </c:pt>
                <c:pt idx="4937">
                  <c:v>1.6930000000000001</c:v>
                </c:pt>
                <c:pt idx="4938">
                  <c:v>1.744</c:v>
                </c:pt>
                <c:pt idx="4939">
                  <c:v>1.7250000000000001</c:v>
                </c:pt>
                <c:pt idx="4940">
                  <c:v>1.8140000000000001</c:v>
                </c:pt>
                <c:pt idx="4941">
                  <c:v>1.861</c:v>
                </c:pt>
                <c:pt idx="4942">
                  <c:v>1.8420000000000001</c:v>
                </c:pt>
                <c:pt idx="4943">
                  <c:v>1.839</c:v>
                </c:pt>
                <c:pt idx="4944">
                  <c:v>1.835</c:v>
                </c:pt>
                <c:pt idx="4945">
                  <c:v>1.8140000000000001</c:v>
                </c:pt>
                <c:pt idx="4946">
                  <c:v>1.839</c:v>
                </c:pt>
                <c:pt idx="4947">
                  <c:v>1.8280000000000001</c:v>
                </c:pt>
                <c:pt idx="4948">
                  <c:v>1.835</c:v>
                </c:pt>
                <c:pt idx="4949">
                  <c:v>1.827</c:v>
                </c:pt>
                <c:pt idx="4950">
                  <c:v>1.847</c:v>
                </c:pt>
                <c:pt idx="4951">
                  <c:v>1.871</c:v>
                </c:pt>
                <c:pt idx="4952">
                  <c:v>1.87</c:v>
                </c:pt>
                <c:pt idx="4953">
                  <c:v>1.8819999999999999</c:v>
                </c:pt>
                <c:pt idx="4954">
                  <c:v>1.8919999999999999</c:v>
                </c:pt>
                <c:pt idx="4955">
                  <c:v>1.956</c:v>
                </c:pt>
                <c:pt idx="4956">
                  <c:v>1.93</c:v>
                </c:pt>
                <c:pt idx="4957">
                  <c:v>1.929</c:v>
                </c:pt>
                <c:pt idx="4958">
                  <c:v>1.9410000000000001</c:v>
                </c:pt>
                <c:pt idx="4959">
                  <c:v>1.944</c:v>
                </c:pt>
                <c:pt idx="4960">
                  <c:v>1.907</c:v>
                </c:pt>
                <c:pt idx="4961">
                  <c:v>1.8859999999999999</c:v>
                </c:pt>
                <c:pt idx="4962">
                  <c:v>1.9039999999999999</c:v>
                </c:pt>
                <c:pt idx="4963">
                  <c:v>1.915</c:v>
                </c:pt>
                <c:pt idx="4964">
                  <c:v>1.843</c:v>
                </c:pt>
                <c:pt idx="4965">
                  <c:v>1.8169999999999999</c:v>
                </c:pt>
                <c:pt idx="4966">
                  <c:v>1.8140000000000001</c:v>
                </c:pt>
                <c:pt idx="4967">
                  <c:v>1.825</c:v>
                </c:pt>
                <c:pt idx="4968">
                  <c:v>1.7789999999999999</c:v>
                </c:pt>
                <c:pt idx="4969">
                  <c:v>1.7529999999999999</c:v>
                </c:pt>
                <c:pt idx="4970">
                  <c:v>1.7410000000000001</c:v>
                </c:pt>
                <c:pt idx="4971">
                  <c:v>1.738</c:v>
                </c:pt>
                <c:pt idx="4972">
                  <c:v>1.7569999999999999</c:v>
                </c:pt>
                <c:pt idx="4973">
                  <c:v>1.7090000000000001</c:v>
                </c:pt>
                <c:pt idx="4974">
                  <c:v>1.6579999999999999</c:v>
                </c:pt>
                <c:pt idx="4975">
                  <c:v>1.665</c:v>
                </c:pt>
                <c:pt idx="4976">
                  <c:v>1.677</c:v>
                </c:pt>
                <c:pt idx="4977">
                  <c:v>1.742</c:v>
                </c:pt>
                <c:pt idx="4978">
                  <c:v>1.7150000000000001</c:v>
                </c:pt>
                <c:pt idx="4979">
                  <c:v>1.659</c:v>
                </c:pt>
                <c:pt idx="4980">
                  <c:v>1.6439999999999999</c:v>
                </c:pt>
                <c:pt idx="4981">
                  <c:v>1.65</c:v>
                </c:pt>
                <c:pt idx="4982">
                  <c:v>1.6359999999999999</c:v>
                </c:pt>
                <c:pt idx="4983">
                  <c:v>1.696</c:v>
                </c:pt>
                <c:pt idx="4984">
                  <c:v>1.661</c:v>
                </c:pt>
                <c:pt idx="4985">
                  <c:v>1.68</c:v>
                </c:pt>
                <c:pt idx="4986">
                  <c:v>1.6859999999999999</c:v>
                </c:pt>
                <c:pt idx="4987">
                  <c:v>1.7150000000000001</c:v>
                </c:pt>
                <c:pt idx="4988">
                  <c:v>1.667</c:v>
                </c:pt>
                <c:pt idx="4989">
                  <c:v>1.679</c:v>
                </c:pt>
                <c:pt idx="4990">
                  <c:v>1.6839999999999999</c:v>
                </c:pt>
                <c:pt idx="4991">
                  <c:v>1.667</c:v>
                </c:pt>
                <c:pt idx="4992">
                  <c:v>1.661</c:v>
                </c:pt>
                <c:pt idx="4993">
                  <c:v>1.69</c:v>
                </c:pt>
                <c:pt idx="4994">
                  <c:v>1.6619999999999999</c:v>
                </c:pt>
                <c:pt idx="4995">
                  <c:v>1.68</c:v>
                </c:pt>
                <c:pt idx="4996">
                  <c:v>1.6459999999999999</c:v>
                </c:pt>
                <c:pt idx="4997">
                  <c:v>1.617</c:v>
                </c:pt>
                <c:pt idx="4998">
                  <c:v>1.5620000000000001</c:v>
                </c:pt>
                <c:pt idx="4999">
                  <c:v>1.6240000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8214528"/>
        <c:axId val="565748864"/>
      </c:lineChart>
      <c:dateAx>
        <c:axId val="558214528"/>
        <c:scaling>
          <c:orientation val="minMax"/>
        </c:scaling>
        <c:delete val="0"/>
        <c:axPos val="b"/>
        <c:numFmt formatCode="[$-409]mmm\-yy;@" sourceLinked="0"/>
        <c:majorTickMark val="in"/>
        <c:minorTickMark val="in"/>
        <c:tickLblPos val="nextTo"/>
        <c:spPr>
          <a:ln w="316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65748864"/>
        <c:crosses val="autoZero"/>
        <c:auto val="1"/>
        <c:lblOffset val="100"/>
        <c:baseTimeUnit val="days"/>
      </c:dateAx>
      <c:valAx>
        <c:axId val="565748864"/>
        <c:scaling>
          <c:orientation val="minMax"/>
        </c:scaling>
        <c:delete val="0"/>
        <c:axPos val="l"/>
        <c:majorGridlines>
          <c:spPr>
            <a:ln w="12657">
              <a:solidFill>
                <a:schemeClr val="tx2"/>
              </a:solidFill>
              <a:prstDash val="solid"/>
            </a:ln>
          </c:spPr>
        </c:majorGridlines>
        <c:numFmt formatCode="0" sourceLinked="0"/>
        <c:majorTickMark val="out"/>
        <c:minorTickMark val="none"/>
        <c:tickLblPos val="nextTo"/>
        <c:spPr>
          <a:ln w="9493">
            <a:noFill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58214528"/>
        <c:crosses val="autoZero"/>
        <c:crossBetween val="between"/>
      </c:valAx>
      <c:spPr>
        <a:noFill/>
        <a:ln w="2531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6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323699922125103E-2"/>
          <c:y val="3.7639007698888026E-2"/>
          <c:w val="0.85190706930864413"/>
          <c:h val="0.84358688696847062"/>
        </c:manualLayout>
      </c:layout>
      <c:lineChart>
        <c:grouping val="standard"/>
        <c:varyColors val="0"/>
        <c:ser>
          <c:idx val="0"/>
          <c:order val="0"/>
          <c:tx>
            <c:strRef>
              <c:f>Sheet2!$E$1</c:f>
              <c:strCache>
                <c:ptCount val="1"/>
                <c:pt idx="0">
                  <c:v>STOXX Europe SD30 USD NR</c:v>
                </c:pt>
              </c:strCache>
            </c:strRef>
          </c:tx>
          <c:marker>
            <c:symbol val="none"/>
          </c:marker>
          <c:cat>
            <c:numRef>
              <c:f>Sheet2!$A$2:$A$3209</c:f>
              <c:numCache>
                <c:formatCode>m/d/yyyy</c:formatCode>
                <c:ptCount val="3208"/>
                <c:pt idx="0">
                  <c:v>36893</c:v>
                </c:pt>
                <c:pt idx="1">
                  <c:v>36894</c:v>
                </c:pt>
                <c:pt idx="2">
                  <c:v>36895</c:v>
                </c:pt>
                <c:pt idx="3">
                  <c:v>36896</c:v>
                </c:pt>
                <c:pt idx="4">
                  <c:v>36899</c:v>
                </c:pt>
                <c:pt idx="5">
                  <c:v>36900</c:v>
                </c:pt>
                <c:pt idx="6">
                  <c:v>36901</c:v>
                </c:pt>
                <c:pt idx="7">
                  <c:v>36902</c:v>
                </c:pt>
                <c:pt idx="8">
                  <c:v>36903</c:v>
                </c:pt>
                <c:pt idx="9">
                  <c:v>36906</c:v>
                </c:pt>
                <c:pt idx="10">
                  <c:v>36907</c:v>
                </c:pt>
                <c:pt idx="11">
                  <c:v>36908</c:v>
                </c:pt>
                <c:pt idx="12">
                  <c:v>36909</c:v>
                </c:pt>
                <c:pt idx="13">
                  <c:v>36910</c:v>
                </c:pt>
                <c:pt idx="14">
                  <c:v>36913</c:v>
                </c:pt>
                <c:pt idx="15">
                  <c:v>36914</c:v>
                </c:pt>
                <c:pt idx="16">
                  <c:v>36915</c:v>
                </c:pt>
                <c:pt idx="17">
                  <c:v>36916</c:v>
                </c:pt>
                <c:pt idx="18">
                  <c:v>36917</c:v>
                </c:pt>
                <c:pt idx="19">
                  <c:v>36920</c:v>
                </c:pt>
                <c:pt idx="20">
                  <c:v>36921</c:v>
                </c:pt>
                <c:pt idx="21">
                  <c:v>36922</c:v>
                </c:pt>
                <c:pt idx="22">
                  <c:v>36923</c:v>
                </c:pt>
                <c:pt idx="23">
                  <c:v>36924</c:v>
                </c:pt>
                <c:pt idx="24">
                  <c:v>36927</c:v>
                </c:pt>
                <c:pt idx="25">
                  <c:v>36928</c:v>
                </c:pt>
                <c:pt idx="26">
                  <c:v>36929</c:v>
                </c:pt>
                <c:pt idx="27">
                  <c:v>36930</c:v>
                </c:pt>
                <c:pt idx="28">
                  <c:v>36931</c:v>
                </c:pt>
                <c:pt idx="29">
                  <c:v>36934</c:v>
                </c:pt>
                <c:pt idx="30">
                  <c:v>36935</c:v>
                </c:pt>
                <c:pt idx="31">
                  <c:v>36936</c:v>
                </c:pt>
                <c:pt idx="32">
                  <c:v>36937</c:v>
                </c:pt>
                <c:pt idx="33">
                  <c:v>36938</c:v>
                </c:pt>
                <c:pt idx="34">
                  <c:v>36941</c:v>
                </c:pt>
                <c:pt idx="35">
                  <c:v>36942</c:v>
                </c:pt>
                <c:pt idx="36">
                  <c:v>36943</c:v>
                </c:pt>
                <c:pt idx="37">
                  <c:v>36944</c:v>
                </c:pt>
                <c:pt idx="38">
                  <c:v>36945</c:v>
                </c:pt>
                <c:pt idx="39">
                  <c:v>36948</c:v>
                </c:pt>
                <c:pt idx="40">
                  <c:v>36949</c:v>
                </c:pt>
                <c:pt idx="41">
                  <c:v>36950</c:v>
                </c:pt>
                <c:pt idx="42">
                  <c:v>36951</c:v>
                </c:pt>
                <c:pt idx="43">
                  <c:v>36952</c:v>
                </c:pt>
                <c:pt idx="44">
                  <c:v>36955</c:v>
                </c:pt>
                <c:pt idx="45">
                  <c:v>36956</c:v>
                </c:pt>
                <c:pt idx="46">
                  <c:v>36957</c:v>
                </c:pt>
                <c:pt idx="47">
                  <c:v>36958</c:v>
                </c:pt>
                <c:pt idx="48">
                  <c:v>36959</c:v>
                </c:pt>
                <c:pt idx="49">
                  <c:v>36962</c:v>
                </c:pt>
                <c:pt idx="50">
                  <c:v>36963</c:v>
                </c:pt>
                <c:pt idx="51">
                  <c:v>36964</c:v>
                </c:pt>
                <c:pt idx="52">
                  <c:v>36965</c:v>
                </c:pt>
                <c:pt idx="53">
                  <c:v>36966</c:v>
                </c:pt>
                <c:pt idx="54">
                  <c:v>36969</c:v>
                </c:pt>
                <c:pt idx="55">
                  <c:v>36970</c:v>
                </c:pt>
                <c:pt idx="56">
                  <c:v>36971</c:v>
                </c:pt>
                <c:pt idx="57">
                  <c:v>36972</c:v>
                </c:pt>
                <c:pt idx="58">
                  <c:v>36973</c:v>
                </c:pt>
                <c:pt idx="59">
                  <c:v>36976</c:v>
                </c:pt>
                <c:pt idx="60">
                  <c:v>36977</c:v>
                </c:pt>
                <c:pt idx="61">
                  <c:v>36978</c:v>
                </c:pt>
                <c:pt idx="62">
                  <c:v>36979</c:v>
                </c:pt>
                <c:pt idx="63">
                  <c:v>36980</c:v>
                </c:pt>
                <c:pt idx="64">
                  <c:v>36983</c:v>
                </c:pt>
                <c:pt idx="65">
                  <c:v>36984</c:v>
                </c:pt>
                <c:pt idx="66">
                  <c:v>36985</c:v>
                </c:pt>
                <c:pt idx="67">
                  <c:v>36986</c:v>
                </c:pt>
                <c:pt idx="68">
                  <c:v>36987</c:v>
                </c:pt>
                <c:pt idx="69">
                  <c:v>36990</c:v>
                </c:pt>
                <c:pt idx="70">
                  <c:v>36991</c:v>
                </c:pt>
                <c:pt idx="71">
                  <c:v>36992</c:v>
                </c:pt>
                <c:pt idx="72">
                  <c:v>36993</c:v>
                </c:pt>
                <c:pt idx="73">
                  <c:v>36998</c:v>
                </c:pt>
                <c:pt idx="74">
                  <c:v>36999</c:v>
                </c:pt>
                <c:pt idx="75">
                  <c:v>37000</c:v>
                </c:pt>
                <c:pt idx="76">
                  <c:v>37001</c:v>
                </c:pt>
                <c:pt idx="77">
                  <c:v>37004</c:v>
                </c:pt>
                <c:pt idx="78">
                  <c:v>37005</c:v>
                </c:pt>
                <c:pt idx="79">
                  <c:v>37006</c:v>
                </c:pt>
                <c:pt idx="80">
                  <c:v>37007</c:v>
                </c:pt>
                <c:pt idx="81">
                  <c:v>37008</c:v>
                </c:pt>
                <c:pt idx="82">
                  <c:v>37011</c:v>
                </c:pt>
                <c:pt idx="83">
                  <c:v>37013</c:v>
                </c:pt>
                <c:pt idx="84">
                  <c:v>37014</c:v>
                </c:pt>
                <c:pt idx="85">
                  <c:v>37015</c:v>
                </c:pt>
                <c:pt idx="86">
                  <c:v>37018</c:v>
                </c:pt>
                <c:pt idx="87">
                  <c:v>37019</c:v>
                </c:pt>
                <c:pt idx="88">
                  <c:v>37020</c:v>
                </c:pt>
                <c:pt idx="89">
                  <c:v>37021</c:v>
                </c:pt>
                <c:pt idx="90">
                  <c:v>37022</c:v>
                </c:pt>
                <c:pt idx="91">
                  <c:v>37025</c:v>
                </c:pt>
                <c:pt idx="92">
                  <c:v>37026</c:v>
                </c:pt>
                <c:pt idx="93">
                  <c:v>37027</c:v>
                </c:pt>
                <c:pt idx="94">
                  <c:v>37028</c:v>
                </c:pt>
                <c:pt idx="95">
                  <c:v>37029</c:v>
                </c:pt>
                <c:pt idx="96">
                  <c:v>37032</c:v>
                </c:pt>
                <c:pt idx="97">
                  <c:v>37033</c:v>
                </c:pt>
                <c:pt idx="98">
                  <c:v>37034</c:v>
                </c:pt>
                <c:pt idx="99">
                  <c:v>37035</c:v>
                </c:pt>
                <c:pt idx="100">
                  <c:v>37036</c:v>
                </c:pt>
                <c:pt idx="101">
                  <c:v>37039</c:v>
                </c:pt>
                <c:pt idx="102">
                  <c:v>37040</c:v>
                </c:pt>
                <c:pt idx="103">
                  <c:v>37041</c:v>
                </c:pt>
                <c:pt idx="104">
                  <c:v>37042</c:v>
                </c:pt>
                <c:pt idx="105">
                  <c:v>37043</c:v>
                </c:pt>
                <c:pt idx="106">
                  <c:v>37046</c:v>
                </c:pt>
                <c:pt idx="107">
                  <c:v>37047</c:v>
                </c:pt>
                <c:pt idx="108">
                  <c:v>37048</c:v>
                </c:pt>
                <c:pt idx="109">
                  <c:v>37049</c:v>
                </c:pt>
                <c:pt idx="110">
                  <c:v>37050</c:v>
                </c:pt>
                <c:pt idx="111">
                  <c:v>37053</c:v>
                </c:pt>
                <c:pt idx="112">
                  <c:v>37054</c:v>
                </c:pt>
                <c:pt idx="113">
                  <c:v>37055</c:v>
                </c:pt>
                <c:pt idx="114">
                  <c:v>37056</c:v>
                </c:pt>
                <c:pt idx="115">
                  <c:v>37057</c:v>
                </c:pt>
                <c:pt idx="116">
                  <c:v>37060</c:v>
                </c:pt>
                <c:pt idx="117">
                  <c:v>37061</c:v>
                </c:pt>
                <c:pt idx="118">
                  <c:v>37062</c:v>
                </c:pt>
                <c:pt idx="119">
                  <c:v>37063</c:v>
                </c:pt>
                <c:pt idx="120">
                  <c:v>37064</c:v>
                </c:pt>
                <c:pt idx="121">
                  <c:v>37067</c:v>
                </c:pt>
                <c:pt idx="122">
                  <c:v>37068</c:v>
                </c:pt>
                <c:pt idx="123">
                  <c:v>37069</c:v>
                </c:pt>
                <c:pt idx="124">
                  <c:v>37070</c:v>
                </c:pt>
                <c:pt idx="125">
                  <c:v>37071</c:v>
                </c:pt>
                <c:pt idx="126">
                  <c:v>37074</c:v>
                </c:pt>
                <c:pt idx="127">
                  <c:v>37075</c:v>
                </c:pt>
                <c:pt idx="128">
                  <c:v>37076</c:v>
                </c:pt>
                <c:pt idx="129">
                  <c:v>37077</c:v>
                </c:pt>
                <c:pt idx="130">
                  <c:v>37078</c:v>
                </c:pt>
                <c:pt idx="131">
                  <c:v>37081</c:v>
                </c:pt>
                <c:pt idx="132">
                  <c:v>37082</c:v>
                </c:pt>
                <c:pt idx="133">
                  <c:v>37083</c:v>
                </c:pt>
                <c:pt idx="134">
                  <c:v>37084</c:v>
                </c:pt>
                <c:pt idx="135">
                  <c:v>37085</c:v>
                </c:pt>
                <c:pt idx="136">
                  <c:v>37088</c:v>
                </c:pt>
                <c:pt idx="137">
                  <c:v>37089</c:v>
                </c:pt>
                <c:pt idx="138">
                  <c:v>37090</c:v>
                </c:pt>
                <c:pt idx="139">
                  <c:v>37091</c:v>
                </c:pt>
                <c:pt idx="140">
                  <c:v>37092</c:v>
                </c:pt>
                <c:pt idx="141">
                  <c:v>37095</c:v>
                </c:pt>
                <c:pt idx="142">
                  <c:v>37096</c:v>
                </c:pt>
                <c:pt idx="143">
                  <c:v>37097</c:v>
                </c:pt>
                <c:pt idx="144">
                  <c:v>37098</c:v>
                </c:pt>
                <c:pt idx="145">
                  <c:v>37099</c:v>
                </c:pt>
                <c:pt idx="146">
                  <c:v>37102</c:v>
                </c:pt>
                <c:pt idx="147">
                  <c:v>37103</c:v>
                </c:pt>
                <c:pt idx="148">
                  <c:v>37104</c:v>
                </c:pt>
                <c:pt idx="149">
                  <c:v>37105</c:v>
                </c:pt>
                <c:pt idx="150">
                  <c:v>37106</c:v>
                </c:pt>
                <c:pt idx="151">
                  <c:v>37109</c:v>
                </c:pt>
                <c:pt idx="152">
                  <c:v>37110</c:v>
                </c:pt>
                <c:pt idx="153">
                  <c:v>37111</c:v>
                </c:pt>
                <c:pt idx="154">
                  <c:v>37112</c:v>
                </c:pt>
                <c:pt idx="155">
                  <c:v>37113</c:v>
                </c:pt>
                <c:pt idx="156">
                  <c:v>37116</c:v>
                </c:pt>
                <c:pt idx="157">
                  <c:v>37117</c:v>
                </c:pt>
                <c:pt idx="158">
                  <c:v>37118</c:v>
                </c:pt>
                <c:pt idx="159">
                  <c:v>37119</c:v>
                </c:pt>
                <c:pt idx="160">
                  <c:v>37120</c:v>
                </c:pt>
                <c:pt idx="161">
                  <c:v>37123</c:v>
                </c:pt>
                <c:pt idx="162">
                  <c:v>37124</c:v>
                </c:pt>
                <c:pt idx="163">
                  <c:v>37125</c:v>
                </c:pt>
                <c:pt idx="164">
                  <c:v>37126</c:v>
                </c:pt>
                <c:pt idx="165">
                  <c:v>37127</c:v>
                </c:pt>
                <c:pt idx="166">
                  <c:v>37130</c:v>
                </c:pt>
                <c:pt idx="167">
                  <c:v>37131</c:v>
                </c:pt>
                <c:pt idx="168">
                  <c:v>37132</c:v>
                </c:pt>
                <c:pt idx="169">
                  <c:v>37133</c:v>
                </c:pt>
                <c:pt idx="170">
                  <c:v>37134</c:v>
                </c:pt>
                <c:pt idx="171">
                  <c:v>37137</c:v>
                </c:pt>
                <c:pt idx="172">
                  <c:v>37138</c:v>
                </c:pt>
                <c:pt idx="173">
                  <c:v>37139</c:v>
                </c:pt>
                <c:pt idx="174">
                  <c:v>37140</c:v>
                </c:pt>
                <c:pt idx="175">
                  <c:v>37141</c:v>
                </c:pt>
                <c:pt idx="176">
                  <c:v>37144</c:v>
                </c:pt>
                <c:pt idx="177">
                  <c:v>37145</c:v>
                </c:pt>
                <c:pt idx="178">
                  <c:v>37146</c:v>
                </c:pt>
                <c:pt idx="179">
                  <c:v>37147</c:v>
                </c:pt>
                <c:pt idx="180">
                  <c:v>37148</c:v>
                </c:pt>
                <c:pt idx="181">
                  <c:v>37151</c:v>
                </c:pt>
                <c:pt idx="182">
                  <c:v>37152</c:v>
                </c:pt>
                <c:pt idx="183">
                  <c:v>37153</c:v>
                </c:pt>
                <c:pt idx="184">
                  <c:v>37154</c:v>
                </c:pt>
                <c:pt idx="185">
                  <c:v>37155</c:v>
                </c:pt>
                <c:pt idx="186">
                  <c:v>37158</c:v>
                </c:pt>
                <c:pt idx="187">
                  <c:v>37159</c:v>
                </c:pt>
                <c:pt idx="188">
                  <c:v>37160</c:v>
                </c:pt>
                <c:pt idx="189">
                  <c:v>37161</c:v>
                </c:pt>
                <c:pt idx="190">
                  <c:v>37162</c:v>
                </c:pt>
                <c:pt idx="191">
                  <c:v>37165</c:v>
                </c:pt>
                <c:pt idx="192">
                  <c:v>37166</c:v>
                </c:pt>
                <c:pt idx="193">
                  <c:v>37167</c:v>
                </c:pt>
                <c:pt idx="194">
                  <c:v>37168</c:v>
                </c:pt>
                <c:pt idx="195">
                  <c:v>37169</c:v>
                </c:pt>
                <c:pt idx="196">
                  <c:v>37172</c:v>
                </c:pt>
                <c:pt idx="197">
                  <c:v>37173</c:v>
                </c:pt>
                <c:pt idx="198">
                  <c:v>37174</c:v>
                </c:pt>
                <c:pt idx="199">
                  <c:v>37175</c:v>
                </c:pt>
                <c:pt idx="200">
                  <c:v>37176</c:v>
                </c:pt>
                <c:pt idx="201">
                  <c:v>37179</c:v>
                </c:pt>
                <c:pt idx="202">
                  <c:v>37180</c:v>
                </c:pt>
                <c:pt idx="203">
                  <c:v>37181</c:v>
                </c:pt>
                <c:pt idx="204">
                  <c:v>37182</c:v>
                </c:pt>
                <c:pt idx="205">
                  <c:v>37183</c:v>
                </c:pt>
                <c:pt idx="206">
                  <c:v>37186</c:v>
                </c:pt>
                <c:pt idx="207">
                  <c:v>37187</c:v>
                </c:pt>
                <c:pt idx="208">
                  <c:v>37188</c:v>
                </c:pt>
                <c:pt idx="209">
                  <c:v>37189</c:v>
                </c:pt>
                <c:pt idx="210">
                  <c:v>37190</c:v>
                </c:pt>
                <c:pt idx="211">
                  <c:v>37193</c:v>
                </c:pt>
                <c:pt idx="212">
                  <c:v>37194</c:v>
                </c:pt>
                <c:pt idx="213">
                  <c:v>37195</c:v>
                </c:pt>
                <c:pt idx="214">
                  <c:v>37196</c:v>
                </c:pt>
                <c:pt idx="215">
                  <c:v>37197</c:v>
                </c:pt>
                <c:pt idx="216">
                  <c:v>37200</c:v>
                </c:pt>
                <c:pt idx="217">
                  <c:v>37201</c:v>
                </c:pt>
                <c:pt idx="218">
                  <c:v>37202</c:v>
                </c:pt>
                <c:pt idx="219">
                  <c:v>37203</c:v>
                </c:pt>
                <c:pt idx="220">
                  <c:v>37204</c:v>
                </c:pt>
                <c:pt idx="221">
                  <c:v>37207</c:v>
                </c:pt>
                <c:pt idx="222">
                  <c:v>37208</c:v>
                </c:pt>
                <c:pt idx="223">
                  <c:v>37209</c:v>
                </c:pt>
                <c:pt idx="224">
                  <c:v>37210</c:v>
                </c:pt>
                <c:pt idx="225">
                  <c:v>37211</c:v>
                </c:pt>
                <c:pt idx="226">
                  <c:v>37214</c:v>
                </c:pt>
                <c:pt idx="227">
                  <c:v>37215</c:v>
                </c:pt>
                <c:pt idx="228">
                  <c:v>37216</c:v>
                </c:pt>
                <c:pt idx="229">
                  <c:v>37217</c:v>
                </c:pt>
                <c:pt idx="230">
                  <c:v>37218</c:v>
                </c:pt>
                <c:pt idx="231">
                  <c:v>37221</c:v>
                </c:pt>
                <c:pt idx="232">
                  <c:v>37222</c:v>
                </c:pt>
                <c:pt idx="233">
                  <c:v>37223</c:v>
                </c:pt>
                <c:pt idx="234">
                  <c:v>37224</c:v>
                </c:pt>
                <c:pt idx="235">
                  <c:v>37225</c:v>
                </c:pt>
                <c:pt idx="236">
                  <c:v>37228</c:v>
                </c:pt>
                <c:pt idx="237">
                  <c:v>37229</c:v>
                </c:pt>
                <c:pt idx="238">
                  <c:v>37230</c:v>
                </c:pt>
                <c:pt idx="239">
                  <c:v>37231</c:v>
                </c:pt>
                <c:pt idx="240">
                  <c:v>37232</c:v>
                </c:pt>
                <c:pt idx="241">
                  <c:v>37235</c:v>
                </c:pt>
                <c:pt idx="242">
                  <c:v>37236</c:v>
                </c:pt>
                <c:pt idx="243">
                  <c:v>37237</c:v>
                </c:pt>
                <c:pt idx="244">
                  <c:v>37238</c:v>
                </c:pt>
                <c:pt idx="245">
                  <c:v>37239</c:v>
                </c:pt>
                <c:pt idx="246">
                  <c:v>37242</c:v>
                </c:pt>
                <c:pt idx="247">
                  <c:v>37243</c:v>
                </c:pt>
                <c:pt idx="248">
                  <c:v>37244</c:v>
                </c:pt>
                <c:pt idx="249">
                  <c:v>37245</c:v>
                </c:pt>
                <c:pt idx="250">
                  <c:v>37246</c:v>
                </c:pt>
                <c:pt idx="251">
                  <c:v>37249</c:v>
                </c:pt>
                <c:pt idx="252">
                  <c:v>37252</c:v>
                </c:pt>
                <c:pt idx="253">
                  <c:v>37253</c:v>
                </c:pt>
                <c:pt idx="254">
                  <c:v>37258</c:v>
                </c:pt>
                <c:pt idx="255">
                  <c:v>37259</c:v>
                </c:pt>
                <c:pt idx="256">
                  <c:v>37260</c:v>
                </c:pt>
                <c:pt idx="257">
                  <c:v>37263</c:v>
                </c:pt>
                <c:pt idx="258">
                  <c:v>37264</c:v>
                </c:pt>
                <c:pt idx="259">
                  <c:v>37265</c:v>
                </c:pt>
                <c:pt idx="260">
                  <c:v>37266</c:v>
                </c:pt>
                <c:pt idx="261">
                  <c:v>37267</c:v>
                </c:pt>
                <c:pt idx="262">
                  <c:v>37270</c:v>
                </c:pt>
                <c:pt idx="263">
                  <c:v>37271</c:v>
                </c:pt>
                <c:pt idx="264">
                  <c:v>37272</c:v>
                </c:pt>
                <c:pt idx="265">
                  <c:v>37273</c:v>
                </c:pt>
                <c:pt idx="266">
                  <c:v>37274</c:v>
                </c:pt>
                <c:pt idx="267">
                  <c:v>37277</c:v>
                </c:pt>
                <c:pt idx="268">
                  <c:v>37278</c:v>
                </c:pt>
                <c:pt idx="269">
                  <c:v>37279</c:v>
                </c:pt>
                <c:pt idx="270">
                  <c:v>37280</c:v>
                </c:pt>
                <c:pt idx="271">
                  <c:v>37281</c:v>
                </c:pt>
                <c:pt idx="272">
                  <c:v>37284</c:v>
                </c:pt>
                <c:pt idx="273">
                  <c:v>37285</c:v>
                </c:pt>
                <c:pt idx="274">
                  <c:v>37286</c:v>
                </c:pt>
                <c:pt idx="275">
                  <c:v>37287</c:v>
                </c:pt>
                <c:pt idx="276">
                  <c:v>37288</c:v>
                </c:pt>
                <c:pt idx="277">
                  <c:v>37291</c:v>
                </c:pt>
                <c:pt idx="278">
                  <c:v>37292</c:v>
                </c:pt>
                <c:pt idx="279">
                  <c:v>37293</c:v>
                </c:pt>
                <c:pt idx="280">
                  <c:v>37294</c:v>
                </c:pt>
                <c:pt idx="281">
                  <c:v>37295</c:v>
                </c:pt>
                <c:pt idx="282">
                  <c:v>37298</c:v>
                </c:pt>
                <c:pt idx="283">
                  <c:v>37299</c:v>
                </c:pt>
                <c:pt idx="284">
                  <c:v>37300</c:v>
                </c:pt>
                <c:pt idx="285">
                  <c:v>37301</c:v>
                </c:pt>
                <c:pt idx="286">
                  <c:v>37302</c:v>
                </c:pt>
                <c:pt idx="287">
                  <c:v>37305</c:v>
                </c:pt>
                <c:pt idx="288">
                  <c:v>37306</c:v>
                </c:pt>
                <c:pt idx="289">
                  <c:v>37307</c:v>
                </c:pt>
                <c:pt idx="290">
                  <c:v>37308</c:v>
                </c:pt>
                <c:pt idx="291">
                  <c:v>37309</c:v>
                </c:pt>
                <c:pt idx="292">
                  <c:v>37312</c:v>
                </c:pt>
                <c:pt idx="293">
                  <c:v>37313</c:v>
                </c:pt>
                <c:pt idx="294">
                  <c:v>37314</c:v>
                </c:pt>
                <c:pt idx="295">
                  <c:v>37315</c:v>
                </c:pt>
                <c:pt idx="296">
                  <c:v>37316</c:v>
                </c:pt>
                <c:pt idx="297">
                  <c:v>37319</c:v>
                </c:pt>
                <c:pt idx="298">
                  <c:v>37320</c:v>
                </c:pt>
                <c:pt idx="299">
                  <c:v>37321</c:v>
                </c:pt>
                <c:pt idx="300">
                  <c:v>37322</c:v>
                </c:pt>
                <c:pt idx="301">
                  <c:v>37323</c:v>
                </c:pt>
                <c:pt idx="302">
                  <c:v>37326</c:v>
                </c:pt>
                <c:pt idx="303">
                  <c:v>37327</c:v>
                </c:pt>
                <c:pt idx="304">
                  <c:v>37328</c:v>
                </c:pt>
                <c:pt idx="305">
                  <c:v>37329</c:v>
                </c:pt>
                <c:pt idx="306">
                  <c:v>37330</c:v>
                </c:pt>
                <c:pt idx="307">
                  <c:v>37333</c:v>
                </c:pt>
                <c:pt idx="308">
                  <c:v>37334</c:v>
                </c:pt>
                <c:pt idx="309">
                  <c:v>37335</c:v>
                </c:pt>
                <c:pt idx="310">
                  <c:v>37336</c:v>
                </c:pt>
                <c:pt idx="311">
                  <c:v>37337</c:v>
                </c:pt>
                <c:pt idx="312">
                  <c:v>37340</c:v>
                </c:pt>
                <c:pt idx="313">
                  <c:v>37341</c:v>
                </c:pt>
                <c:pt idx="314">
                  <c:v>37342</c:v>
                </c:pt>
                <c:pt idx="315">
                  <c:v>37343</c:v>
                </c:pt>
                <c:pt idx="316">
                  <c:v>37348</c:v>
                </c:pt>
                <c:pt idx="317">
                  <c:v>37349</c:v>
                </c:pt>
                <c:pt idx="318">
                  <c:v>37350</c:v>
                </c:pt>
                <c:pt idx="319">
                  <c:v>37351</c:v>
                </c:pt>
                <c:pt idx="320">
                  <c:v>37354</c:v>
                </c:pt>
                <c:pt idx="321">
                  <c:v>37355</c:v>
                </c:pt>
                <c:pt idx="322">
                  <c:v>37356</c:v>
                </c:pt>
                <c:pt idx="323">
                  <c:v>37357</c:v>
                </c:pt>
                <c:pt idx="324">
                  <c:v>37358</c:v>
                </c:pt>
                <c:pt idx="325">
                  <c:v>37361</c:v>
                </c:pt>
                <c:pt idx="326">
                  <c:v>37362</c:v>
                </c:pt>
                <c:pt idx="327">
                  <c:v>37363</c:v>
                </c:pt>
                <c:pt idx="328">
                  <c:v>37364</c:v>
                </c:pt>
                <c:pt idx="329">
                  <c:v>37365</c:v>
                </c:pt>
                <c:pt idx="330">
                  <c:v>37368</c:v>
                </c:pt>
                <c:pt idx="331">
                  <c:v>37369</c:v>
                </c:pt>
                <c:pt idx="332">
                  <c:v>37370</c:v>
                </c:pt>
                <c:pt idx="333">
                  <c:v>37371</c:v>
                </c:pt>
                <c:pt idx="334">
                  <c:v>37372</c:v>
                </c:pt>
                <c:pt idx="335">
                  <c:v>37375</c:v>
                </c:pt>
                <c:pt idx="336">
                  <c:v>37376</c:v>
                </c:pt>
                <c:pt idx="337">
                  <c:v>37378</c:v>
                </c:pt>
                <c:pt idx="338">
                  <c:v>37379</c:v>
                </c:pt>
                <c:pt idx="339">
                  <c:v>37382</c:v>
                </c:pt>
                <c:pt idx="340">
                  <c:v>37383</c:v>
                </c:pt>
                <c:pt idx="341">
                  <c:v>37384</c:v>
                </c:pt>
                <c:pt idx="342">
                  <c:v>37385</c:v>
                </c:pt>
                <c:pt idx="343">
                  <c:v>37386</c:v>
                </c:pt>
                <c:pt idx="344">
                  <c:v>37389</c:v>
                </c:pt>
                <c:pt idx="345">
                  <c:v>37390</c:v>
                </c:pt>
                <c:pt idx="346">
                  <c:v>37391</c:v>
                </c:pt>
                <c:pt idx="347">
                  <c:v>37392</c:v>
                </c:pt>
                <c:pt idx="348">
                  <c:v>37393</c:v>
                </c:pt>
                <c:pt idx="349">
                  <c:v>37396</c:v>
                </c:pt>
                <c:pt idx="350">
                  <c:v>37397</c:v>
                </c:pt>
                <c:pt idx="351">
                  <c:v>37398</c:v>
                </c:pt>
                <c:pt idx="352">
                  <c:v>37399</c:v>
                </c:pt>
                <c:pt idx="353">
                  <c:v>37400</c:v>
                </c:pt>
                <c:pt idx="354">
                  <c:v>37403</c:v>
                </c:pt>
                <c:pt idx="355">
                  <c:v>37404</c:v>
                </c:pt>
                <c:pt idx="356">
                  <c:v>37405</c:v>
                </c:pt>
                <c:pt idx="357">
                  <c:v>37406</c:v>
                </c:pt>
                <c:pt idx="358">
                  <c:v>37407</c:v>
                </c:pt>
                <c:pt idx="359">
                  <c:v>37410</c:v>
                </c:pt>
                <c:pt idx="360">
                  <c:v>37411</c:v>
                </c:pt>
                <c:pt idx="361">
                  <c:v>37412</c:v>
                </c:pt>
                <c:pt idx="362">
                  <c:v>37413</c:v>
                </c:pt>
                <c:pt idx="363">
                  <c:v>37414</c:v>
                </c:pt>
                <c:pt idx="364">
                  <c:v>37417</c:v>
                </c:pt>
                <c:pt idx="365">
                  <c:v>37418</c:v>
                </c:pt>
                <c:pt idx="366">
                  <c:v>37419</c:v>
                </c:pt>
                <c:pt idx="367">
                  <c:v>37420</c:v>
                </c:pt>
                <c:pt idx="368">
                  <c:v>37421</c:v>
                </c:pt>
                <c:pt idx="369">
                  <c:v>37424</c:v>
                </c:pt>
                <c:pt idx="370">
                  <c:v>37425</c:v>
                </c:pt>
                <c:pt idx="371">
                  <c:v>37426</c:v>
                </c:pt>
                <c:pt idx="372">
                  <c:v>37427</c:v>
                </c:pt>
                <c:pt idx="373">
                  <c:v>37428</c:v>
                </c:pt>
                <c:pt idx="374">
                  <c:v>37431</c:v>
                </c:pt>
                <c:pt idx="375">
                  <c:v>37432</c:v>
                </c:pt>
                <c:pt idx="376">
                  <c:v>37433</c:v>
                </c:pt>
                <c:pt idx="377">
                  <c:v>37434</c:v>
                </c:pt>
                <c:pt idx="378">
                  <c:v>37435</c:v>
                </c:pt>
                <c:pt idx="379">
                  <c:v>37438</c:v>
                </c:pt>
                <c:pt idx="380">
                  <c:v>37439</c:v>
                </c:pt>
                <c:pt idx="381">
                  <c:v>37440</c:v>
                </c:pt>
                <c:pt idx="382">
                  <c:v>37441</c:v>
                </c:pt>
                <c:pt idx="383">
                  <c:v>37442</c:v>
                </c:pt>
                <c:pt idx="384">
                  <c:v>37445</c:v>
                </c:pt>
                <c:pt idx="385">
                  <c:v>37446</c:v>
                </c:pt>
                <c:pt idx="386">
                  <c:v>37447</c:v>
                </c:pt>
                <c:pt idx="387">
                  <c:v>37448</c:v>
                </c:pt>
                <c:pt idx="388">
                  <c:v>37449</c:v>
                </c:pt>
                <c:pt idx="389">
                  <c:v>37452</c:v>
                </c:pt>
                <c:pt idx="390">
                  <c:v>37453</c:v>
                </c:pt>
                <c:pt idx="391">
                  <c:v>37454</c:v>
                </c:pt>
                <c:pt idx="392">
                  <c:v>37455</c:v>
                </c:pt>
                <c:pt idx="393">
                  <c:v>37456</c:v>
                </c:pt>
                <c:pt idx="394">
                  <c:v>37459</c:v>
                </c:pt>
                <c:pt idx="395">
                  <c:v>37460</c:v>
                </c:pt>
                <c:pt idx="396">
                  <c:v>37461</c:v>
                </c:pt>
                <c:pt idx="397">
                  <c:v>37462</c:v>
                </c:pt>
                <c:pt idx="398">
                  <c:v>37463</c:v>
                </c:pt>
                <c:pt idx="399">
                  <c:v>37466</c:v>
                </c:pt>
                <c:pt idx="400">
                  <c:v>37467</c:v>
                </c:pt>
                <c:pt idx="401">
                  <c:v>37468</c:v>
                </c:pt>
                <c:pt idx="402">
                  <c:v>37469</c:v>
                </c:pt>
                <c:pt idx="403">
                  <c:v>37470</c:v>
                </c:pt>
                <c:pt idx="404">
                  <c:v>37473</c:v>
                </c:pt>
                <c:pt idx="405">
                  <c:v>37474</c:v>
                </c:pt>
                <c:pt idx="406">
                  <c:v>37475</c:v>
                </c:pt>
                <c:pt idx="407">
                  <c:v>37476</c:v>
                </c:pt>
                <c:pt idx="408">
                  <c:v>37477</c:v>
                </c:pt>
                <c:pt idx="409">
                  <c:v>37480</c:v>
                </c:pt>
                <c:pt idx="410">
                  <c:v>37481</c:v>
                </c:pt>
                <c:pt idx="411">
                  <c:v>37482</c:v>
                </c:pt>
                <c:pt idx="412">
                  <c:v>37483</c:v>
                </c:pt>
                <c:pt idx="413">
                  <c:v>37484</c:v>
                </c:pt>
                <c:pt idx="414">
                  <c:v>37487</c:v>
                </c:pt>
                <c:pt idx="415">
                  <c:v>37488</c:v>
                </c:pt>
                <c:pt idx="416">
                  <c:v>37489</c:v>
                </c:pt>
                <c:pt idx="417">
                  <c:v>37490</c:v>
                </c:pt>
                <c:pt idx="418">
                  <c:v>37491</c:v>
                </c:pt>
                <c:pt idx="419">
                  <c:v>37494</c:v>
                </c:pt>
                <c:pt idx="420">
                  <c:v>37495</c:v>
                </c:pt>
                <c:pt idx="421">
                  <c:v>37496</c:v>
                </c:pt>
                <c:pt idx="422">
                  <c:v>37497</c:v>
                </c:pt>
                <c:pt idx="423">
                  <c:v>37498</c:v>
                </c:pt>
                <c:pt idx="424">
                  <c:v>37501</c:v>
                </c:pt>
                <c:pt idx="425">
                  <c:v>37502</c:v>
                </c:pt>
                <c:pt idx="426">
                  <c:v>37503</c:v>
                </c:pt>
                <c:pt idx="427">
                  <c:v>37504</c:v>
                </c:pt>
                <c:pt idx="428">
                  <c:v>37505</c:v>
                </c:pt>
                <c:pt idx="429">
                  <c:v>37508</c:v>
                </c:pt>
                <c:pt idx="430">
                  <c:v>37509</c:v>
                </c:pt>
                <c:pt idx="431">
                  <c:v>37510</c:v>
                </c:pt>
                <c:pt idx="432">
                  <c:v>37511</c:v>
                </c:pt>
                <c:pt idx="433">
                  <c:v>37512</c:v>
                </c:pt>
                <c:pt idx="434">
                  <c:v>37515</c:v>
                </c:pt>
                <c:pt idx="435">
                  <c:v>37516</c:v>
                </c:pt>
                <c:pt idx="436">
                  <c:v>37517</c:v>
                </c:pt>
                <c:pt idx="437">
                  <c:v>37518</c:v>
                </c:pt>
                <c:pt idx="438">
                  <c:v>37519</c:v>
                </c:pt>
                <c:pt idx="439">
                  <c:v>37522</c:v>
                </c:pt>
                <c:pt idx="440">
                  <c:v>37523</c:v>
                </c:pt>
                <c:pt idx="441">
                  <c:v>37524</c:v>
                </c:pt>
                <c:pt idx="442">
                  <c:v>37525</c:v>
                </c:pt>
                <c:pt idx="443">
                  <c:v>37526</c:v>
                </c:pt>
                <c:pt idx="444">
                  <c:v>37529</c:v>
                </c:pt>
                <c:pt idx="445">
                  <c:v>37530</c:v>
                </c:pt>
                <c:pt idx="446">
                  <c:v>37531</c:v>
                </c:pt>
                <c:pt idx="447">
                  <c:v>37532</c:v>
                </c:pt>
                <c:pt idx="448">
                  <c:v>37533</c:v>
                </c:pt>
                <c:pt idx="449">
                  <c:v>37536</c:v>
                </c:pt>
                <c:pt idx="450">
                  <c:v>37537</c:v>
                </c:pt>
                <c:pt idx="451">
                  <c:v>37538</c:v>
                </c:pt>
                <c:pt idx="452">
                  <c:v>37539</c:v>
                </c:pt>
                <c:pt idx="453">
                  <c:v>37540</c:v>
                </c:pt>
                <c:pt idx="454">
                  <c:v>37543</c:v>
                </c:pt>
                <c:pt idx="455">
                  <c:v>37544</c:v>
                </c:pt>
                <c:pt idx="456">
                  <c:v>37545</c:v>
                </c:pt>
                <c:pt idx="457">
                  <c:v>37546</c:v>
                </c:pt>
                <c:pt idx="458">
                  <c:v>37547</c:v>
                </c:pt>
                <c:pt idx="459">
                  <c:v>37550</c:v>
                </c:pt>
                <c:pt idx="460">
                  <c:v>37551</c:v>
                </c:pt>
                <c:pt idx="461">
                  <c:v>37552</c:v>
                </c:pt>
                <c:pt idx="462">
                  <c:v>37553</c:v>
                </c:pt>
                <c:pt idx="463">
                  <c:v>37554</c:v>
                </c:pt>
                <c:pt idx="464">
                  <c:v>37557</c:v>
                </c:pt>
                <c:pt idx="465">
                  <c:v>37558</c:v>
                </c:pt>
                <c:pt idx="466">
                  <c:v>37559</c:v>
                </c:pt>
                <c:pt idx="467">
                  <c:v>37560</c:v>
                </c:pt>
                <c:pt idx="468">
                  <c:v>37561</c:v>
                </c:pt>
                <c:pt idx="469">
                  <c:v>37564</c:v>
                </c:pt>
                <c:pt idx="470">
                  <c:v>37565</c:v>
                </c:pt>
                <c:pt idx="471">
                  <c:v>37566</c:v>
                </c:pt>
                <c:pt idx="472">
                  <c:v>37567</c:v>
                </c:pt>
                <c:pt idx="473">
                  <c:v>37568</c:v>
                </c:pt>
                <c:pt idx="474">
                  <c:v>37571</c:v>
                </c:pt>
                <c:pt idx="475">
                  <c:v>37572</c:v>
                </c:pt>
                <c:pt idx="476">
                  <c:v>37573</c:v>
                </c:pt>
                <c:pt idx="477">
                  <c:v>37574</c:v>
                </c:pt>
                <c:pt idx="478">
                  <c:v>37575</c:v>
                </c:pt>
                <c:pt idx="479">
                  <c:v>37578</c:v>
                </c:pt>
                <c:pt idx="480">
                  <c:v>37579</c:v>
                </c:pt>
                <c:pt idx="481">
                  <c:v>37580</c:v>
                </c:pt>
                <c:pt idx="482">
                  <c:v>37581</c:v>
                </c:pt>
                <c:pt idx="483">
                  <c:v>37582</c:v>
                </c:pt>
                <c:pt idx="484">
                  <c:v>37585</c:v>
                </c:pt>
                <c:pt idx="485">
                  <c:v>37586</c:v>
                </c:pt>
                <c:pt idx="486">
                  <c:v>37587</c:v>
                </c:pt>
                <c:pt idx="487">
                  <c:v>37588</c:v>
                </c:pt>
                <c:pt idx="488">
                  <c:v>37589</c:v>
                </c:pt>
                <c:pt idx="489">
                  <c:v>37592</c:v>
                </c:pt>
                <c:pt idx="490">
                  <c:v>37593</c:v>
                </c:pt>
                <c:pt idx="491">
                  <c:v>37594</c:v>
                </c:pt>
                <c:pt idx="492">
                  <c:v>37595</c:v>
                </c:pt>
                <c:pt idx="493">
                  <c:v>37596</c:v>
                </c:pt>
                <c:pt idx="494">
                  <c:v>37599</c:v>
                </c:pt>
                <c:pt idx="495">
                  <c:v>37600</c:v>
                </c:pt>
                <c:pt idx="496">
                  <c:v>37601</c:v>
                </c:pt>
                <c:pt idx="497">
                  <c:v>37602</c:v>
                </c:pt>
                <c:pt idx="498">
                  <c:v>37603</c:v>
                </c:pt>
                <c:pt idx="499">
                  <c:v>37606</c:v>
                </c:pt>
                <c:pt idx="500">
                  <c:v>37607</c:v>
                </c:pt>
                <c:pt idx="501">
                  <c:v>37608</c:v>
                </c:pt>
                <c:pt idx="502">
                  <c:v>37609</c:v>
                </c:pt>
                <c:pt idx="503">
                  <c:v>37610</c:v>
                </c:pt>
                <c:pt idx="504">
                  <c:v>37613</c:v>
                </c:pt>
                <c:pt idx="505">
                  <c:v>37617</c:v>
                </c:pt>
                <c:pt idx="506">
                  <c:v>37620</c:v>
                </c:pt>
                <c:pt idx="507">
                  <c:v>37623</c:v>
                </c:pt>
                <c:pt idx="508">
                  <c:v>37624</c:v>
                </c:pt>
                <c:pt idx="509">
                  <c:v>37627</c:v>
                </c:pt>
                <c:pt idx="510">
                  <c:v>37628</c:v>
                </c:pt>
                <c:pt idx="511">
                  <c:v>37629</c:v>
                </c:pt>
                <c:pt idx="512">
                  <c:v>37630</c:v>
                </c:pt>
                <c:pt idx="513">
                  <c:v>37631</c:v>
                </c:pt>
                <c:pt idx="514">
                  <c:v>37634</c:v>
                </c:pt>
                <c:pt idx="515">
                  <c:v>37635</c:v>
                </c:pt>
                <c:pt idx="516">
                  <c:v>37636</c:v>
                </c:pt>
                <c:pt idx="517">
                  <c:v>37637</c:v>
                </c:pt>
                <c:pt idx="518">
                  <c:v>37638</c:v>
                </c:pt>
                <c:pt idx="519">
                  <c:v>37641</c:v>
                </c:pt>
                <c:pt idx="520">
                  <c:v>37642</c:v>
                </c:pt>
                <c:pt idx="521">
                  <c:v>37643</c:v>
                </c:pt>
                <c:pt idx="522">
                  <c:v>37644</c:v>
                </c:pt>
                <c:pt idx="523">
                  <c:v>37645</c:v>
                </c:pt>
                <c:pt idx="524">
                  <c:v>37648</c:v>
                </c:pt>
                <c:pt idx="525">
                  <c:v>37649</c:v>
                </c:pt>
                <c:pt idx="526">
                  <c:v>37650</c:v>
                </c:pt>
                <c:pt idx="527">
                  <c:v>37651</c:v>
                </c:pt>
                <c:pt idx="528">
                  <c:v>37652</c:v>
                </c:pt>
                <c:pt idx="529">
                  <c:v>37655</c:v>
                </c:pt>
                <c:pt idx="530">
                  <c:v>37656</c:v>
                </c:pt>
                <c:pt idx="531">
                  <c:v>37657</c:v>
                </c:pt>
                <c:pt idx="532">
                  <c:v>37658</c:v>
                </c:pt>
                <c:pt idx="533">
                  <c:v>37659</c:v>
                </c:pt>
                <c:pt idx="534">
                  <c:v>37662</c:v>
                </c:pt>
                <c:pt idx="535">
                  <c:v>37663</c:v>
                </c:pt>
                <c:pt idx="536">
                  <c:v>37664</c:v>
                </c:pt>
                <c:pt idx="537">
                  <c:v>37665</c:v>
                </c:pt>
                <c:pt idx="538">
                  <c:v>37666</c:v>
                </c:pt>
                <c:pt idx="539">
                  <c:v>37669</c:v>
                </c:pt>
                <c:pt idx="540">
                  <c:v>37670</c:v>
                </c:pt>
                <c:pt idx="541">
                  <c:v>37671</c:v>
                </c:pt>
                <c:pt idx="542">
                  <c:v>37672</c:v>
                </c:pt>
                <c:pt idx="543">
                  <c:v>37673</c:v>
                </c:pt>
                <c:pt idx="544">
                  <c:v>37676</c:v>
                </c:pt>
                <c:pt idx="545">
                  <c:v>37677</c:v>
                </c:pt>
                <c:pt idx="546">
                  <c:v>37678</c:v>
                </c:pt>
                <c:pt idx="547">
                  <c:v>37679</c:v>
                </c:pt>
                <c:pt idx="548">
                  <c:v>37680</c:v>
                </c:pt>
                <c:pt idx="549">
                  <c:v>37683</c:v>
                </c:pt>
                <c:pt idx="550">
                  <c:v>37684</c:v>
                </c:pt>
                <c:pt idx="551">
                  <c:v>37685</c:v>
                </c:pt>
                <c:pt idx="552">
                  <c:v>37686</c:v>
                </c:pt>
                <c:pt idx="553">
                  <c:v>37687</c:v>
                </c:pt>
                <c:pt idx="554">
                  <c:v>37690</c:v>
                </c:pt>
                <c:pt idx="555">
                  <c:v>37691</c:v>
                </c:pt>
                <c:pt idx="556">
                  <c:v>37692</c:v>
                </c:pt>
                <c:pt idx="557">
                  <c:v>37693</c:v>
                </c:pt>
                <c:pt idx="558">
                  <c:v>37694</c:v>
                </c:pt>
                <c:pt idx="559">
                  <c:v>37697</c:v>
                </c:pt>
                <c:pt idx="560">
                  <c:v>37698</c:v>
                </c:pt>
                <c:pt idx="561">
                  <c:v>37699</c:v>
                </c:pt>
                <c:pt idx="562">
                  <c:v>37700</c:v>
                </c:pt>
                <c:pt idx="563">
                  <c:v>37701</c:v>
                </c:pt>
                <c:pt idx="564">
                  <c:v>37704</c:v>
                </c:pt>
                <c:pt idx="565">
                  <c:v>37705</c:v>
                </c:pt>
                <c:pt idx="566">
                  <c:v>37706</c:v>
                </c:pt>
                <c:pt idx="567">
                  <c:v>37707</c:v>
                </c:pt>
                <c:pt idx="568">
                  <c:v>37708</c:v>
                </c:pt>
                <c:pt idx="569">
                  <c:v>37711</c:v>
                </c:pt>
                <c:pt idx="570">
                  <c:v>37712</c:v>
                </c:pt>
                <c:pt idx="571">
                  <c:v>37713</c:v>
                </c:pt>
                <c:pt idx="572">
                  <c:v>37714</c:v>
                </c:pt>
                <c:pt idx="573">
                  <c:v>37715</c:v>
                </c:pt>
                <c:pt idx="574">
                  <c:v>37718</c:v>
                </c:pt>
                <c:pt idx="575">
                  <c:v>37719</c:v>
                </c:pt>
                <c:pt idx="576">
                  <c:v>37720</c:v>
                </c:pt>
                <c:pt idx="577">
                  <c:v>37721</c:v>
                </c:pt>
                <c:pt idx="578">
                  <c:v>37722</c:v>
                </c:pt>
                <c:pt idx="579">
                  <c:v>37725</c:v>
                </c:pt>
                <c:pt idx="580">
                  <c:v>37726</c:v>
                </c:pt>
                <c:pt idx="581">
                  <c:v>37727</c:v>
                </c:pt>
                <c:pt idx="582">
                  <c:v>37728</c:v>
                </c:pt>
                <c:pt idx="583">
                  <c:v>37733</c:v>
                </c:pt>
                <c:pt idx="584">
                  <c:v>37734</c:v>
                </c:pt>
                <c:pt idx="585">
                  <c:v>37735</c:v>
                </c:pt>
                <c:pt idx="586">
                  <c:v>37736</c:v>
                </c:pt>
                <c:pt idx="587">
                  <c:v>37739</c:v>
                </c:pt>
                <c:pt idx="588">
                  <c:v>37740</c:v>
                </c:pt>
                <c:pt idx="589">
                  <c:v>37741</c:v>
                </c:pt>
                <c:pt idx="590">
                  <c:v>37742</c:v>
                </c:pt>
                <c:pt idx="591">
                  <c:v>37743</c:v>
                </c:pt>
                <c:pt idx="592">
                  <c:v>37746</c:v>
                </c:pt>
                <c:pt idx="593">
                  <c:v>37747</c:v>
                </c:pt>
                <c:pt idx="594">
                  <c:v>37748</c:v>
                </c:pt>
                <c:pt idx="595">
                  <c:v>37749</c:v>
                </c:pt>
                <c:pt idx="596">
                  <c:v>37750</c:v>
                </c:pt>
                <c:pt idx="597">
                  <c:v>37753</c:v>
                </c:pt>
                <c:pt idx="598">
                  <c:v>37754</c:v>
                </c:pt>
                <c:pt idx="599">
                  <c:v>37755</c:v>
                </c:pt>
                <c:pt idx="600">
                  <c:v>37756</c:v>
                </c:pt>
                <c:pt idx="601">
                  <c:v>37757</c:v>
                </c:pt>
                <c:pt idx="602">
                  <c:v>37760</c:v>
                </c:pt>
                <c:pt idx="603">
                  <c:v>37761</c:v>
                </c:pt>
                <c:pt idx="604">
                  <c:v>37762</c:v>
                </c:pt>
                <c:pt idx="605">
                  <c:v>37763</c:v>
                </c:pt>
                <c:pt idx="606">
                  <c:v>37764</c:v>
                </c:pt>
                <c:pt idx="607">
                  <c:v>37767</c:v>
                </c:pt>
                <c:pt idx="608">
                  <c:v>37768</c:v>
                </c:pt>
                <c:pt idx="609">
                  <c:v>37769</c:v>
                </c:pt>
                <c:pt idx="610">
                  <c:v>37770</c:v>
                </c:pt>
                <c:pt idx="611">
                  <c:v>37771</c:v>
                </c:pt>
                <c:pt idx="612">
                  <c:v>37774</c:v>
                </c:pt>
                <c:pt idx="613">
                  <c:v>37775</c:v>
                </c:pt>
                <c:pt idx="614">
                  <c:v>37776</c:v>
                </c:pt>
                <c:pt idx="615">
                  <c:v>37777</c:v>
                </c:pt>
                <c:pt idx="616">
                  <c:v>37778</c:v>
                </c:pt>
                <c:pt idx="617">
                  <c:v>37781</c:v>
                </c:pt>
                <c:pt idx="618">
                  <c:v>37782</c:v>
                </c:pt>
                <c:pt idx="619">
                  <c:v>37783</c:v>
                </c:pt>
                <c:pt idx="620">
                  <c:v>37784</c:v>
                </c:pt>
                <c:pt idx="621">
                  <c:v>37785</c:v>
                </c:pt>
                <c:pt idx="622">
                  <c:v>37788</c:v>
                </c:pt>
                <c:pt idx="623">
                  <c:v>37789</c:v>
                </c:pt>
                <c:pt idx="624">
                  <c:v>37790</c:v>
                </c:pt>
                <c:pt idx="625">
                  <c:v>37791</c:v>
                </c:pt>
                <c:pt idx="626">
                  <c:v>37792</c:v>
                </c:pt>
                <c:pt idx="627">
                  <c:v>37795</c:v>
                </c:pt>
                <c:pt idx="628">
                  <c:v>37796</c:v>
                </c:pt>
                <c:pt idx="629">
                  <c:v>37797</c:v>
                </c:pt>
                <c:pt idx="630">
                  <c:v>37798</c:v>
                </c:pt>
                <c:pt idx="631">
                  <c:v>37799</c:v>
                </c:pt>
                <c:pt idx="632">
                  <c:v>37802</c:v>
                </c:pt>
                <c:pt idx="633">
                  <c:v>37803</c:v>
                </c:pt>
                <c:pt idx="634">
                  <c:v>37804</c:v>
                </c:pt>
                <c:pt idx="635">
                  <c:v>37805</c:v>
                </c:pt>
                <c:pt idx="636">
                  <c:v>37806</c:v>
                </c:pt>
                <c:pt idx="637">
                  <c:v>37809</c:v>
                </c:pt>
                <c:pt idx="638">
                  <c:v>37810</c:v>
                </c:pt>
                <c:pt idx="639">
                  <c:v>37811</c:v>
                </c:pt>
                <c:pt idx="640">
                  <c:v>37812</c:v>
                </c:pt>
                <c:pt idx="641">
                  <c:v>37813</c:v>
                </c:pt>
                <c:pt idx="642">
                  <c:v>37816</c:v>
                </c:pt>
                <c:pt idx="643">
                  <c:v>37817</c:v>
                </c:pt>
                <c:pt idx="644">
                  <c:v>37818</c:v>
                </c:pt>
                <c:pt idx="645">
                  <c:v>37819</c:v>
                </c:pt>
                <c:pt idx="646">
                  <c:v>37820</c:v>
                </c:pt>
                <c:pt idx="647">
                  <c:v>37823</c:v>
                </c:pt>
                <c:pt idx="648">
                  <c:v>37824</c:v>
                </c:pt>
                <c:pt idx="649">
                  <c:v>37825</c:v>
                </c:pt>
                <c:pt idx="650">
                  <c:v>37826</c:v>
                </c:pt>
                <c:pt idx="651">
                  <c:v>37827</c:v>
                </c:pt>
                <c:pt idx="652">
                  <c:v>37830</c:v>
                </c:pt>
                <c:pt idx="653">
                  <c:v>37831</c:v>
                </c:pt>
                <c:pt idx="654">
                  <c:v>37832</c:v>
                </c:pt>
                <c:pt idx="655">
                  <c:v>37833</c:v>
                </c:pt>
                <c:pt idx="656">
                  <c:v>37834</c:v>
                </c:pt>
                <c:pt idx="657">
                  <c:v>37837</c:v>
                </c:pt>
                <c:pt idx="658">
                  <c:v>37838</c:v>
                </c:pt>
                <c:pt idx="659">
                  <c:v>37839</c:v>
                </c:pt>
                <c:pt idx="660">
                  <c:v>37840</c:v>
                </c:pt>
                <c:pt idx="661">
                  <c:v>37841</c:v>
                </c:pt>
                <c:pt idx="662">
                  <c:v>37844</c:v>
                </c:pt>
                <c:pt idx="663">
                  <c:v>37845</c:v>
                </c:pt>
                <c:pt idx="664">
                  <c:v>37846</c:v>
                </c:pt>
                <c:pt idx="665">
                  <c:v>37847</c:v>
                </c:pt>
                <c:pt idx="666">
                  <c:v>37848</c:v>
                </c:pt>
                <c:pt idx="667">
                  <c:v>37851</c:v>
                </c:pt>
                <c:pt idx="668">
                  <c:v>37852</c:v>
                </c:pt>
                <c:pt idx="669">
                  <c:v>37853</c:v>
                </c:pt>
                <c:pt idx="670">
                  <c:v>37854</c:v>
                </c:pt>
                <c:pt idx="671">
                  <c:v>37855</c:v>
                </c:pt>
                <c:pt idx="672">
                  <c:v>37858</c:v>
                </c:pt>
                <c:pt idx="673">
                  <c:v>37859</c:v>
                </c:pt>
                <c:pt idx="674">
                  <c:v>37860</c:v>
                </c:pt>
                <c:pt idx="675">
                  <c:v>37861</c:v>
                </c:pt>
                <c:pt idx="676">
                  <c:v>37862</c:v>
                </c:pt>
                <c:pt idx="677">
                  <c:v>37865</c:v>
                </c:pt>
                <c:pt idx="678">
                  <c:v>37866</c:v>
                </c:pt>
                <c:pt idx="679">
                  <c:v>37867</c:v>
                </c:pt>
                <c:pt idx="680">
                  <c:v>37868</c:v>
                </c:pt>
                <c:pt idx="681">
                  <c:v>37869</c:v>
                </c:pt>
                <c:pt idx="682">
                  <c:v>37872</c:v>
                </c:pt>
                <c:pt idx="683">
                  <c:v>37873</c:v>
                </c:pt>
                <c:pt idx="684">
                  <c:v>37874</c:v>
                </c:pt>
                <c:pt idx="685">
                  <c:v>37875</c:v>
                </c:pt>
                <c:pt idx="686">
                  <c:v>37876</c:v>
                </c:pt>
                <c:pt idx="687">
                  <c:v>37879</c:v>
                </c:pt>
                <c:pt idx="688">
                  <c:v>37880</c:v>
                </c:pt>
                <c:pt idx="689">
                  <c:v>37881</c:v>
                </c:pt>
                <c:pt idx="690">
                  <c:v>37882</c:v>
                </c:pt>
                <c:pt idx="691">
                  <c:v>37883</c:v>
                </c:pt>
                <c:pt idx="692">
                  <c:v>37886</c:v>
                </c:pt>
                <c:pt idx="693">
                  <c:v>37887</c:v>
                </c:pt>
                <c:pt idx="694">
                  <c:v>37888</c:v>
                </c:pt>
                <c:pt idx="695">
                  <c:v>37889</c:v>
                </c:pt>
                <c:pt idx="696">
                  <c:v>37890</c:v>
                </c:pt>
                <c:pt idx="697">
                  <c:v>37893</c:v>
                </c:pt>
                <c:pt idx="698">
                  <c:v>37894</c:v>
                </c:pt>
                <c:pt idx="699">
                  <c:v>37895</c:v>
                </c:pt>
                <c:pt idx="700">
                  <c:v>37896</c:v>
                </c:pt>
                <c:pt idx="701">
                  <c:v>37897</c:v>
                </c:pt>
                <c:pt idx="702">
                  <c:v>37900</c:v>
                </c:pt>
                <c:pt idx="703">
                  <c:v>37901</c:v>
                </c:pt>
                <c:pt idx="704">
                  <c:v>37902</c:v>
                </c:pt>
                <c:pt idx="705">
                  <c:v>37903</c:v>
                </c:pt>
                <c:pt idx="706">
                  <c:v>37904</c:v>
                </c:pt>
                <c:pt idx="707">
                  <c:v>37907</c:v>
                </c:pt>
                <c:pt idx="708">
                  <c:v>37908</c:v>
                </c:pt>
                <c:pt idx="709">
                  <c:v>37909</c:v>
                </c:pt>
                <c:pt idx="710">
                  <c:v>37910</c:v>
                </c:pt>
                <c:pt idx="711">
                  <c:v>37911</c:v>
                </c:pt>
                <c:pt idx="712">
                  <c:v>37914</c:v>
                </c:pt>
                <c:pt idx="713">
                  <c:v>37915</c:v>
                </c:pt>
                <c:pt idx="714">
                  <c:v>37916</c:v>
                </c:pt>
                <c:pt idx="715">
                  <c:v>37917</c:v>
                </c:pt>
                <c:pt idx="716">
                  <c:v>37918</c:v>
                </c:pt>
                <c:pt idx="717">
                  <c:v>37921</c:v>
                </c:pt>
                <c:pt idx="718">
                  <c:v>37922</c:v>
                </c:pt>
                <c:pt idx="719">
                  <c:v>37923</c:v>
                </c:pt>
                <c:pt idx="720">
                  <c:v>37924</c:v>
                </c:pt>
                <c:pt idx="721">
                  <c:v>37925</c:v>
                </c:pt>
                <c:pt idx="722">
                  <c:v>37928</c:v>
                </c:pt>
                <c:pt idx="723">
                  <c:v>37929</c:v>
                </c:pt>
                <c:pt idx="724">
                  <c:v>37930</c:v>
                </c:pt>
                <c:pt idx="725">
                  <c:v>37931</c:v>
                </c:pt>
                <c:pt idx="726">
                  <c:v>37932</c:v>
                </c:pt>
                <c:pt idx="727">
                  <c:v>37935</c:v>
                </c:pt>
                <c:pt idx="728">
                  <c:v>37936</c:v>
                </c:pt>
                <c:pt idx="729">
                  <c:v>37937</c:v>
                </c:pt>
                <c:pt idx="730">
                  <c:v>37938</c:v>
                </c:pt>
                <c:pt idx="731">
                  <c:v>37939</c:v>
                </c:pt>
                <c:pt idx="732">
                  <c:v>37942</c:v>
                </c:pt>
                <c:pt idx="733">
                  <c:v>37943</c:v>
                </c:pt>
                <c:pt idx="734">
                  <c:v>37944</c:v>
                </c:pt>
                <c:pt idx="735">
                  <c:v>37945</c:v>
                </c:pt>
                <c:pt idx="736">
                  <c:v>37946</c:v>
                </c:pt>
                <c:pt idx="737">
                  <c:v>37949</c:v>
                </c:pt>
                <c:pt idx="738">
                  <c:v>37950</c:v>
                </c:pt>
                <c:pt idx="739">
                  <c:v>37951</c:v>
                </c:pt>
                <c:pt idx="740">
                  <c:v>37952</c:v>
                </c:pt>
                <c:pt idx="741">
                  <c:v>37953</c:v>
                </c:pt>
                <c:pt idx="742">
                  <c:v>37956</c:v>
                </c:pt>
                <c:pt idx="743">
                  <c:v>37957</c:v>
                </c:pt>
                <c:pt idx="744">
                  <c:v>37958</c:v>
                </c:pt>
                <c:pt idx="745">
                  <c:v>37959</c:v>
                </c:pt>
                <c:pt idx="746">
                  <c:v>37960</c:v>
                </c:pt>
                <c:pt idx="747">
                  <c:v>37963</c:v>
                </c:pt>
                <c:pt idx="748">
                  <c:v>37964</c:v>
                </c:pt>
                <c:pt idx="749">
                  <c:v>37965</c:v>
                </c:pt>
                <c:pt idx="750">
                  <c:v>37966</c:v>
                </c:pt>
                <c:pt idx="751">
                  <c:v>37967</c:v>
                </c:pt>
                <c:pt idx="752">
                  <c:v>37970</c:v>
                </c:pt>
                <c:pt idx="753">
                  <c:v>37971</c:v>
                </c:pt>
                <c:pt idx="754">
                  <c:v>37972</c:v>
                </c:pt>
                <c:pt idx="755">
                  <c:v>37973</c:v>
                </c:pt>
                <c:pt idx="756">
                  <c:v>37974</c:v>
                </c:pt>
                <c:pt idx="757">
                  <c:v>37977</c:v>
                </c:pt>
                <c:pt idx="758">
                  <c:v>37978</c:v>
                </c:pt>
                <c:pt idx="759">
                  <c:v>37979</c:v>
                </c:pt>
                <c:pt idx="760">
                  <c:v>37984</c:v>
                </c:pt>
                <c:pt idx="761">
                  <c:v>37985</c:v>
                </c:pt>
                <c:pt idx="762">
                  <c:v>37986</c:v>
                </c:pt>
                <c:pt idx="763">
                  <c:v>37988</c:v>
                </c:pt>
                <c:pt idx="764">
                  <c:v>37991</c:v>
                </c:pt>
                <c:pt idx="765">
                  <c:v>37992</c:v>
                </c:pt>
                <c:pt idx="766">
                  <c:v>37993</c:v>
                </c:pt>
                <c:pt idx="767">
                  <c:v>37994</c:v>
                </c:pt>
                <c:pt idx="768">
                  <c:v>37995</c:v>
                </c:pt>
                <c:pt idx="769">
                  <c:v>37998</c:v>
                </c:pt>
                <c:pt idx="770">
                  <c:v>37999</c:v>
                </c:pt>
                <c:pt idx="771">
                  <c:v>38000</c:v>
                </c:pt>
                <c:pt idx="772">
                  <c:v>38001</c:v>
                </c:pt>
                <c:pt idx="773">
                  <c:v>38002</c:v>
                </c:pt>
                <c:pt idx="774">
                  <c:v>38005</c:v>
                </c:pt>
                <c:pt idx="775">
                  <c:v>38006</c:v>
                </c:pt>
                <c:pt idx="776">
                  <c:v>38007</c:v>
                </c:pt>
                <c:pt idx="777">
                  <c:v>38008</c:v>
                </c:pt>
                <c:pt idx="778">
                  <c:v>38009</c:v>
                </c:pt>
                <c:pt idx="779">
                  <c:v>38012</c:v>
                </c:pt>
                <c:pt idx="780">
                  <c:v>38013</c:v>
                </c:pt>
                <c:pt idx="781">
                  <c:v>38014</c:v>
                </c:pt>
                <c:pt idx="782">
                  <c:v>38015</c:v>
                </c:pt>
                <c:pt idx="783">
                  <c:v>38016</c:v>
                </c:pt>
                <c:pt idx="784">
                  <c:v>38019</c:v>
                </c:pt>
                <c:pt idx="785">
                  <c:v>38020</c:v>
                </c:pt>
                <c:pt idx="786">
                  <c:v>38021</c:v>
                </c:pt>
                <c:pt idx="787">
                  <c:v>38022</c:v>
                </c:pt>
                <c:pt idx="788">
                  <c:v>38023</c:v>
                </c:pt>
                <c:pt idx="789">
                  <c:v>38026</c:v>
                </c:pt>
                <c:pt idx="790">
                  <c:v>38027</c:v>
                </c:pt>
                <c:pt idx="791">
                  <c:v>38028</c:v>
                </c:pt>
                <c:pt idx="792">
                  <c:v>38029</c:v>
                </c:pt>
                <c:pt idx="793">
                  <c:v>38030</c:v>
                </c:pt>
                <c:pt idx="794">
                  <c:v>38033</c:v>
                </c:pt>
                <c:pt idx="795">
                  <c:v>38034</c:v>
                </c:pt>
                <c:pt idx="796">
                  <c:v>38035</c:v>
                </c:pt>
                <c:pt idx="797">
                  <c:v>38036</c:v>
                </c:pt>
                <c:pt idx="798">
                  <c:v>38037</c:v>
                </c:pt>
                <c:pt idx="799">
                  <c:v>38040</c:v>
                </c:pt>
                <c:pt idx="800">
                  <c:v>38041</c:v>
                </c:pt>
                <c:pt idx="801">
                  <c:v>38042</c:v>
                </c:pt>
                <c:pt idx="802">
                  <c:v>38043</c:v>
                </c:pt>
                <c:pt idx="803">
                  <c:v>38044</c:v>
                </c:pt>
                <c:pt idx="804">
                  <c:v>38047</c:v>
                </c:pt>
                <c:pt idx="805">
                  <c:v>38048</c:v>
                </c:pt>
                <c:pt idx="806">
                  <c:v>38049</c:v>
                </c:pt>
                <c:pt idx="807">
                  <c:v>38050</c:v>
                </c:pt>
                <c:pt idx="808">
                  <c:v>38051</c:v>
                </c:pt>
                <c:pt idx="809">
                  <c:v>38054</c:v>
                </c:pt>
                <c:pt idx="810">
                  <c:v>38055</c:v>
                </c:pt>
                <c:pt idx="811">
                  <c:v>38056</c:v>
                </c:pt>
                <c:pt idx="812">
                  <c:v>38057</c:v>
                </c:pt>
                <c:pt idx="813">
                  <c:v>38058</c:v>
                </c:pt>
                <c:pt idx="814">
                  <c:v>38061</c:v>
                </c:pt>
                <c:pt idx="815">
                  <c:v>38062</c:v>
                </c:pt>
                <c:pt idx="816">
                  <c:v>38063</c:v>
                </c:pt>
                <c:pt idx="817">
                  <c:v>38064</c:v>
                </c:pt>
                <c:pt idx="818">
                  <c:v>38065</c:v>
                </c:pt>
                <c:pt idx="819">
                  <c:v>38068</c:v>
                </c:pt>
                <c:pt idx="820">
                  <c:v>38069</c:v>
                </c:pt>
                <c:pt idx="821">
                  <c:v>38070</c:v>
                </c:pt>
                <c:pt idx="822">
                  <c:v>38071</c:v>
                </c:pt>
                <c:pt idx="823">
                  <c:v>38072</c:v>
                </c:pt>
                <c:pt idx="824">
                  <c:v>38075</c:v>
                </c:pt>
                <c:pt idx="825">
                  <c:v>38076</c:v>
                </c:pt>
                <c:pt idx="826">
                  <c:v>38077</c:v>
                </c:pt>
                <c:pt idx="827">
                  <c:v>38078</c:v>
                </c:pt>
                <c:pt idx="828">
                  <c:v>38079</c:v>
                </c:pt>
                <c:pt idx="829">
                  <c:v>38082</c:v>
                </c:pt>
                <c:pt idx="830">
                  <c:v>38083</c:v>
                </c:pt>
                <c:pt idx="831">
                  <c:v>38084</c:v>
                </c:pt>
                <c:pt idx="832">
                  <c:v>38085</c:v>
                </c:pt>
                <c:pt idx="833">
                  <c:v>38090</c:v>
                </c:pt>
                <c:pt idx="834">
                  <c:v>38091</c:v>
                </c:pt>
                <c:pt idx="835">
                  <c:v>38092</c:v>
                </c:pt>
                <c:pt idx="836">
                  <c:v>38093</c:v>
                </c:pt>
                <c:pt idx="837">
                  <c:v>38096</c:v>
                </c:pt>
                <c:pt idx="838">
                  <c:v>38097</c:v>
                </c:pt>
                <c:pt idx="839">
                  <c:v>38098</c:v>
                </c:pt>
                <c:pt idx="840">
                  <c:v>38099</c:v>
                </c:pt>
                <c:pt idx="841">
                  <c:v>38100</c:v>
                </c:pt>
                <c:pt idx="842">
                  <c:v>38103</c:v>
                </c:pt>
                <c:pt idx="843">
                  <c:v>38104</c:v>
                </c:pt>
                <c:pt idx="844">
                  <c:v>38105</c:v>
                </c:pt>
                <c:pt idx="845">
                  <c:v>38106</c:v>
                </c:pt>
                <c:pt idx="846">
                  <c:v>38107</c:v>
                </c:pt>
                <c:pt idx="847">
                  <c:v>38110</c:v>
                </c:pt>
                <c:pt idx="848">
                  <c:v>38111</c:v>
                </c:pt>
                <c:pt idx="849">
                  <c:v>38112</c:v>
                </c:pt>
                <c:pt idx="850">
                  <c:v>38113</c:v>
                </c:pt>
                <c:pt idx="851">
                  <c:v>38114</c:v>
                </c:pt>
                <c:pt idx="852">
                  <c:v>38117</c:v>
                </c:pt>
                <c:pt idx="853">
                  <c:v>38118</c:v>
                </c:pt>
                <c:pt idx="854">
                  <c:v>38119</c:v>
                </c:pt>
                <c:pt idx="855">
                  <c:v>38120</c:v>
                </c:pt>
                <c:pt idx="856">
                  <c:v>38121</c:v>
                </c:pt>
                <c:pt idx="857">
                  <c:v>38124</c:v>
                </c:pt>
                <c:pt idx="858">
                  <c:v>38125</c:v>
                </c:pt>
                <c:pt idx="859">
                  <c:v>38126</c:v>
                </c:pt>
                <c:pt idx="860">
                  <c:v>38127</c:v>
                </c:pt>
                <c:pt idx="861">
                  <c:v>38128</c:v>
                </c:pt>
                <c:pt idx="862">
                  <c:v>38131</c:v>
                </c:pt>
                <c:pt idx="863">
                  <c:v>38132</c:v>
                </c:pt>
                <c:pt idx="864">
                  <c:v>38133</c:v>
                </c:pt>
                <c:pt idx="865">
                  <c:v>38134</c:v>
                </c:pt>
                <c:pt idx="866">
                  <c:v>38135</c:v>
                </c:pt>
                <c:pt idx="867">
                  <c:v>38138</c:v>
                </c:pt>
                <c:pt idx="868">
                  <c:v>38139</c:v>
                </c:pt>
                <c:pt idx="869">
                  <c:v>38140</c:v>
                </c:pt>
                <c:pt idx="870">
                  <c:v>38141</c:v>
                </c:pt>
                <c:pt idx="871">
                  <c:v>38142</c:v>
                </c:pt>
                <c:pt idx="872">
                  <c:v>38145</c:v>
                </c:pt>
                <c:pt idx="873">
                  <c:v>38146</c:v>
                </c:pt>
                <c:pt idx="874">
                  <c:v>38147</c:v>
                </c:pt>
                <c:pt idx="875">
                  <c:v>38148</c:v>
                </c:pt>
                <c:pt idx="876">
                  <c:v>38149</c:v>
                </c:pt>
                <c:pt idx="877">
                  <c:v>38152</c:v>
                </c:pt>
                <c:pt idx="878">
                  <c:v>38153</c:v>
                </c:pt>
                <c:pt idx="879">
                  <c:v>38154</c:v>
                </c:pt>
                <c:pt idx="880">
                  <c:v>38155</c:v>
                </c:pt>
                <c:pt idx="881">
                  <c:v>38156</c:v>
                </c:pt>
                <c:pt idx="882">
                  <c:v>38159</c:v>
                </c:pt>
                <c:pt idx="883">
                  <c:v>38160</c:v>
                </c:pt>
                <c:pt idx="884">
                  <c:v>38161</c:v>
                </c:pt>
                <c:pt idx="885">
                  <c:v>38162</c:v>
                </c:pt>
                <c:pt idx="886">
                  <c:v>38163</c:v>
                </c:pt>
                <c:pt idx="887">
                  <c:v>38166</c:v>
                </c:pt>
                <c:pt idx="888">
                  <c:v>38167</c:v>
                </c:pt>
                <c:pt idx="889">
                  <c:v>38168</c:v>
                </c:pt>
                <c:pt idx="890">
                  <c:v>38169</c:v>
                </c:pt>
                <c:pt idx="891">
                  <c:v>38170</c:v>
                </c:pt>
                <c:pt idx="892">
                  <c:v>38173</c:v>
                </c:pt>
                <c:pt idx="893">
                  <c:v>38174</c:v>
                </c:pt>
                <c:pt idx="894">
                  <c:v>38175</c:v>
                </c:pt>
                <c:pt idx="895">
                  <c:v>38176</c:v>
                </c:pt>
                <c:pt idx="896">
                  <c:v>38177</c:v>
                </c:pt>
                <c:pt idx="897">
                  <c:v>38180</c:v>
                </c:pt>
                <c:pt idx="898">
                  <c:v>38181</c:v>
                </c:pt>
                <c:pt idx="899">
                  <c:v>38182</c:v>
                </c:pt>
                <c:pt idx="900">
                  <c:v>38183</c:v>
                </c:pt>
                <c:pt idx="901">
                  <c:v>38184</c:v>
                </c:pt>
                <c:pt idx="902">
                  <c:v>38187</c:v>
                </c:pt>
                <c:pt idx="903">
                  <c:v>38188</c:v>
                </c:pt>
                <c:pt idx="904">
                  <c:v>38189</c:v>
                </c:pt>
                <c:pt idx="905">
                  <c:v>38190</c:v>
                </c:pt>
                <c:pt idx="906">
                  <c:v>38191</c:v>
                </c:pt>
                <c:pt idx="907">
                  <c:v>38194</c:v>
                </c:pt>
                <c:pt idx="908">
                  <c:v>38195</c:v>
                </c:pt>
                <c:pt idx="909">
                  <c:v>38196</c:v>
                </c:pt>
                <c:pt idx="910">
                  <c:v>38197</c:v>
                </c:pt>
                <c:pt idx="911">
                  <c:v>38198</c:v>
                </c:pt>
                <c:pt idx="912">
                  <c:v>38201</c:v>
                </c:pt>
                <c:pt idx="913">
                  <c:v>38202</c:v>
                </c:pt>
                <c:pt idx="914">
                  <c:v>38203</c:v>
                </c:pt>
                <c:pt idx="915">
                  <c:v>38204</c:v>
                </c:pt>
                <c:pt idx="916">
                  <c:v>38205</c:v>
                </c:pt>
                <c:pt idx="917">
                  <c:v>38208</c:v>
                </c:pt>
                <c:pt idx="918">
                  <c:v>38209</c:v>
                </c:pt>
                <c:pt idx="919">
                  <c:v>38210</c:v>
                </c:pt>
                <c:pt idx="920">
                  <c:v>38211</c:v>
                </c:pt>
                <c:pt idx="921">
                  <c:v>38212</c:v>
                </c:pt>
                <c:pt idx="922">
                  <c:v>38215</c:v>
                </c:pt>
                <c:pt idx="923">
                  <c:v>38216</c:v>
                </c:pt>
                <c:pt idx="924">
                  <c:v>38217</c:v>
                </c:pt>
                <c:pt idx="925">
                  <c:v>38218</c:v>
                </c:pt>
                <c:pt idx="926">
                  <c:v>38219</c:v>
                </c:pt>
                <c:pt idx="927">
                  <c:v>38222</c:v>
                </c:pt>
                <c:pt idx="928">
                  <c:v>38223</c:v>
                </c:pt>
                <c:pt idx="929">
                  <c:v>38224</c:v>
                </c:pt>
                <c:pt idx="930">
                  <c:v>38225</c:v>
                </c:pt>
                <c:pt idx="931">
                  <c:v>38226</c:v>
                </c:pt>
                <c:pt idx="932">
                  <c:v>38229</c:v>
                </c:pt>
                <c:pt idx="933">
                  <c:v>38230</c:v>
                </c:pt>
                <c:pt idx="934">
                  <c:v>38231</c:v>
                </c:pt>
                <c:pt idx="935">
                  <c:v>38232</c:v>
                </c:pt>
                <c:pt idx="936">
                  <c:v>38233</c:v>
                </c:pt>
                <c:pt idx="937">
                  <c:v>38236</c:v>
                </c:pt>
                <c:pt idx="938">
                  <c:v>38237</c:v>
                </c:pt>
                <c:pt idx="939">
                  <c:v>38238</c:v>
                </c:pt>
                <c:pt idx="940">
                  <c:v>38239</c:v>
                </c:pt>
                <c:pt idx="941">
                  <c:v>38240</c:v>
                </c:pt>
                <c:pt idx="942">
                  <c:v>38243</c:v>
                </c:pt>
                <c:pt idx="943">
                  <c:v>38244</c:v>
                </c:pt>
                <c:pt idx="944">
                  <c:v>38245</c:v>
                </c:pt>
                <c:pt idx="945">
                  <c:v>38246</c:v>
                </c:pt>
                <c:pt idx="946">
                  <c:v>38247</c:v>
                </c:pt>
                <c:pt idx="947">
                  <c:v>38250</c:v>
                </c:pt>
                <c:pt idx="948">
                  <c:v>38251</c:v>
                </c:pt>
                <c:pt idx="949">
                  <c:v>38252</c:v>
                </c:pt>
                <c:pt idx="950">
                  <c:v>38253</c:v>
                </c:pt>
                <c:pt idx="951">
                  <c:v>38254</c:v>
                </c:pt>
                <c:pt idx="952">
                  <c:v>38257</c:v>
                </c:pt>
                <c:pt idx="953">
                  <c:v>38258</c:v>
                </c:pt>
                <c:pt idx="954">
                  <c:v>38259</c:v>
                </c:pt>
                <c:pt idx="955">
                  <c:v>38260</c:v>
                </c:pt>
                <c:pt idx="956">
                  <c:v>38261</c:v>
                </c:pt>
                <c:pt idx="957">
                  <c:v>38264</c:v>
                </c:pt>
                <c:pt idx="958">
                  <c:v>38265</c:v>
                </c:pt>
                <c:pt idx="959">
                  <c:v>38266</c:v>
                </c:pt>
                <c:pt idx="960">
                  <c:v>38267</c:v>
                </c:pt>
                <c:pt idx="961">
                  <c:v>38268</c:v>
                </c:pt>
                <c:pt idx="962">
                  <c:v>38271</c:v>
                </c:pt>
                <c:pt idx="963">
                  <c:v>38272</c:v>
                </c:pt>
                <c:pt idx="964">
                  <c:v>38273</c:v>
                </c:pt>
                <c:pt idx="965">
                  <c:v>38274</c:v>
                </c:pt>
                <c:pt idx="966">
                  <c:v>38275</c:v>
                </c:pt>
                <c:pt idx="967">
                  <c:v>38278</c:v>
                </c:pt>
                <c:pt idx="968">
                  <c:v>38279</c:v>
                </c:pt>
                <c:pt idx="969">
                  <c:v>38280</c:v>
                </c:pt>
                <c:pt idx="970">
                  <c:v>38281</c:v>
                </c:pt>
                <c:pt idx="971">
                  <c:v>38282</c:v>
                </c:pt>
                <c:pt idx="972">
                  <c:v>38285</c:v>
                </c:pt>
                <c:pt idx="973">
                  <c:v>38286</c:v>
                </c:pt>
                <c:pt idx="974">
                  <c:v>38287</c:v>
                </c:pt>
                <c:pt idx="975">
                  <c:v>38288</c:v>
                </c:pt>
                <c:pt idx="976">
                  <c:v>38289</c:v>
                </c:pt>
                <c:pt idx="977">
                  <c:v>38292</c:v>
                </c:pt>
                <c:pt idx="978">
                  <c:v>38293</c:v>
                </c:pt>
                <c:pt idx="979">
                  <c:v>38294</c:v>
                </c:pt>
                <c:pt idx="980">
                  <c:v>38295</c:v>
                </c:pt>
                <c:pt idx="981">
                  <c:v>38296</c:v>
                </c:pt>
                <c:pt idx="982">
                  <c:v>38299</c:v>
                </c:pt>
                <c:pt idx="983">
                  <c:v>38300</c:v>
                </c:pt>
                <c:pt idx="984">
                  <c:v>38301</c:v>
                </c:pt>
                <c:pt idx="985">
                  <c:v>38302</c:v>
                </c:pt>
                <c:pt idx="986">
                  <c:v>38303</c:v>
                </c:pt>
                <c:pt idx="987">
                  <c:v>38306</c:v>
                </c:pt>
                <c:pt idx="988">
                  <c:v>38307</c:v>
                </c:pt>
                <c:pt idx="989">
                  <c:v>38308</c:v>
                </c:pt>
                <c:pt idx="990">
                  <c:v>38309</c:v>
                </c:pt>
                <c:pt idx="991">
                  <c:v>38310</c:v>
                </c:pt>
                <c:pt idx="992">
                  <c:v>38313</c:v>
                </c:pt>
                <c:pt idx="993">
                  <c:v>38314</c:v>
                </c:pt>
                <c:pt idx="994">
                  <c:v>38315</c:v>
                </c:pt>
                <c:pt idx="995">
                  <c:v>38316</c:v>
                </c:pt>
                <c:pt idx="996">
                  <c:v>38317</c:v>
                </c:pt>
                <c:pt idx="997">
                  <c:v>38320</c:v>
                </c:pt>
                <c:pt idx="998">
                  <c:v>38321</c:v>
                </c:pt>
                <c:pt idx="999">
                  <c:v>38322</c:v>
                </c:pt>
                <c:pt idx="1000">
                  <c:v>38323</c:v>
                </c:pt>
                <c:pt idx="1001">
                  <c:v>38324</c:v>
                </c:pt>
                <c:pt idx="1002">
                  <c:v>38327</c:v>
                </c:pt>
                <c:pt idx="1003">
                  <c:v>38328</c:v>
                </c:pt>
                <c:pt idx="1004">
                  <c:v>38329</c:v>
                </c:pt>
                <c:pt idx="1005">
                  <c:v>38330</c:v>
                </c:pt>
                <c:pt idx="1006">
                  <c:v>38331</c:v>
                </c:pt>
                <c:pt idx="1007">
                  <c:v>38334</c:v>
                </c:pt>
                <c:pt idx="1008">
                  <c:v>38335</c:v>
                </c:pt>
                <c:pt idx="1009">
                  <c:v>38336</c:v>
                </c:pt>
                <c:pt idx="1010">
                  <c:v>38337</c:v>
                </c:pt>
                <c:pt idx="1011">
                  <c:v>38338</c:v>
                </c:pt>
                <c:pt idx="1012">
                  <c:v>38341</c:v>
                </c:pt>
                <c:pt idx="1013">
                  <c:v>38342</c:v>
                </c:pt>
                <c:pt idx="1014">
                  <c:v>38343</c:v>
                </c:pt>
                <c:pt idx="1015">
                  <c:v>38344</c:v>
                </c:pt>
                <c:pt idx="1016">
                  <c:v>38345</c:v>
                </c:pt>
                <c:pt idx="1017">
                  <c:v>38348</c:v>
                </c:pt>
                <c:pt idx="1018">
                  <c:v>38349</c:v>
                </c:pt>
                <c:pt idx="1019">
                  <c:v>38350</c:v>
                </c:pt>
                <c:pt idx="1020">
                  <c:v>38351</c:v>
                </c:pt>
                <c:pt idx="1021">
                  <c:v>38352</c:v>
                </c:pt>
                <c:pt idx="1022">
                  <c:v>38355</c:v>
                </c:pt>
                <c:pt idx="1023">
                  <c:v>38356</c:v>
                </c:pt>
                <c:pt idx="1024">
                  <c:v>38357</c:v>
                </c:pt>
                <c:pt idx="1025">
                  <c:v>38358</c:v>
                </c:pt>
                <c:pt idx="1026">
                  <c:v>38359</c:v>
                </c:pt>
                <c:pt idx="1027">
                  <c:v>38362</c:v>
                </c:pt>
                <c:pt idx="1028">
                  <c:v>38363</c:v>
                </c:pt>
                <c:pt idx="1029">
                  <c:v>38364</c:v>
                </c:pt>
                <c:pt idx="1030">
                  <c:v>38365</c:v>
                </c:pt>
                <c:pt idx="1031">
                  <c:v>38366</c:v>
                </c:pt>
                <c:pt idx="1032">
                  <c:v>38369</c:v>
                </c:pt>
                <c:pt idx="1033">
                  <c:v>38370</c:v>
                </c:pt>
                <c:pt idx="1034">
                  <c:v>38371</c:v>
                </c:pt>
                <c:pt idx="1035">
                  <c:v>38372</c:v>
                </c:pt>
                <c:pt idx="1036">
                  <c:v>38373</c:v>
                </c:pt>
                <c:pt idx="1037">
                  <c:v>38376</c:v>
                </c:pt>
                <c:pt idx="1038">
                  <c:v>38377</c:v>
                </c:pt>
                <c:pt idx="1039">
                  <c:v>38378</c:v>
                </c:pt>
                <c:pt idx="1040">
                  <c:v>38379</c:v>
                </c:pt>
                <c:pt idx="1041">
                  <c:v>38380</c:v>
                </c:pt>
                <c:pt idx="1042">
                  <c:v>38383</c:v>
                </c:pt>
                <c:pt idx="1043">
                  <c:v>38384</c:v>
                </c:pt>
                <c:pt idx="1044">
                  <c:v>38385</c:v>
                </c:pt>
                <c:pt idx="1045">
                  <c:v>38386</c:v>
                </c:pt>
                <c:pt idx="1046">
                  <c:v>38387</c:v>
                </c:pt>
                <c:pt idx="1047">
                  <c:v>38390</c:v>
                </c:pt>
                <c:pt idx="1048">
                  <c:v>38391</c:v>
                </c:pt>
                <c:pt idx="1049">
                  <c:v>38392</c:v>
                </c:pt>
                <c:pt idx="1050">
                  <c:v>38393</c:v>
                </c:pt>
                <c:pt idx="1051">
                  <c:v>38394</c:v>
                </c:pt>
                <c:pt idx="1052">
                  <c:v>38397</c:v>
                </c:pt>
                <c:pt idx="1053">
                  <c:v>38398</c:v>
                </c:pt>
                <c:pt idx="1054">
                  <c:v>38399</c:v>
                </c:pt>
                <c:pt idx="1055">
                  <c:v>38400</c:v>
                </c:pt>
                <c:pt idx="1056">
                  <c:v>38401</c:v>
                </c:pt>
                <c:pt idx="1057">
                  <c:v>38404</c:v>
                </c:pt>
                <c:pt idx="1058">
                  <c:v>38405</c:v>
                </c:pt>
                <c:pt idx="1059">
                  <c:v>38406</c:v>
                </c:pt>
                <c:pt idx="1060">
                  <c:v>38407</c:v>
                </c:pt>
                <c:pt idx="1061">
                  <c:v>38408</c:v>
                </c:pt>
                <c:pt idx="1062">
                  <c:v>38411</c:v>
                </c:pt>
                <c:pt idx="1063">
                  <c:v>38412</c:v>
                </c:pt>
                <c:pt idx="1064">
                  <c:v>38413</c:v>
                </c:pt>
                <c:pt idx="1065">
                  <c:v>38414</c:v>
                </c:pt>
                <c:pt idx="1066">
                  <c:v>38415</c:v>
                </c:pt>
                <c:pt idx="1067">
                  <c:v>38418</c:v>
                </c:pt>
                <c:pt idx="1068">
                  <c:v>38419</c:v>
                </c:pt>
                <c:pt idx="1069">
                  <c:v>38420</c:v>
                </c:pt>
                <c:pt idx="1070">
                  <c:v>38421</c:v>
                </c:pt>
                <c:pt idx="1071">
                  <c:v>38422</c:v>
                </c:pt>
                <c:pt idx="1072">
                  <c:v>38425</c:v>
                </c:pt>
                <c:pt idx="1073">
                  <c:v>38426</c:v>
                </c:pt>
                <c:pt idx="1074">
                  <c:v>38427</c:v>
                </c:pt>
                <c:pt idx="1075">
                  <c:v>38428</c:v>
                </c:pt>
                <c:pt idx="1076">
                  <c:v>38429</c:v>
                </c:pt>
                <c:pt idx="1077">
                  <c:v>38432</c:v>
                </c:pt>
                <c:pt idx="1078">
                  <c:v>38433</c:v>
                </c:pt>
                <c:pt idx="1079">
                  <c:v>38434</c:v>
                </c:pt>
                <c:pt idx="1080">
                  <c:v>38435</c:v>
                </c:pt>
                <c:pt idx="1081">
                  <c:v>38440</c:v>
                </c:pt>
                <c:pt idx="1082">
                  <c:v>38441</c:v>
                </c:pt>
                <c:pt idx="1083">
                  <c:v>38442</c:v>
                </c:pt>
                <c:pt idx="1084">
                  <c:v>38443</c:v>
                </c:pt>
                <c:pt idx="1085">
                  <c:v>38446</c:v>
                </c:pt>
                <c:pt idx="1086">
                  <c:v>38447</c:v>
                </c:pt>
                <c:pt idx="1087">
                  <c:v>38448</c:v>
                </c:pt>
                <c:pt idx="1088">
                  <c:v>38449</c:v>
                </c:pt>
                <c:pt idx="1089">
                  <c:v>38450</c:v>
                </c:pt>
                <c:pt idx="1090">
                  <c:v>38453</c:v>
                </c:pt>
                <c:pt idx="1091">
                  <c:v>38454</c:v>
                </c:pt>
                <c:pt idx="1092">
                  <c:v>38455</c:v>
                </c:pt>
                <c:pt idx="1093">
                  <c:v>38456</c:v>
                </c:pt>
                <c:pt idx="1094">
                  <c:v>38457</c:v>
                </c:pt>
                <c:pt idx="1095">
                  <c:v>38460</c:v>
                </c:pt>
                <c:pt idx="1096">
                  <c:v>38461</c:v>
                </c:pt>
                <c:pt idx="1097">
                  <c:v>38462</c:v>
                </c:pt>
                <c:pt idx="1098">
                  <c:v>38463</c:v>
                </c:pt>
                <c:pt idx="1099">
                  <c:v>38464</c:v>
                </c:pt>
                <c:pt idx="1100">
                  <c:v>38467</c:v>
                </c:pt>
                <c:pt idx="1101">
                  <c:v>38468</c:v>
                </c:pt>
                <c:pt idx="1102">
                  <c:v>38469</c:v>
                </c:pt>
                <c:pt idx="1103">
                  <c:v>38470</c:v>
                </c:pt>
                <c:pt idx="1104">
                  <c:v>38471</c:v>
                </c:pt>
                <c:pt idx="1105">
                  <c:v>38474</c:v>
                </c:pt>
                <c:pt idx="1106">
                  <c:v>38475</c:v>
                </c:pt>
                <c:pt idx="1107">
                  <c:v>38476</c:v>
                </c:pt>
                <c:pt idx="1108">
                  <c:v>38477</c:v>
                </c:pt>
                <c:pt idx="1109">
                  <c:v>38478</c:v>
                </c:pt>
                <c:pt idx="1110">
                  <c:v>38481</c:v>
                </c:pt>
                <c:pt idx="1111">
                  <c:v>38482</c:v>
                </c:pt>
                <c:pt idx="1112">
                  <c:v>38483</c:v>
                </c:pt>
                <c:pt idx="1113">
                  <c:v>38484</c:v>
                </c:pt>
                <c:pt idx="1114">
                  <c:v>38485</c:v>
                </c:pt>
                <c:pt idx="1115">
                  <c:v>38488</c:v>
                </c:pt>
                <c:pt idx="1116">
                  <c:v>38489</c:v>
                </c:pt>
                <c:pt idx="1117">
                  <c:v>38490</c:v>
                </c:pt>
                <c:pt idx="1118">
                  <c:v>38491</c:v>
                </c:pt>
                <c:pt idx="1119">
                  <c:v>38492</c:v>
                </c:pt>
                <c:pt idx="1120">
                  <c:v>38495</c:v>
                </c:pt>
                <c:pt idx="1121">
                  <c:v>38496</c:v>
                </c:pt>
                <c:pt idx="1122">
                  <c:v>38497</c:v>
                </c:pt>
                <c:pt idx="1123">
                  <c:v>38498</c:v>
                </c:pt>
                <c:pt idx="1124">
                  <c:v>38499</c:v>
                </c:pt>
                <c:pt idx="1125">
                  <c:v>38502</c:v>
                </c:pt>
                <c:pt idx="1126">
                  <c:v>38503</c:v>
                </c:pt>
                <c:pt idx="1127">
                  <c:v>38504</c:v>
                </c:pt>
                <c:pt idx="1128">
                  <c:v>38505</c:v>
                </c:pt>
                <c:pt idx="1129">
                  <c:v>38506</c:v>
                </c:pt>
                <c:pt idx="1130">
                  <c:v>38509</c:v>
                </c:pt>
                <c:pt idx="1131">
                  <c:v>38510</c:v>
                </c:pt>
                <c:pt idx="1132">
                  <c:v>38511</c:v>
                </c:pt>
                <c:pt idx="1133">
                  <c:v>38512</c:v>
                </c:pt>
                <c:pt idx="1134">
                  <c:v>38513</c:v>
                </c:pt>
                <c:pt idx="1135">
                  <c:v>38516</c:v>
                </c:pt>
                <c:pt idx="1136">
                  <c:v>38517</c:v>
                </c:pt>
                <c:pt idx="1137">
                  <c:v>38518</c:v>
                </c:pt>
                <c:pt idx="1138">
                  <c:v>38519</c:v>
                </c:pt>
                <c:pt idx="1139">
                  <c:v>38520</c:v>
                </c:pt>
                <c:pt idx="1140">
                  <c:v>38523</c:v>
                </c:pt>
                <c:pt idx="1141">
                  <c:v>38524</c:v>
                </c:pt>
                <c:pt idx="1142">
                  <c:v>38525</c:v>
                </c:pt>
                <c:pt idx="1143">
                  <c:v>38526</c:v>
                </c:pt>
                <c:pt idx="1144">
                  <c:v>38527</c:v>
                </c:pt>
                <c:pt idx="1145">
                  <c:v>38530</c:v>
                </c:pt>
                <c:pt idx="1146">
                  <c:v>38531</c:v>
                </c:pt>
                <c:pt idx="1147">
                  <c:v>38532</c:v>
                </c:pt>
                <c:pt idx="1148">
                  <c:v>38533</c:v>
                </c:pt>
                <c:pt idx="1149">
                  <c:v>38534</c:v>
                </c:pt>
                <c:pt idx="1150">
                  <c:v>38537</c:v>
                </c:pt>
                <c:pt idx="1151">
                  <c:v>38538</c:v>
                </c:pt>
                <c:pt idx="1152">
                  <c:v>38539</c:v>
                </c:pt>
                <c:pt idx="1153">
                  <c:v>38540</c:v>
                </c:pt>
                <c:pt idx="1154">
                  <c:v>38541</c:v>
                </c:pt>
                <c:pt idx="1155">
                  <c:v>38544</c:v>
                </c:pt>
                <c:pt idx="1156">
                  <c:v>38545</c:v>
                </c:pt>
                <c:pt idx="1157">
                  <c:v>38546</c:v>
                </c:pt>
                <c:pt idx="1158">
                  <c:v>38547</c:v>
                </c:pt>
                <c:pt idx="1159">
                  <c:v>38548</c:v>
                </c:pt>
                <c:pt idx="1160">
                  <c:v>38551</c:v>
                </c:pt>
                <c:pt idx="1161">
                  <c:v>38552</c:v>
                </c:pt>
                <c:pt idx="1162">
                  <c:v>38553</c:v>
                </c:pt>
                <c:pt idx="1163">
                  <c:v>38554</c:v>
                </c:pt>
                <c:pt idx="1164">
                  <c:v>38555</c:v>
                </c:pt>
                <c:pt idx="1165">
                  <c:v>38558</c:v>
                </c:pt>
                <c:pt idx="1166">
                  <c:v>38559</c:v>
                </c:pt>
                <c:pt idx="1167">
                  <c:v>38560</c:v>
                </c:pt>
                <c:pt idx="1168">
                  <c:v>38561</c:v>
                </c:pt>
                <c:pt idx="1169">
                  <c:v>38562</c:v>
                </c:pt>
                <c:pt idx="1170">
                  <c:v>38565</c:v>
                </c:pt>
                <c:pt idx="1171">
                  <c:v>38566</c:v>
                </c:pt>
                <c:pt idx="1172">
                  <c:v>38567</c:v>
                </c:pt>
                <c:pt idx="1173">
                  <c:v>38568</c:v>
                </c:pt>
                <c:pt idx="1174">
                  <c:v>38569</c:v>
                </c:pt>
                <c:pt idx="1175">
                  <c:v>38572</c:v>
                </c:pt>
                <c:pt idx="1176">
                  <c:v>38573</c:v>
                </c:pt>
                <c:pt idx="1177">
                  <c:v>38574</c:v>
                </c:pt>
                <c:pt idx="1178">
                  <c:v>38575</c:v>
                </c:pt>
                <c:pt idx="1179">
                  <c:v>38576</c:v>
                </c:pt>
                <c:pt idx="1180">
                  <c:v>38579</c:v>
                </c:pt>
                <c:pt idx="1181">
                  <c:v>38580</c:v>
                </c:pt>
                <c:pt idx="1182">
                  <c:v>38581</c:v>
                </c:pt>
                <c:pt idx="1183">
                  <c:v>38582</c:v>
                </c:pt>
                <c:pt idx="1184">
                  <c:v>38583</c:v>
                </c:pt>
                <c:pt idx="1185">
                  <c:v>38586</c:v>
                </c:pt>
                <c:pt idx="1186">
                  <c:v>38587</c:v>
                </c:pt>
                <c:pt idx="1187">
                  <c:v>38588</c:v>
                </c:pt>
                <c:pt idx="1188">
                  <c:v>38589</c:v>
                </c:pt>
                <c:pt idx="1189">
                  <c:v>38590</c:v>
                </c:pt>
                <c:pt idx="1190">
                  <c:v>38593</c:v>
                </c:pt>
                <c:pt idx="1191">
                  <c:v>38594</c:v>
                </c:pt>
                <c:pt idx="1192">
                  <c:v>38595</c:v>
                </c:pt>
                <c:pt idx="1193">
                  <c:v>38596</c:v>
                </c:pt>
                <c:pt idx="1194">
                  <c:v>38597</c:v>
                </c:pt>
                <c:pt idx="1195">
                  <c:v>38600</c:v>
                </c:pt>
                <c:pt idx="1196">
                  <c:v>38601</c:v>
                </c:pt>
                <c:pt idx="1197">
                  <c:v>38602</c:v>
                </c:pt>
                <c:pt idx="1198">
                  <c:v>38603</c:v>
                </c:pt>
                <c:pt idx="1199">
                  <c:v>38604</c:v>
                </c:pt>
                <c:pt idx="1200">
                  <c:v>38607</c:v>
                </c:pt>
                <c:pt idx="1201">
                  <c:v>38608</c:v>
                </c:pt>
                <c:pt idx="1202">
                  <c:v>38609</c:v>
                </c:pt>
                <c:pt idx="1203">
                  <c:v>38610</c:v>
                </c:pt>
                <c:pt idx="1204">
                  <c:v>38611</c:v>
                </c:pt>
                <c:pt idx="1205">
                  <c:v>38614</c:v>
                </c:pt>
                <c:pt idx="1206">
                  <c:v>38615</c:v>
                </c:pt>
                <c:pt idx="1207">
                  <c:v>38616</c:v>
                </c:pt>
                <c:pt idx="1208">
                  <c:v>38617</c:v>
                </c:pt>
                <c:pt idx="1209">
                  <c:v>38618</c:v>
                </c:pt>
                <c:pt idx="1210">
                  <c:v>38621</c:v>
                </c:pt>
                <c:pt idx="1211">
                  <c:v>38622</c:v>
                </c:pt>
                <c:pt idx="1212">
                  <c:v>38623</c:v>
                </c:pt>
                <c:pt idx="1213">
                  <c:v>38624</c:v>
                </c:pt>
                <c:pt idx="1214">
                  <c:v>38625</c:v>
                </c:pt>
                <c:pt idx="1215">
                  <c:v>38628</c:v>
                </c:pt>
                <c:pt idx="1216">
                  <c:v>38629</c:v>
                </c:pt>
                <c:pt idx="1217">
                  <c:v>38630</c:v>
                </c:pt>
                <c:pt idx="1218">
                  <c:v>38631</c:v>
                </c:pt>
                <c:pt idx="1219">
                  <c:v>38632</c:v>
                </c:pt>
                <c:pt idx="1220">
                  <c:v>38635</c:v>
                </c:pt>
                <c:pt idx="1221">
                  <c:v>38636</c:v>
                </c:pt>
                <c:pt idx="1222">
                  <c:v>38637</c:v>
                </c:pt>
                <c:pt idx="1223">
                  <c:v>38638</c:v>
                </c:pt>
                <c:pt idx="1224">
                  <c:v>38639</c:v>
                </c:pt>
                <c:pt idx="1225">
                  <c:v>38642</c:v>
                </c:pt>
                <c:pt idx="1226">
                  <c:v>38643</c:v>
                </c:pt>
                <c:pt idx="1227">
                  <c:v>38644</c:v>
                </c:pt>
                <c:pt idx="1228">
                  <c:v>38645</c:v>
                </c:pt>
                <c:pt idx="1229">
                  <c:v>38646</c:v>
                </c:pt>
                <c:pt idx="1230">
                  <c:v>38649</c:v>
                </c:pt>
                <c:pt idx="1231">
                  <c:v>38650</c:v>
                </c:pt>
                <c:pt idx="1232">
                  <c:v>38651</c:v>
                </c:pt>
                <c:pt idx="1233">
                  <c:v>38652</c:v>
                </c:pt>
                <c:pt idx="1234">
                  <c:v>38653</c:v>
                </c:pt>
                <c:pt idx="1235">
                  <c:v>38656</c:v>
                </c:pt>
                <c:pt idx="1236">
                  <c:v>38657</c:v>
                </c:pt>
                <c:pt idx="1237">
                  <c:v>38658</c:v>
                </c:pt>
                <c:pt idx="1238">
                  <c:v>38659</c:v>
                </c:pt>
                <c:pt idx="1239">
                  <c:v>38660</c:v>
                </c:pt>
                <c:pt idx="1240">
                  <c:v>38663</c:v>
                </c:pt>
                <c:pt idx="1241">
                  <c:v>38664</c:v>
                </c:pt>
                <c:pt idx="1242">
                  <c:v>38665</c:v>
                </c:pt>
                <c:pt idx="1243">
                  <c:v>38666</c:v>
                </c:pt>
                <c:pt idx="1244">
                  <c:v>38667</c:v>
                </c:pt>
                <c:pt idx="1245">
                  <c:v>38670</c:v>
                </c:pt>
                <c:pt idx="1246">
                  <c:v>38671</c:v>
                </c:pt>
                <c:pt idx="1247">
                  <c:v>38672</c:v>
                </c:pt>
                <c:pt idx="1248">
                  <c:v>38673</c:v>
                </c:pt>
                <c:pt idx="1249">
                  <c:v>38674</c:v>
                </c:pt>
                <c:pt idx="1250">
                  <c:v>38677</c:v>
                </c:pt>
                <c:pt idx="1251">
                  <c:v>38678</c:v>
                </c:pt>
                <c:pt idx="1252">
                  <c:v>38679</c:v>
                </c:pt>
                <c:pt idx="1253">
                  <c:v>38680</c:v>
                </c:pt>
                <c:pt idx="1254">
                  <c:v>38681</c:v>
                </c:pt>
                <c:pt idx="1255">
                  <c:v>38684</c:v>
                </c:pt>
                <c:pt idx="1256">
                  <c:v>38685</c:v>
                </c:pt>
                <c:pt idx="1257">
                  <c:v>38686</c:v>
                </c:pt>
                <c:pt idx="1258">
                  <c:v>38687</c:v>
                </c:pt>
                <c:pt idx="1259">
                  <c:v>38688</c:v>
                </c:pt>
                <c:pt idx="1260">
                  <c:v>38691</c:v>
                </c:pt>
                <c:pt idx="1261">
                  <c:v>38692</c:v>
                </c:pt>
                <c:pt idx="1262">
                  <c:v>38693</c:v>
                </c:pt>
                <c:pt idx="1263">
                  <c:v>38694</c:v>
                </c:pt>
                <c:pt idx="1264">
                  <c:v>38695</c:v>
                </c:pt>
                <c:pt idx="1265">
                  <c:v>38698</c:v>
                </c:pt>
                <c:pt idx="1266">
                  <c:v>38699</c:v>
                </c:pt>
                <c:pt idx="1267">
                  <c:v>38700</c:v>
                </c:pt>
                <c:pt idx="1268">
                  <c:v>38701</c:v>
                </c:pt>
                <c:pt idx="1269">
                  <c:v>38702</c:v>
                </c:pt>
                <c:pt idx="1270">
                  <c:v>38705</c:v>
                </c:pt>
                <c:pt idx="1271">
                  <c:v>38706</c:v>
                </c:pt>
                <c:pt idx="1272">
                  <c:v>38707</c:v>
                </c:pt>
                <c:pt idx="1273">
                  <c:v>38708</c:v>
                </c:pt>
                <c:pt idx="1274">
                  <c:v>38709</c:v>
                </c:pt>
                <c:pt idx="1275">
                  <c:v>38713</c:v>
                </c:pt>
                <c:pt idx="1276">
                  <c:v>38714</c:v>
                </c:pt>
                <c:pt idx="1277">
                  <c:v>38715</c:v>
                </c:pt>
                <c:pt idx="1278">
                  <c:v>38716</c:v>
                </c:pt>
                <c:pt idx="1279">
                  <c:v>38719</c:v>
                </c:pt>
                <c:pt idx="1280">
                  <c:v>38720</c:v>
                </c:pt>
                <c:pt idx="1281">
                  <c:v>38721</c:v>
                </c:pt>
                <c:pt idx="1282">
                  <c:v>38722</c:v>
                </c:pt>
                <c:pt idx="1283">
                  <c:v>38723</c:v>
                </c:pt>
                <c:pt idx="1284">
                  <c:v>38726</c:v>
                </c:pt>
                <c:pt idx="1285">
                  <c:v>38727</c:v>
                </c:pt>
                <c:pt idx="1286">
                  <c:v>38728</c:v>
                </c:pt>
                <c:pt idx="1287">
                  <c:v>38729</c:v>
                </c:pt>
                <c:pt idx="1288">
                  <c:v>38730</c:v>
                </c:pt>
                <c:pt idx="1289">
                  <c:v>38733</c:v>
                </c:pt>
                <c:pt idx="1290">
                  <c:v>38734</c:v>
                </c:pt>
                <c:pt idx="1291">
                  <c:v>38735</c:v>
                </c:pt>
                <c:pt idx="1292">
                  <c:v>38736</c:v>
                </c:pt>
                <c:pt idx="1293">
                  <c:v>38737</c:v>
                </c:pt>
                <c:pt idx="1294">
                  <c:v>38740</c:v>
                </c:pt>
                <c:pt idx="1295">
                  <c:v>38741</c:v>
                </c:pt>
                <c:pt idx="1296">
                  <c:v>38742</c:v>
                </c:pt>
                <c:pt idx="1297">
                  <c:v>38743</c:v>
                </c:pt>
                <c:pt idx="1298">
                  <c:v>38744</c:v>
                </c:pt>
                <c:pt idx="1299">
                  <c:v>38747</c:v>
                </c:pt>
                <c:pt idx="1300">
                  <c:v>38748</c:v>
                </c:pt>
                <c:pt idx="1301">
                  <c:v>38749</c:v>
                </c:pt>
                <c:pt idx="1302">
                  <c:v>38750</c:v>
                </c:pt>
                <c:pt idx="1303">
                  <c:v>38751</c:v>
                </c:pt>
                <c:pt idx="1304">
                  <c:v>38754</c:v>
                </c:pt>
                <c:pt idx="1305">
                  <c:v>38755</c:v>
                </c:pt>
                <c:pt idx="1306">
                  <c:v>38756</c:v>
                </c:pt>
                <c:pt idx="1307">
                  <c:v>38757</c:v>
                </c:pt>
                <c:pt idx="1308">
                  <c:v>38758</c:v>
                </c:pt>
                <c:pt idx="1309">
                  <c:v>38761</c:v>
                </c:pt>
                <c:pt idx="1310">
                  <c:v>38762</c:v>
                </c:pt>
                <c:pt idx="1311">
                  <c:v>38763</c:v>
                </c:pt>
                <c:pt idx="1312">
                  <c:v>38764</c:v>
                </c:pt>
                <c:pt idx="1313">
                  <c:v>38765</c:v>
                </c:pt>
                <c:pt idx="1314">
                  <c:v>38768</c:v>
                </c:pt>
                <c:pt idx="1315">
                  <c:v>38769</c:v>
                </c:pt>
                <c:pt idx="1316">
                  <c:v>38770</c:v>
                </c:pt>
                <c:pt idx="1317">
                  <c:v>38771</c:v>
                </c:pt>
                <c:pt idx="1318">
                  <c:v>38772</c:v>
                </c:pt>
                <c:pt idx="1319">
                  <c:v>38775</c:v>
                </c:pt>
                <c:pt idx="1320">
                  <c:v>38776</c:v>
                </c:pt>
                <c:pt idx="1321">
                  <c:v>38777</c:v>
                </c:pt>
                <c:pt idx="1322">
                  <c:v>38778</c:v>
                </c:pt>
                <c:pt idx="1323">
                  <c:v>38779</c:v>
                </c:pt>
                <c:pt idx="1324">
                  <c:v>38782</c:v>
                </c:pt>
                <c:pt idx="1325">
                  <c:v>38783</c:v>
                </c:pt>
                <c:pt idx="1326">
                  <c:v>38784</c:v>
                </c:pt>
                <c:pt idx="1327">
                  <c:v>38785</c:v>
                </c:pt>
                <c:pt idx="1328">
                  <c:v>38786</c:v>
                </c:pt>
                <c:pt idx="1329">
                  <c:v>38789</c:v>
                </c:pt>
                <c:pt idx="1330">
                  <c:v>38790</c:v>
                </c:pt>
                <c:pt idx="1331">
                  <c:v>38791</c:v>
                </c:pt>
                <c:pt idx="1332">
                  <c:v>38792</c:v>
                </c:pt>
                <c:pt idx="1333">
                  <c:v>38793</c:v>
                </c:pt>
                <c:pt idx="1334">
                  <c:v>38796</c:v>
                </c:pt>
                <c:pt idx="1335">
                  <c:v>38797</c:v>
                </c:pt>
                <c:pt idx="1336">
                  <c:v>38798</c:v>
                </c:pt>
                <c:pt idx="1337">
                  <c:v>38799</c:v>
                </c:pt>
                <c:pt idx="1338">
                  <c:v>38800</c:v>
                </c:pt>
                <c:pt idx="1339">
                  <c:v>38803</c:v>
                </c:pt>
                <c:pt idx="1340">
                  <c:v>38804</c:v>
                </c:pt>
                <c:pt idx="1341">
                  <c:v>38805</c:v>
                </c:pt>
                <c:pt idx="1342">
                  <c:v>38806</c:v>
                </c:pt>
                <c:pt idx="1343">
                  <c:v>38807</c:v>
                </c:pt>
                <c:pt idx="1344">
                  <c:v>38810</c:v>
                </c:pt>
                <c:pt idx="1345">
                  <c:v>38811</c:v>
                </c:pt>
                <c:pt idx="1346">
                  <c:v>38812</c:v>
                </c:pt>
                <c:pt idx="1347">
                  <c:v>38813</c:v>
                </c:pt>
                <c:pt idx="1348">
                  <c:v>38814</c:v>
                </c:pt>
                <c:pt idx="1349">
                  <c:v>38817</c:v>
                </c:pt>
                <c:pt idx="1350">
                  <c:v>38818</c:v>
                </c:pt>
                <c:pt idx="1351">
                  <c:v>38819</c:v>
                </c:pt>
                <c:pt idx="1352">
                  <c:v>38820</c:v>
                </c:pt>
                <c:pt idx="1353">
                  <c:v>38825</c:v>
                </c:pt>
                <c:pt idx="1354">
                  <c:v>38826</c:v>
                </c:pt>
                <c:pt idx="1355">
                  <c:v>38827</c:v>
                </c:pt>
                <c:pt idx="1356">
                  <c:v>38828</c:v>
                </c:pt>
                <c:pt idx="1357">
                  <c:v>38831</c:v>
                </c:pt>
                <c:pt idx="1358">
                  <c:v>38832</c:v>
                </c:pt>
                <c:pt idx="1359">
                  <c:v>38833</c:v>
                </c:pt>
                <c:pt idx="1360">
                  <c:v>38834</c:v>
                </c:pt>
                <c:pt idx="1361">
                  <c:v>38835</c:v>
                </c:pt>
                <c:pt idx="1362">
                  <c:v>38838</c:v>
                </c:pt>
                <c:pt idx="1363">
                  <c:v>38839</c:v>
                </c:pt>
                <c:pt idx="1364">
                  <c:v>38840</c:v>
                </c:pt>
                <c:pt idx="1365">
                  <c:v>38841</c:v>
                </c:pt>
                <c:pt idx="1366">
                  <c:v>38842</c:v>
                </c:pt>
                <c:pt idx="1367">
                  <c:v>38845</c:v>
                </c:pt>
                <c:pt idx="1368">
                  <c:v>38846</c:v>
                </c:pt>
                <c:pt idx="1369">
                  <c:v>38847</c:v>
                </c:pt>
                <c:pt idx="1370">
                  <c:v>38848</c:v>
                </c:pt>
                <c:pt idx="1371">
                  <c:v>38849</c:v>
                </c:pt>
                <c:pt idx="1372">
                  <c:v>38852</c:v>
                </c:pt>
                <c:pt idx="1373">
                  <c:v>38853</c:v>
                </c:pt>
                <c:pt idx="1374">
                  <c:v>38854</c:v>
                </c:pt>
                <c:pt idx="1375">
                  <c:v>38855</c:v>
                </c:pt>
                <c:pt idx="1376">
                  <c:v>38856</c:v>
                </c:pt>
                <c:pt idx="1377">
                  <c:v>38859</c:v>
                </c:pt>
                <c:pt idx="1378">
                  <c:v>38860</c:v>
                </c:pt>
                <c:pt idx="1379">
                  <c:v>38861</c:v>
                </c:pt>
                <c:pt idx="1380">
                  <c:v>38862</c:v>
                </c:pt>
                <c:pt idx="1381">
                  <c:v>38863</c:v>
                </c:pt>
                <c:pt idx="1382">
                  <c:v>38866</c:v>
                </c:pt>
                <c:pt idx="1383">
                  <c:v>38867</c:v>
                </c:pt>
                <c:pt idx="1384">
                  <c:v>38868</c:v>
                </c:pt>
                <c:pt idx="1385">
                  <c:v>38869</c:v>
                </c:pt>
                <c:pt idx="1386">
                  <c:v>38870</c:v>
                </c:pt>
                <c:pt idx="1387">
                  <c:v>38873</c:v>
                </c:pt>
                <c:pt idx="1388">
                  <c:v>38874</c:v>
                </c:pt>
                <c:pt idx="1389">
                  <c:v>38875</c:v>
                </c:pt>
                <c:pt idx="1390">
                  <c:v>38876</c:v>
                </c:pt>
                <c:pt idx="1391">
                  <c:v>38877</c:v>
                </c:pt>
                <c:pt idx="1392">
                  <c:v>38880</c:v>
                </c:pt>
                <c:pt idx="1393">
                  <c:v>38881</c:v>
                </c:pt>
                <c:pt idx="1394">
                  <c:v>38882</c:v>
                </c:pt>
                <c:pt idx="1395">
                  <c:v>38883</c:v>
                </c:pt>
                <c:pt idx="1396">
                  <c:v>38884</c:v>
                </c:pt>
                <c:pt idx="1397">
                  <c:v>38887</c:v>
                </c:pt>
                <c:pt idx="1398">
                  <c:v>38888</c:v>
                </c:pt>
                <c:pt idx="1399">
                  <c:v>38889</c:v>
                </c:pt>
                <c:pt idx="1400">
                  <c:v>38890</c:v>
                </c:pt>
                <c:pt idx="1401">
                  <c:v>38891</c:v>
                </c:pt>
                <c:pt idx="1402">
                  <c:v>38894</c:v>
                </c:pt>
                <c:pt idx="1403">
                  <c:v>38895</c:v>
                </c:pt>
                <c:pt idx="1404">
                  <c:v>38896</c:v>
                </c:pt>
                <c:pt idx="1405">
                  <c:v>38897</c:v>
                </c:pt>
                <c:pt idx="1406">
                  <c:v>38898</c:v>
                </c:pt>
                <c:pt idx="1407">
                  <c:v>38901</c:v>
                </c:pt>
                <c:pt idx="1408">
                  <c:v>38902</c:v>
                </c:pt>
                <c:pt idx="1409">
                  <c:v>38903</c:v>
                </c:pt>
                <c:pt idx="1410">
                  <c:v>38904</c:v>
                </c:pt>
                <c:pt idx="1411">
                  <c:v>38905</c:v>
                </c:pt>
                <c:pt idx="1412">
                  <c:v>38908</c:v>
                </c:pt>
                <c:pt idx="1413">
                  <c:v>38909</c:v>
                </c:pt>
                <c:pt idx="1414">
                  <c:v>38910</c:v>
                </c:pt>
                <c:pt idx="1415">
                  <c:v>38911</c:v>
                </c:pt>
                <c:pt idx="1416">
                  <c:v>38912</c:v>
                </c:pt>
                <c:pt idx="1417">
                  <c:v>38915</c:v>
                </c:pt>
                <c:pt idx="1418">
                  <c:v>38916</c:v>
                </c:pt>
                <c:pt idx="1419">
                  <c:v>38917</c:v>
                </c:pt>
                <c:pt idx="1420">
                  <c:v>38918</c:v>
                </c:pt>
                <c:pt idx="1421">
                  <c:v>38919</c:v>
                </c:pt>
                <c:pt idx="1422">
                  <c:v>38922</c:v>
                </c:pt>
                <c:pt idx="1423">
                  <c:v>38923</c:v>
                </c:pt>
                <c:pt idx="1424">
                  <c:v>38924</c:v>
                </c:pt>
                <c:pt idx="1425">
                  <c:v>38925</c:v>
                </c:pt>
                <c:pt idx="1426">
                  <c:v>38926</c:v>
                </c:pt>
                <c:pt idx="1427">
                  <c:v>38929</c:v>
                </c:pt>
                <c:pt idx="1428">
                  <c:v>38930</c:v>
                </c:pt>
                <c:pt idx="1429">
                  <c:v>38931</c:v>
                </c:pt>
                <c:pt idx="1430">
                  <c:v>38932</c:v>
                </c:pt>
                <c:pt idx="1431">
                  <c:v>38933</c:v>
                </c:pt>
                <c:pt idx="1432">
                  <c:v>38936</c:v>
                </c:pt>
                <c:pt idx="1433">
                  <c:v>38937</c:v>
                </c:pt>
                <c:pt idx="1434">
                  <c:v>38938</c:v>
                </c:pt>
                <c:pt idx="1435">
                  <c:v>38939</c:v>
                </c:pt>
                <c:pt idx="1436">
                  <c:v>38940</c:v>
                </c:pt>
                <c:pt idx="1437">
                  <c:v>38943</c:v>
                </c:pt>
                <c:pt idx="1438">
                  <c:v>38944</c:v>
                </c:pt>
                <c:pt idx="1439">
                  <c:v>38945</c:v>
                </c:pt>
                <c:pt idx="1440">
                  <c:v>38946</c:v>
                </c:pt>
                <c:pt idx="1441">
                  <c:v>38947</c:v>
                </c:pt>
                <c:pt idx="1442">
                  <c:v>38950</c:v>
                </c:pt>
                <c:pt idx="1443">
                  <c:v>38951</c:v>
                </c:pt>
                <c:pt idx="1444">
                  <c:v>38952</c:v>
                </c:pt>
                <c:pt idx="1445">
                  <c:v>38953</c:v>
                </c:pt>
                <c:pt idx="1446">
                  <c:v>38954</c:v>
                </c:pt>
                <c:pt idx="1447">
                  <c:v>38957</c:v>
                </c:pt>
                <c:pt idx="1448">
                  <c:v>38958</c:v>
                </c:pt>
                <c:pt idx="1449">
                  <c:v>38959</c:v>
                </c:pt>
                <c:pt idx="1450">
                  <c:v>38960</c:v>
                </c:pt>
                <c:pt idx="1451">
                  <c:v>38961</c:v>
                </c:pt>
                <c:pt idx="1452">
                  <c:v>38964</c:v>
                </c:pt>
                <c:pt idx="1453">
                  <c:v>38965</c:v>
                </c:pt>
                <c:pt idx="1454">
                  <c:v>38966</c:v>
                </c:pt>
                <c:pt idx="1455">
                  <c:v>38967</c:v>
                </c:pt>
                <c:pt idx="1456">
                  <c:v>38968</c:v>
                </c:pt>
                <c:pt idx="1457">
                  <c:v>38971</c:v>
                </c:pt>
                <c:pt idx="1458">
                  <c:v>38972</c:v>
                </c:pt>
                <c:pt idx="1459">
                  <c:v>38973</c:v>
                </c:pt>
                <c:pt idx="1460">
                  <c:v>38974</c:v>
                </c:pt>
                <c:pt idx="1461">
                  <c:v>38975</c:v>
                </c:pt>
                <c:pt idx="1462">
                  <c:v>38978</c:v>
                </c:pt>
                <c:pt idx="1463">
                  <c:v>38979</c:v>
                </c:pt>
                <c:pt idx="1464">
                  <c:v>38980</c:v>
                </c:pt>
                <c:pt idx="1465">
                  <c:v>38981</c:v>
                </c:pt>
                <c:pt idx="1466">
                  <c:v>38982</c:v>
                </c:pt>
                <c:pt idx="1467">
                  <c:v>38985</c:v>
                </c:pt>
                <c:pt idx="1468">
                  <c:v>38986</c:v>
                </c:pt>
                <c:pt idx="1469">
                  <c:v>38987</c:v>
                </c:pt>
                <c:pt idx="1470">
                  <c:v>38988</c:v>
                </c:pt>
                <c:pt idx="1471">
                  <c:v>38989</c:v>
                </c:pt>
                <c:pt idx="1472">
                  <c:v>38992</c:v>
                </c:pt>
                <c:pt idx="1473">
                  <c:v>38993</c:v>
                </c:pt>
                <c:pt idx="1474">
                  <c:v>38994</c:v>
                </c:pt>
                <c:pt idx="1475">
                  <c:v>38995</c:v>
                </c:pt>
                <c:pt idx="1476">
                  <c:v>38996</c:v>
                </c:pt>
                <c:pt idx="1477">
                  <c:v>38999</c:v>
                </c:pt>
                <c:pt idx="1478">
                  <c:v>39000</c:v>
                </c:pt>
                <c:pt idx="1479">
                  <c:v>39001</c:v>
                </c:pt>
                <c:pt idx="1480">
                  <c:v>39002</c:v>
                </c:pt>
                <c:pt idx="1481">
                  <c:v>39003</c:v>
                </c:pt>
                <c:pt idx="1482">
                  <c:v>39006</c:v>
                </c:pt>
                <c:pt idx="1483">
                  <c:v>39007</c:v>
                </c:pt>
                <c:pt idx="1484">
                  <c:v>39008</c:v>
                </c:pt>
                <c:pt idx="1485">
                  <c:v>39009</c:v>
                </c:pt>
                <c:pt idx="1486">
                  <c:v>39010</c:v>
                </c:pt>
                <c:pt idx="1487">
                  <c:v>39013</c:v>
                </c:pt>
                <c:pt idx="1488">
                  <c:v>39014</c:v>
                </c:pt>
                <c:pt idx="1489">
                  <c:v>39015</c:v>
                </c:pt>
                <c:pt idx="1490">
                  <c:v>39016</c:v>
                </c:pt>
                <c:pt idx="1491">
                  <c:v>39017</c:v>
                </c:pt>
                <c:pt idx="1492">
                  <c:v>39020</c:v>
                </c:pt>
                <c:pt idx="1493">
                  <c:v>39021</c:v>
                </c:pt>
                <c:pt idx="1494">
                  <c:v>39022</c:v>
                </c:pt>
                <c:pt idx="1495">
                  <c:v>39023</c:v>
                </c:pt>
                <c:pt idx="1496">
                  <c:v>39024</c:v>
                </c:pt>
                <c:pt idx="1497">
                  <c:v>39027</c:v>
                </c:pt>
                <c:pt idx="1498">
                  <c:v>39028</c:v>
                </c:pt>
                <c:pt idx="1499">
                  <c:v>39029</c:v>
                </c:pt>
                <c:pt idx="1500">
                  <c:v>39030</c:v>
                </c:pt>
                <c:pt idx="1501">
                  <c:v>39031</c:v>
                </c:pt>
                <c:pt idx="1502">
                  <c:v>39034</c:v>
                </c:pt>
                <c:pt idx="1503">
                  <c:v>39035</c:v>
                </c:pt>
                <c:pt idx="1504">
                  <c:v>39036</c:v>
                </c:pt>
                <c:pt idx="1505">
                  <c:v>39037</c:v>
                </c:pt>
                <c:pt idx="1506">
                  <c:v>39038</c:v>
                </c:pt>
                <c:pt idx="1507">
                  <c:v>39041</c:v>
                </c:pt>
                <c:pt idx="1508">
                  <c:v>39042</c:v>
                </c:pt>
                <c:pt idx="1509">
                  <c:v>39043</c:v>
                </c:pt>
                <c:pt idx="1510">
                  <c:v>39044</c:v>
                </c:pt>
                <c:pt idx="1511">
                  <c:v>39045</c:v>
                </c:pt>
                <c:pt idx="1512">
                  <c:v>39048</c:v>
                </c:pt>
                <c:pt idx="1513">
                  <c:v>39049</c:v>
                </c:pt>
                <c:pt idx="1514">
                  <c:v>39050</c:v>
                </c:pt>
                <c:pt idx="1515">
                  <c:v>39051</c:v>
                </c:pt>
                <c:pt idx="1516">
                  <c:v>39052</c:v>
                </c:pt>
                <c:pt idx="1517">
                  <c:v>39055</c:v>
                </c:pt>
                <c:pt idx="1518">
                  <c:v>39056</c:v>
                </c:pt>
                <c:pt idx="1519">
                  <c:v>39057</c:v>
                </c:pt>
                <c:pt idx="1520">
                  <c:v>39058</c:v>
                </c:pt>
                <c:pt idx="1521">
                  <c:v>39059</c:v>
                </c:pt>
                <c:pt idx="1522">
                  <c:v>39062</c:v>
                </c:pt>
                <c:pt idx="1523">
                  <c:v>39063</c:v>
                </c:pt>
                <c:pt idx="1524">
                  <c:v>39064</c:v>
                </c:pt>
                <c:pt idx="1525">
                  <c:v>39065</c:v>
                </c:pt>
                <c:pt idx="1526">
                  <c:v>39066</c:v>
                </c:pt>
                <c:pt idx="1527">
                  <c:v>39069</c:v>
                </c:pt>
                <c:pt idx="1528">
                  <c:v>39070</c:v>
                </c:pt>
                <c:pt idx="1529">
                  <c:v>39071</c:v>
                </c:pt>
                <c:pt idx="1530">
                  <c:v>39072</c:v>
                </c:pt>
                <c:pt idx="1531">
                  <c:v>39073</c:v>
                </c:pt>
                <c:pt idx="1532">
                  <c:v>39078</c:v>
                </c:pt>
                <c:pt idx="1533">
                  <c:v>39079</c:v>
                </c:pt>
                <c:pt idx="1534">
                  <c:v>39080</c:v>
                </c:pt>
                <c:pt idx="1535">
                  <c:v>39084</c:v>
                </c:pt>
                <c:pt idx="1536">
                  <c:v>39085</c:v>
                </c:pt>
                <c:pt idx="1537">
                  <c:v>39086</c:v>
                </c:pt>
                <c:pt idx="1538">
                  <c:v>39087</c:v>
                </c:pt>
                <c:pt idx="1539">
                  <c:v>39090</c:v>
                </c:pt>
                <c:pt idx="1540">
                  <c:v>39091</c:v>
                </c:pt>
                <c:pt idx="1541">
                  <c:v>39092</c:v>
                </c:pt>
                <c:pt idx="1542">
                  <c:v>39093</c:v>
                </c:pt>
                <c:pt idx="1543">
                  <c:v>39094</c:v>
                </c:pt>
                <c:pt idx="1544">
                  <c:v>39097</c:v>
                </c:pt>
                <c:pt idx="1545">
                  <c:v>39098</c:v>
                </c:pt>
                <c:pt idx="1546">
                  <c:v>39099</c:v>
                </c:pt>
                <c:pt idx="1547">
                  <c:v>39100</c:v>
                </c:pt>
                <c:pt idx="1548">
                  <c:v>39101</c:v>
                </c:pt>
                <c:pt idx="1549">
                  <c:v>39104</c:v>
                </c:pt>
                <c:pt idx="1550">
                  <c:v>39105</c:v>
                </c:pt>
                <c:pt idx="1551">
                  <c:v>39106</c:v>
                </c:pt>
                <c:pt idx="1552">
                  <c:v>39107</c:v>
                </c:pt>
                <c:pt idx="1553">
                  <c:v>39108</c:v>
                </c:pt>
                <c:pt idx="1554">
                  <c:v>39111</c:v>
                </c:pt>
                <c:pt idx="1555">
                  <c:v>39112</c:v>
                </c:pt>
                <c:pt idx="1556">
                  <c:v>39113</c:v>
                </c:pt>
                <c:pt idx="1557">
                  <c:v>39114</c:v>
                </c:pt>
                <c:pt idx="1558">
                  <c:v>39115</c:v>
                </c:pt>
                <c:pt idx="1559">
                  <c:v>39118</c:v>
                </c:pt>
                <c:pt idx="1560">
                  <c:v>39119</c:v>
                </c:pt>
                <c:pt idx="1561">
                  <c:v>39120</c:v>
                </c:pt>
                <c:pt idx="1562">
                  <c:v>39121</c:v>
                </c:pt>
                <c:pt idx="1563">
                  <c:v>39122</c:v>
                </c:pt>
                <c:pt idx="1564">
                  <c:v>39125</c:v>
                </c:pt>
                <c:pt idx="1565">
                  <c:v>39126</c:v>
                </c:pt>
                <c:pt idx="1566">
                  <c:v>39127</c:v>
                </c:pt>
                <c:pt idx="1567">
                  <c:v>39128</c:v>
                </c:pt>
                <c:pt idx="1568">
                  <c:v>39129</c:v>
                </c:pt>
                <c:pt idx="1569">
                  <c:v>39132</c:v>
                </c:pt>
                <c:pt idx="1570">
                  <c:v>39133</c:v>
                </c:pt>
                <c:pt idx="1571">
                  <c:v>39134</c:v>
                </c:pt>
                <c:pt idx="1572">
                  <c:v>39135</c:v>
                </c:pt>
                <c:pt idx="1573">
                  <c:v>39136</c:v>
                </c:pt>
                <c:pt idx="1574">
                  <c:v>39139</c:v>
                </c:pt>
                <c:pt idx="1575">
                  <c:v>39140</c:v>
                </c:pt>
                <c:pt idx="1576">
                  <c:v>39141</c:v>
                </c:pt>
                <c:pt idx="1577">
                  <c:v>39142</c:v>
                </c:pt>
                <c:pt idx="1578">
                  <c:v>39143</c:v>
                </c:pt>
                <c:pt idx="1579">
                  <c:v>39146</c:v>
                </c:pt>
                <c:pt idx="1580">
                  <c:v>39147</c:v>
                </c:pt>
                <c:pt idx="1581">
                  <c:v>39148</c:v>
                </c:pt>
                <c:pt idx="1582">
                  <c:v>39149</c:v>
                </c:pt>
                <c:pt idx="1583">
                  <c:v>39150</c:v>
                </c:pt>
                <c:pt idx="1584">
                  <c:v>39153</c:v>
                </c:pt>
                <c:pt idx="1585">
                  <c:v>39154</c:v>
                </c:pt>
                <c:pt idx="1586">
                  <c:v>39155</c:v>
                </c:pt>
                <c:pt idx="1587">
                  <c:v>39156</c:v>
                </c:pt>
                <c:pt idx="1588">
                  <c:v>39157</c:v>
                </c:pt>
                <c:pt idx="1589">
                  <c:v>39160</c:v>
                </c:pt>
                <c:pt idx="1590">
                  <c:v>39161</c:v>
                </c:pt>
                <c:pt idx="1591">
                  <c:v>39162</c:v>
                </c:pt>
                <c:pt idx="1592">
                  <c:v>39163</c:v>
                </c:pt>
                <c:pt idx="1593">
                  <c:v>39164</c:v>
                </c:pt>
                <c:pt idx="1594">
                  <c:v>39167</c:v>
                </c:pt>
                <c:pt idx="1595">
                  <c:v>39168</c:v>
                </c:pt>
                <c:pt idx="1596">
                  <c:v>39169</c:v>
                </c:pt>
                <c:pt idx="1597">
                  <c:v>39170</c:v>
                </c:pt>
                <c:pt idx="1598">
                  <c:v>39171</c:v>
                </c:pt>
                <c:pt idx="1599">
                  <c:v>39174</c:v>
                </c:pt>
                <c:pt idx="1600">
                  <c:v>39175</c:v>
                </c:pt>
                <c:pt idx="1601">
                  <c:v>39176</c:v>
                </c:pt>
                <c:pt idx="1602">
                  <c:v>39177</c:v>
                </c:pt>
                <c:pt idx="1603">
                  <c:v>39182</c:v>
                </c:pt>
                <c:pt idx="1604">
                  <c:v>39183</c:v>
                </c:pt>
                <c:pt idx="1605">
                  <c:v>39184</c:v>
                </c:pt>
                <c:pt idx="1606">
                  <c:v>39185</c:v>
                </c:pt>
                <c:pt idx="1607">
                  <c:v>39188</c:v>
                </c:pt>
                <c:pt idx="1608">
                  <c:v>39189</c:v>
                </c:pt>
                <c:pt idx="1609">
                  <c:v>39190</c:v>
                </c:pt>
                <c:pt idx="1610">
                  <c:v>39191</c:v>
                </c:pt>
                <c:pt idx="1611">
                  <c:v>39192</c:v>
                </c:pt>
                <c:pt idx="1612">
                  <c:v>39195</c:v>
                </c:pt>
                <c:pt idx="1613">
                  <c:v>39196</c:v>
                </c:pt>
                <c:pt idx="1614">
                  <c:v>39197</c:v>
                </c:pt>
                <c:pt idx="1615">
                  <c:v>39198</c:v>
                </c:pt>
                <c:pt idx="1616">
                  <c:v>39199</c:v>
                </c:pt>
                <c:pt idx="1617">
                  <c:v>39202</c:v>
                </c:pt>
                <c:pt idx="1618">
                  <c:v>39203</c:v>
                </c:pt>
                <c:pt idx="1619">
                  <c:v>39204</c:v>
                </c:pt>
                <c:pt idx="1620">
                  <c:v>39205</c:v>
                </c:pt>
                <c:pt idx="1621">
                  <c:v>39206</c:v>
                </c:pt>
                <c:pt idx="1622">
                  <c:v>39209</c:v>
                </c:pt>
                <c:pt idx="1623">
                  <c:v>39210</c:v>
                </c:pt>
                <c:pt idx="1624">
                  <c:v>39211</c:v>
                </c:pt>
                <c:pt idx="1625">
                  <c:v>39212</c:v>
                </c:pt>
                <c:pt idx="1626">
                  <c:v>39213</c:v>
                </c:pt>
                <c:pt idx="1627">
                  <c:v>39216</c:v>
                </c:pt>
                <c:pt idx="1628">
                  <c:v>39217</c:v>
                </c:pt>
                <c:pt idx="1629">
                  <c:v>39218</c:v>
                </c:pt>
                <c:pt idx="1630">
                  <c:v>39219</c:v>
                </c:pt>
                <c:pt idx="1631">
                  <c:v>39220</c:v>
                </c:pt>
                <c:pt idx="1632">
                  <c:v>39223</c:v>
                </c:pt>
                <c:pt idx="1633">
                  <c:v>39224</c:v>
                </c:pt>
                <c:pt idx="1634">
                  <c:v>39225</c:v>
                </c:pt>
                <c:pt idx="1635">
                  <c:v>39226</c:v>
                </c:pt>
                <c:pt idx="1636">
                  <c:v>39227</c:v>
                </c:pt>
                <c:pt idx="1637">
                  <c:v>39230</c:v>
                </c:pt>
                <c:pt idx="1638">
                  <c:v>39231</c:v>
                </c:pt>
                <c:pt idx="1639">
                  <c:v>39232</c:v>
                </c:pt>
                <c:pt idx="1640">
                  <c:v>39233</c:v>
                </c:pt>
                <c:pt idx="1641">
                  <c:v>39234</c:v>
                </c:pt>
                <c:pt idx="1642">
                  <c:v>39237</c:v>
                </c:pt>
                <c:pt idx="1643">
                  <c:v>39238</c:v>
                </c:pt>
                <c:pt idx="1644">
                  <c:v>39239</c:v>
                </c:pt>
                <c:pt idx="1645">
                  <c:v>39240</c:v>
                </c:pt>
                <c:pt idx="1646">
                  <c:v>39241</c:v>
                </c:pt>
                <c:pt idx="1647">
                  <c:v>39244</c:v>
                </c:pt>
                <c:pt idx="1648">
                  <c:v>39245</c:v>
                </c:pt>
                <c:pt idx="1649">
                  <c:v>39246</c:v>
                </c:pt>
                <c:pt idx="1650">
                  <c:v>39247</c:v>
                </c:pt>
                <c:pt idx="1651">
                  <c:v>39248</c:v>
                </c:pt>
                <c:pt idx="1652">
                  <c:v>39251</c:v>
                </c:pt>
                <c:pt idx="1653">
                  <c:v>39252</c:v>
                </c:pt>
                <c:pt idx="1654">
                  <c:v>39253</c:v>
                </c:pt>
                <c:pt idx="1655">
                  <c:v>39254</c:v>
                </c:pt>
                <c:pt idx="1656">
                  <c:v>39255</c:v>
                </c:pt>
                <c:pt idx="1657">
                  <c:v>39258</c:v>
                </c:pt>
                <c:pt idx="1658">
                  <c:v>39259</c:v>
                </c:pt>
                <c:pt idx="1659">
                  <c:v>39260</c:v>
                </c:pt>
                <c:pt idx="1660">
                  <c:v>39261</c:v>
                </c:pt>
                <c:pt idx="1661">
                  <c:v>39262</c:v>
                </c:pt>
                <c:pt idx="1662">
                  <c:v>39265</c:v>
                </c:pt>
                <c:pt idx="1663">
                  <c:v>39266</c:v>
                </c:pt>
                <c:pt idx="1664">
                  <c:v>39267</c:v>
                </c:pt>
                <c:pt idx="1665">
                  <c:v>39268</c:v>
                </c:pt>
                <c:pt idx="1666">
                  <c:v>39269</c:v>
                </c:pt>
                <c:pt idx="1667">
                  <c:v>39272</c:v>
                </c:pt>
                <c:pt idx="1668">
                  <c:v>39273</c:v>
                </c:pt>
                <c:pt idx="1669">
                  <c:v>39274</c:v>
                </c:pt>
                <c:pt idx="1670">
                  <c:v>39275</c:v>
                </c:pt>
                <c:pt idx="1671">
                  <c:v>39276</c:v>
                </c:pt>
                <c:pt idx="1672">
                  <c:v>39279</c:v>
                </c:pt>
                <c:pt idx="1673">
                  <c:v>39280</c:v>
                </c:pt>
                <c:pt idx="1674">
                  <c:v>39281</c:v>
                </c:pt>
                <c:pt idx="1675">
                  <c:v>39282</c:v>
                </c:pt>
                <c:pt idx="1676">
                  <c:v>39283</c:v>
                </c:pt>
                <c:pt idx="1677">
                  <c:v>39286</c:v>
                </c:pt>
                <c:pt idx="1678">
                  <c:v>39287</c:v>
                </c:pt>
                <c:pt idx="1679">
                  <c:v>39288</c:v>
                </c:pt>
                <c:pt idx="1680">
                  <c:v>39289</c:v>
                </c:pt>
                <c:pt idx="1681">
                  <c:v>39290</c:v>
                </c:pt>
                <c:pt idx="1682">
                  <c:v>39293</c:v>
                </c:pt>
                <c:pt idx="1683">
                  <c:v>39294</c:v>
                </c:pt>
                <c:pt idx="1684">
                  <c:v>39295</c:v>
                </c:pt>
                <c:pt idx="1685">
                  <c:v>39296</c:v>
                </c:pt>
                <c:pt idx="1686">
                  <c:v>39297</c:v>
                </c:pt>
                <c:pt idx="1687">
                  <c:v>39300</c:v>
                </c:pt>
                <c:pt idx="1688">
                  <c:v>39301</c:v>
                </c:pt>
                <c:pt idx="1689">
                  <c:v>39302</c:v>
                </c:pt>
                <c:pt idx="1690">
                  <c:v>39303</c:v>
                </c:pt>
                <c:pt idx="1691">
                  <c:v>39304</c:v>
                </c:pt>
                <c:pt idx="1692">
                  <c:v>39307</c:v>
                </c:pt>
                <c:pt idx="1693">
                  <c:v>39308</c:v>
                </c:pt>
                <c:pt idx="1694">
                  <c:v>39309</c:v>
                </c:pt>
                <c:pt idx="1695">
                  <c:v>39310</c:v>
                </c:pt>
                <c:pt idx="1696">
                  <c:v>39311</c:v>
                </c:pt>
                <c:pt idx="1697">
                  <c:v>39314</c:v>
                </c:pt>
                <c:pt idx="1698">
                  <c:v>39315</c:v>
                </c:pt>
                <c:pt idx="1699">
                  <c:v>39316</c:v>
                </c:pt>
                <c:pt idx="1700">
                  <c:v>39317</c:v>
                </c:pt>
                <c:pt idx="1701">
                  <c:v>39318</c:v>
                </c:pt>
                <c:pt idx="1702">
                  <c:v>39321</c:v>
                </c:pt>
                <c:pt idx="1703">
                  <c:v>39322</c:v>
                </c:pt>
                <c:pt idx="1704">
                  <c:v>39323</c:v>
                </c:pt>
                <c:pt idx="1705">
                  <c:v>39324</c:v>
                </c:pt>
                <c:pt idx="1706">
                  <c:v>39325</c:v>
                </c:pt>
                <c:pt idx="1707">
                  <c:v>39328</c:v>
                </c:pt>
                <c:pt idx="1708">
                  <c:v>39329</c:v>
                </c:pt>
                <c:pt idx="1709">
                  <c:v>39330</c:v>
                </c:pt>
                <c:pt idx="1710">
                  <c:v>39331</c:v>
                </c:pt>
                <c:pt idx="1711">
                  <c:v>39332</c:v>
                </c:pt>
                <c:pt idx="1712">
                  <c:v>39335</c:v>
                </c:pt>
                <c:pt idx="1713">
                  <c:v>39336</c:v>
                </c:pt>
                <c:pt idx="1714">
                  <c:v>39337</c:v>
                </c:pt>
                <c:pt idx="1715">
                  <c:v>39338</c:v>
                </c:pt>
                <c:pt idx="1716">
                  <c:v>39339</c:v>
                </c:pt>
                <c:pt idx="1717">
                  <c:v>39342</c:v>
                </c:pt>
                <c:pt idx="1718">
                  <c:v>39343</c:v>
                </c:pt>
                <c:pt idx="1719">
                  <c:v>39344</c:v>
                </c:pt>
                <c:pt idx="1720">
                  <c:v>39345</c:v>
                </c:pt>
                <c:pt idx="1721">
                  <c:v>39346</c:v>
                </c:pt>
                <c:pt idx="1722">
                  <c:v>39349</c:v>
                </c:pt>
                <c:pt idx="1723">
                  <c:v>39350</c:v>
                </c:pt>
                <c:pt idx="1724">
                  <c:v>39351</c:v>
                </c:pt>
                <c:pt idx="1725">
                  <c:v>39352</c:v>
                </c:pt>
                <c:pt idx="1726">
                  <c:v>39353</c:v>
                </c:pt>
                <c:pt idx="1727">
                  <c:v>39356</c:v>
                </c:pt>
                <c:pt idx="1728">
                  <c:v>39357</c:v>
                </c:pt>
                <c:pt idx="1729">
                  <c:v>39358</c:v>
                </c:pt>
                <c:pt idx="1730">
                  <c:v>39359</c:v>
                </c:pt>
                <c:pt idx="1731">
                  <c:v>39360</c:v>
                </c:pt>
                <c:pt idx="1732">
                  <c:v>39363</c:v>
                </c:pt>
                <c:pt idx="1733">
                  <c:v>39364</c:v>
                </c:pt>
                <c:pt idx="1734">
                  <c:v>39365</c:v>
                </c:pt>
                <c:pt idx="1735">
                  <c:v>39366</c:v>
                </c:pt>
                <c:pt idx="1736">
                  <c:v>39367</c:v>
                </c:pt>
                <c:pt idx="1737">
                  <c:v>39370</c:v>
                </c:pt>
                <c:pt idx="1738">
                  <c:v>39371</c:v>
                </c:pt>
                <c:pt idx="1739">
                  <c:v>39372</c:v>
                </c:pt>
                <c:pt idx="1740">
                  <c:v>39373</c:v>
                </c:pt>
                <c:pt idx="1741">
                  <c:v>39374</c:v>
                </c:pt>
                <c:pt idx="1742">
                  <c:v>39377</c:v>
                </c:pt>
                <c:pt idx="1743">
                  <c:v>39378</c:v>
                </c:pt>
                <c:pt idx="1744">
                  <c:v>39379</c:v>
                </c:pt>
                <c:pt idx="1745">
                  <c:v>39380</c:v>
                </c:pt>
                <c:pt idx="1746">
                  <c:v>39381</c:v>
                </c:pt>
                <c:pt idx="1747">
                  <c:v>39384</c:v>
                </c:pt>
                <c:pt idx="1748">
                  <c:v>39385</c:v>
                </c:pt>
                <c:pt idx="1749">
                  <c:v>39386</c:v>
                </c:pt>
                <c:pt idx="1750">
                  <c:v>39387</c:v>
                </c:pt>
                <c:pt idx="1751">
                  <c:v>39388</c:v>
                </c:pt>
                <c:pt idx="1752">
                  <c:v>39391</c:v>
                </c:pt>
                <c:pt idx="1753">
                  <c:v>39392</c:v>
                </c:pt>
                <c:pt idx="1754">
                  <c:v>39393</c:v>
                </c:pt>
                <c:pt idx="1755">
                  <c:v>39394</c:v>
                </c:pt>
                <c:pt idx="1756">
                  <c:v>39395</c:v>
                </c:pt>
                <c:pt idx="1757">
                  <c:v>39398</c:v>
                </c:pt>
                <c:pt idx="1758">
                  <c:v>39399</c:v>
                </c:pt>
                <c:pt idx="1759">
                  <c:v>39400</c:v>
                </c:pt>
                <c:pt idx="1760">
                  <c:v>39401</c:v>
                </c:pt>
                <c:pt idx="1761">
                  <c:v>39402</c:v>
                </c:pt>
                <c:pt idx="1762">
                  <c:v>39405</c:v>
                </c:pt>
                <c:pt idx="1763">
                  <c:v>39406</c:v>
                </c:pt>
                <c:pt idx="1764">
                  <c:v>39407</c:v>
                </c:pt>
                <c:pt idx="1765">
                  <c:v>39408</c:v>
                </c:pt>
                <c:pt idx="1766">
                  <c:v>39409</c:v>
                </c:pt>
                <c:pt idx="1767">
                  <c:v>39412</c:v>
                </c:pt>
                <c:pt idx="1768">
                  <c:v>39413</c:v>
                </c:pt>
                <c:pt idx="1769">
                  <c:v>39414</c:v>
                </c:pt>
                <c:pt idx="1770">
                  <c:v>39415</c:v>
                </c:pt>
                <c:pt idx="1771">
                  <c:v>39416</c:v>
                </c:pt>
                <c:pt idx="1772">
                  <c:v>39419</c:v>
                </c:pt>
                <c:pt idx="1773">
                  <c:v>39420</c:v>
                </c:pt>
                <c:pt idx="1774">
                  <c:v>39421</c:v>
                </c:pt>
                <c:pt idx="1775">
                  <c:v>39422</c:v>
                </c:pt>
                <c:pt idx="1776">
                  <c:v>39423</c:v>
                </c:pt>
                <c:pt idx="1777">
                  <c:v>39426</c:v>
                </c:pt>
                <c:pt idx="1778">
                  <c:v>39427</c:v>
                </c:pt>
                <c:pt idx="1779">
                  <c:v>39428</c:v>
                </c:pt>
                <c:pt idx="1780">
                  <c:v>39429</c:v>
                </c:pt>
                <c:pt idx="1781">
                  <c:v>39430</c:v>
                </c:pt>
                <c:pt idx="1782">
                  <c:v>39433</c:v>
                </c:pt>
                <c:pt idx="1783">
                  <c:v>39434</c:v>
                </c:pt>
                <c:pt idx="1784">
                  <c:v>39435</c:v>
                </c:pt>
                <c:pt idx="1785">
                  <c:v>39436</c:v>
                </c:pt>
                <c:pt idx="1786">
                  <c:v>39437</c:v>
                </c:pt>
                <c:pt idx="1787">
                  <c:v>39440</c:v>
                </c:pt>
                <c:pt idx="1788">
                  <c:v>39443</c:v>
                </c:pt>
                <c:pt idx="1789">
                  <c:v>39444</c:v>
                </c:pt>
                <c:pt idx="1790">
                  <c:v>39447</c:v>
                </c:pt>
                <c:pt idx="1791">
                  <c:v>39449</c:v>
                </c:pt>
                <c:pt idx="1792">
                  <c:v>39450</c:v>
                </c:pt>
                <c:pt idx="1793">
                  <c:v>39451</c:v>
                </c:pt>
                <c:pt idx="1794">
                  <c:v>39454</c:v>
                </c:pt>
                <c:pt idx="1795">
                  <c:v>39455</c:v>
                </c:pt>
                <c:pt idx="1796">
                  <c:v>39456</c:v>
                </c:pt>
                <c:pt idx="1797">
                  <c:v>39457</c:v>
                </c:pt>
                <c:pt idx="1798">
                  <c:v>39458</c:v>
                </c:pt>
                <c:pt idx="1799">
                  <c:v>39461</c:v>
                </c:pt>
                <c:pt idx="1800">
                  <c:v>39462</c:v>
                </c:pt>
                <c:pt idx="1801">
                  <c:v>39463</c:v>
                </c:pt>
                <c:pt idx="1802">
                  <c:v>39464</c:v>
                </c:pt>
                <c:pt idx="1803">
                  <c:v>39465</c:v>
                </c:pt>
                <c:pt idx="1804">
                  <c:v>39468</c:v>
                </c:pt>
                <c:pt idx="1805">
                  <c:v>39469</c:v>
                </c:pt>
                <c:pt idx="1806">
                  <c:v>39470</c:v>
                </c:pt>
                <c:pt idx="1807">
                  <c:v>39471</c:v>
                </c:pt>
                <c:pt idx="1808">
                  <c:v>39472</c:v>
                </c:pt>
                <c:pt idx="1809">
                  <c:v>39475</c:v>
                </c:pt>
                <c:pt idx="1810">
                  <c:v>39476</c:v>
                </c:pt>
                <c:pt idx="1811">
                  <c:v>39477</c:v>
                </c:pt>
                <c:pt idx="1812">
                  <c:v>39478</c:v>
                </c:pt>
                <c:pt idx="1813">
                  <c:v>39479</c:v>
                </c:pt>
                <c:pt idx="1814">
                  <c:v>39482</c:v>
                </c:pt>
                <c:pt idx="1815">
                  <c:v>39483</c:v>
                </c:pt>
                <c:pt idx="1816">
                  <c:v>39484</c:v>
                </c:pt>
                <c:pt idx="1817">
                  <c:v>39485</c:v>
                </c:pt>
                <c:pt idx="1818">
                  <c:v>39486</c:v>
                </c:pt>
                <c:pt idx="1819">
                  <c:v>39489</c:v>
                </c:pt>
                <c:pt idx="1820">
                  <c:v>39490</c:v>
                </c:pt>
                <c:pt idx="1821">
                  <c:v>39491</c:v>
                </c:pt>
                <c:pt idx="1822">
                  <c:v>39492</c:v>
                </c:pt>
                <c:pt idx="1823">
                  <c:v>39493</c:v>
                </c:pt>
                <c:pt idx="1824">
                  <c:v>39496</c:v>
                </c:pt>
                <c:pt idx="1825">
                  <c:v>39497</c:v>
                </c:pt>
                <c:pt idx="1826">
                  <c:v>39498</c:v>
                </c:pt>
                <c:pt idx="1827">
                  <c:v>39499</c:v>
                </c:pt>
                <c:pt idx="1828">
                  <c:v>39500</c:v>
                </c:pt>
                <c:pt idx="1829">
                  <c:v>39503</c:v>
                </c:pt>
                <c:pt idx="1830">
                  <c:v>39504</c:v>
                </c:pt>
                <c:pt idx="1831">
                  <c:v>39505</c:v>
                </c:pt>
                <c:pt idx="1832">
                  <c:v>39506</c:v>
                </c:pt>
                <c:pt idx="1833">
                  <c:v>39507</c:v>
                </c:pt>
                <c:pt idx="1834">
                  <c:v>39510</c:v>
                </c:pt>
                <c:pt idx="1835">
                  <c:v>39511</c:v>
                </c:pt>
                <c:pt idx="1836">
                  <c:v>39512</c:v>
                </c:pt>
                <c:pt idx="1837">
                  <c:v>39513</c:v>
                </c:pt>
                <c:pt idx="1838">
                  <c:v>39514</c:v>
                </c:pt>
                <c:pt idx="1839">
                  <c:v>39517</c:v>
                </c:pt>
                <c:pt idx="1840">
                  <c:v>39518</c:v>
                </c:pt>
                <c:pt idx="1841">
                  <c:v>39519</c:v>
                </c:pt>
                <c:pt idx="1842">
                  <c:v>39520</c:v>
                </c:pt>
                <c:pt idx="1843">
                  <c:v>39521</c:v>
                </c:pt>
                <c:pt idx="1844">
                  <c:v>39524</c:v>
                </c:pt>
                <c:pt idx="1845">
                  <c:v>39525</c:v>
                </c:pt>
                <c:pt idx="1846">
                  <c:v>39526</c:v>
                </c:pt>
                <c:pt idx="1847">
                  <c:v>39527</c:v>
                </c:pt>
                <c:pt idx="1848">
                  <c:v>39532</c:v>
                </c:pt>
                <c:pt idx="1849">
                  <c:v>39533</c:v>
                </c:pt>
                <c:pt idx="1850">
                  <c:v>39534</c:v>
                </c:pt>
                <c:pt idx="1851">
                  <c:v>39535</c:v>
                </c:pt>
                <c:pt idx="1852">
                  <c:v>39538</c:v>
                </c:pt>
                <c:pt idx="1853">
                  <c:v>39539</c:v>
                </c:pt>
                <c:pt idx="1854">
                  <c:v>39540</c:v>
                </c:pt>
                <c:pt idx="1855">
                  <c:v>39541</c:v>
                </c:pt>
                <c:pt idx="1856">
                  <c:v>39542</c:v>
                </c:pt>
                <c:pt idx="1857">
                  <c:v>39545</c:v>
                </c:pt>
                <c:pt idx="1858">
                  <c:v>39546</c:v>
                </c:pt>
                <c:pt idx="1859">
                  <c:v>39547</c:v>
                </c:pt>
                <c:pt idx="1860">
                  <c:v>39548</c:v>
                </c:pt>
                <c:pt idx="1861">
                  <c:v>39549</c:v>
                </c:pt>
                <c:pt idx="1862">
                  <c:v>39552</c:v>
                </c:pt>
                <c:pt idx="1863">
                  <c:v>39553</c:v>
                </c:pt>
                <c:pt idx="1864">
                  <c:v>39554</c:v>
                </c:pt>
                <c:pt idx="1865">
                  <c:v>39555</c:v>
                </c:pt>
                <c:pt idx="1866">
                  <c:v>39556</c:v>
                </c:pt>
                <c:pt idx="1867">
                  <c:v>39559</c:v>
                </c:pt>
                <c:pt idx="1868">
                  <c:v>39560</c:v>
                </c:pt>
                <c:pt idx="1869">
                  <c:v>39561</c:v>
                </c:pt>
                <c:pt idx="1870">
                  <c:v>39562</c:v>
                </c:pt>
                <c:pt idx="1871">
                  <c:v>39563</c:v>
                </c:pt>
                <c:pt idx="1872">
                  <c:v>39566</c:v>
                </c:pt>
                <c:pt idx="1873">
                  <c:v>39567</c:v>
                </c:pt>
                <c:pt idx="1874">
                  <c:v>39568</c:v>
                </c:pt>
                <c:pt idx="1875">
                  <c:v>39569</c:v>
                </c:pt>
                <c:pt idx="1876">
                  <c:v>39570</c:v>
                </c:pt>
                <c:pt idx="1877">
                  <c:v>39573</c:v>
                </c:pt>
                <c:pt idx="1878">
                  <c:v>39574</c:v>
                </c:pt>
                <c:pt idx="1879">
                  <c:v>39575</c:v>
                </c:pt>
                <c:pt idx="1880">
                  <c:v>39576</c:v>
                </c:pt>
                <c:pt idx="1881">
                  <c:v>39577</c:v>
                </c:pt>
                <c:pt idx="1882">
                  <c:v>39580</c:v>
                </c:pt>
                <c:pt idx="1883">
                  <c:v>39581</c:v>
                </c:pt>
                <c:pt idx="1884">
                  <c:v>39582</c:v>
                </c:pt>
                <c:pt idx="1885">
                  <c:v>39583</c:v>
                </c:pt>
                <c:pt idx="1886">
                  <c:v>39584</c:v>
                </c:pt>
                <c:pt idx="1887">
                  <c:v>39587</c:v>
                </c:pt>
                <c:pt idx="1888">
                  <c:v>39588</c:v>
                </c:pt>
                <c:pt idx="1889">
                  <c:v>39589</c:v>
                </c:pt>
                <c:pt idx="1890">
                  <c:v>39590</c:v>
                </c:pt>
                <c:pt idx="1891">
                  <c:v>39591</c:v>
                </c:pt>
                <c:pt idx="1892">
                  <c:v>39594</c:v>
                </c:pt>
                <c:pt idx="1893">
                  <c:v>39595</c:v>
                </c:pt>
                <c:pt idx="1894">
                  <c:v>39596</c:v>
                </c:pt>
                <c:pt idx="1895">
                  <c:v>39597</c:v>
                </c:pt>
                <c:pt idx="1896">
                  <c:v>39598</c:v>
                </c:pt>
                <c:pt idx="1897">
                  <c:v>39601</c:v>
                </c:pt>
                <c:pt idx="1898">
                  <c:v>39602</c:v>
                </c:pt>
                <c:pt idx="1899">
                  <c:v>39603</c:v>
                </c:pt>
                <c:pt idx="1900">
                  <c:v>39604</c:v>
                </c:pt>
                <c:pt idx="1901">
                  <c:v>39605</c:v>
                </c:pt>
                <c:pt idx="1902">
                  <c:v>39608</c:v>
                </c:pt>
                <c:pt idx="1903">
                  <c:v>39609</c:v>
                </c:pt>
                <c:pt idx="1904">
                  <c:v>39610</c:v>
                </c:pt>
                <c:pt idx="1905">
                  <c:v>39611</c:v>
                </c:pt>
                <c:pt idx="1906">
                  <c:v>39612</c:v>
                </c:pt>
                <c:pt idx="1907">
                  <c:v>39615</c:v>
                </c:pt>
                <c:pt idx="1908">
                  <c:v>39616</c:v>
                </c:pt>
                <c:pt idx="1909">
                  <c:v>39617</c:v>
                </c:pt>
                <c:pt idx="1910">
                  <c:v>39618</c:v>
                </c:pt>
                <c:pt idx="1911">
                  <c:v>39619</c:v>
                </c:pt>
                <c:pt idx="1912">
                  <c:v>39622</c:v>
                </c:pt>
                <c:pt idx="1913">
                  <c:v>39623</c:v>
                </c:pt>
                <c:pt idx="1914">
                  <c:v>39624</c:v>
                </c:pt>
                <c:pt idx="1915">
                  <c:v>39625</c:v>
                </c:pt>
                <c:pt idx="1916">
                  <c:v>39626</c:v>
                </c:pt>
                <c:pt idx="1917">
                  <c:v>39629</c:v>
                </c:pt>
                <c:pt idx="1918">
                  <c:v>39630</c:v>
                </c:pt>
                <c:pt idx="1919">
                  <c:v>39631</c:v>
                </c:pt>
                <c:pt idx="1920">
                  <c:v>39632</c:v>
                </c:pt>
                <c:pt idx="1921">
                  <c:v>39633</c:v>
                </c:pt>
                <c:pt idx="1922">
                  <c:v>39636</c:v>
                </c:pt>
                <c:pt idx="1923">
                  <c:v>39637</c:v>
                </c:pt>
                <c:pt idx="1924">
                  <c:v>39638</c:v>
                </c:pt>
                <c:pt idx="1925">
                  <c:v>39639</c:v>
                </c:pt>
                <c:pt idx="1926">
                  <c:v>39640</c:v>
                </c:pt>
                <c:pt idx="1927">
                  <c:v>39643</c:v>
                </c:pt>
                <c:pt idx="1928">
                  <c:v>39644</c:v>
                </c:pt>
                <c:pt idx="1929">
                  <c:v>39645</c:v>
                </c:pt>
                <c:pt idx="1930">
                  <c:v>39646</c:v>
                </c:pt>
                <c:pt idx="1931">
                  <c:v>39647</c:v>
                </c:pt>
                <c:pt idx="1932">
                  <c:v>39650</c:v>
                </c:pt>
                <c:pt idx="1933">
                  <c:v>39651</c:v>
                </c:pt>
                <c:pt idx="1934">
                  <c:v>39652</c:v>
                </c:pt>
                <c:pt idx="1935">
                  <c:v>39653</c:v>
                </c:pt>
                <c:pt idx="1936">
                  <c:v>39654</c:v>
                </c:pt>
                <c:pt idx="1937">
                  <c:v>39657</c:v>
                </c:pt>
                <c:pt idx="1938">
                  <c:v>39658</c:v>
                </c:pt>
                <c:pt idx="1939">
                  <c:v>39659</c:v>
                </c:pt>
                <c:pt idx="1940">
                  <c:v>39660</c:v>
                </c:pt>
                <c:pt idx="1941">
                  <c:v>39661</c:v>
                </c:pt>
                <c:pt idx="1942">
                  <c:v>39664</c:v>
                </c:pt>
                <c:pt idx="1943">
                  <c:v>39665</c:v>
                </c:pt>
                <c:pt idx="1944">
                  <c:v>39666</c:v>
                </c:pt>
                <c:pt idx="1945">
                  <c:v>39667</c:v>
                </c:pt>
                <c:pt idx="1946">
                  <c:v>39668</c:v>
                </c:pt>
                <c:pt idx="1947">
                  <c:v>39671</c:v>
                </c:pt>
                <c:pt idx="1948">
                  <c:v>39672</c:v>
                </c:pt>
                <c:pt idx="1949">
                  <c:v>39673</c:v>
                </c:pt>
                <c:pt idx="1950">
                  <c:v>39674</c:v>
                </c:pt>
                <c:pt idx="1951">
                  <c:v>39675</c:v>
                </c:pt>
                <c:pt idx="1952">
                  <c:v>39678</c:v>
                </c:pt>
                <c:pt idx="1953">
                  <c:v>39679</c:v>
                </c:pt>
                <c:pt idx="1954">
                  <c:v>39680</c:v>
                </c:pt>
                <c:pt idx="1955">
                  <c:v>39681</c:v>
                </c:pt>
                <c:pt idx="1956">
                  <c:v>39682</c:v>
                </c:pt>
                <c:pt idx="1957">
                  <c:v>39685</c:v>
                </c:pt>
                <c:pt idx="1958">
                  <c:v>39686</c:v>
                </c:pt>
                <c:pt idx="1959">
                  <c:v>39687</c:v>
                </c:pt>
                <c:pt idx="1960">
                  <c:v>39688</c:v>
                </c:pt>
                <c:pt idx="1961">
                  <c:v>39689</c:v>
                </c:pt>
                <c:pt idx="1962">
                  <c:v>39692</c:v>
                </c:pt>
                <c:pt idx="1963">
                  <c:v>39693</c:v>
                </c:pt>
                <c:pt idx="1964">
                  <c:v>39694</c:v>
                </c:pt>
                <c:pt idx="1965">
                  <c:v>39695</c:v>
                </c:pt>
                <c:pt idx="1966">
                  <c:v>39696</c:v>
                </c:pt>
                <c:pt idx="1967">
                  <c:v>39699</c:v>
                </c:pt>
                <c:pt idx="1968">
                  <c:v>39700</c:v>
                </c:pt>
                <c:pt idx="1969">
                  <c:v>39701</c:v>
                </c:pt>
                <c:pt idx="1970">
                  <c:v>39702</c:v>
                </c:pt>
                <c:pt idx="1971">
                  <c:v>39703</c:v>
                </c:pt>
                <c:pt idx="1972">
                  <c:v>39706</c:v>
                </c:pt>
                <c:pt idx="1973">
                  <c:v>39707</c:v>
                </c:pt>
                <c:pt idx="1974">
                  <c:v>39708</c:v>
                </c:pt>
                <c:pt idx="1975">
                  <c:v>39709</c:v>
                </c:pt>
                <c:pt idx="1976">
                  <c:v>39710</c:v>
                </c:pt>
                <c:pt idx="1977">
                  <c:v>39713</c:v>
                </c:pt>
                <c:pt idx="1978">
                  <c:v>39714</c:v>
                </c:pt>
                <c:pt idx="1979">
                  <c:v>39715</c:v>
                </c:pt>
                <c:pt idx="1980">
                  <c:v>39716</c:v>
                </c:pt>
                <c:pt idx="1981">
                  <c:v>39717</c:v>
                </c:pt>
                <c:pt idx="1982">
                  <c:v>39720</c:v>
                </c:pt>
                <c:pt idx="1983">
                  <c:v>39721</c:v>
                </c:pt>
                <c:pt idx="1984">
                  <c:v>39722</c:v>
                </c:pt>
                <c:pt idx="1985">
                  <c:v>39723</c:v>
                </c:pt>
                <c:pt idx="1986">
                  <c:v>39724</c:v>
                </c:pt>
                <c:pt idx="1987">
                  <c:v>39727</c:v>
                </c:pt>
                <c:pt idx="1988">
                  <c:v>39728</c:v>
                </c:pt>
                <c:pt idx="1989">
                  <c:v>39729</c:v>
                </c:pt>
                <c:pt idx="1990">
                  <c:v>39730</c:v>
                </c:pt>
                <c:pt idx="1991">
                  <c:v>39731</c:v>
                </c:pt>
                <c:pt idx="1992">
                  <c:v>39734</c:v>
                </c:pt>
                <c:pt idx="1993">
                  <c:v>39735</c:v>
                </c:pt>
                <c:pt idx="1994">
                  <c:v>39736</c:v>
                </c:pt>
                <c:pt idx="1995">
                  <c:v>39737</c:v>
                </c:pt>
                <c:pt idx="1996">
                  <c:v>39738</c:v>
                </c:pt>
                <c:pt idx="1997">
                  <c:v>39741</c:v>
                </c:pt>
                <c:pt idx="1998">
                  <c:v>39742</c:v>
                </c:pt>
                <c:pt idx="1999">
                  <c:v>39743</c:v>
                </c:pt>
                <c:pt idx="2000">
                  <c:v>39744</c:v>
                </c:pt>
                <c:pt idx="2001">
                  <c:v>39745</c:v>
                </c:pt>
                <c:pt idx="2002">
                  <c:v>39748</c:v>
                </c:pt>
                <c:pt idx="2003">
                  <c:v>39749</c:v>
                </c:pt>
                <c:pt idx="2004">
                  <c:v>39750</c:v>
                </c:pt>
                <c:pt idx="2005">
                  <c:v>39751</c:v>
                </c:pt>
                <c:pt idx="2006">
                  <c:v>39752</c:v>
                </c:pt>
                <c:pt idx="2007">
                  <c:v>39755</c:v>
                </c:pt>
                <c:pt idx="2008">
                  <c:v>39756</c:v>
                </c:pt>
                <c:pt idx="2009">
                  <c:v>39757</c:v>
                </c:pt>
                <c:pt idx="2010">
                  <c:v>39758</c:v>
                </c:pt>
                <c:pt idx="2011">
                  <c:v>39759</c:v>
                </c:pt>
                <c:pt idx="2012">
                  <c:v>39762</c:v>
                </c:pt>
                <c:pt idx="2013">
                  <c:v>39763</c:v>
                </c:pt>
                <c:pt idx="2014">
                  <c:v>39764</c:v>
                </c:pt>
                <c:pt idx="2015">
                  <c:v>39765</c:v>
                </c:pt>
                <c:pt idx="2016">
                  <c:v>39766</c:v>
                </c:pt>
                <c:pt idx="2017">
                  <c:v>39769</c:v>
                </c:pt>
                <c:pt idx="2018">
                  <c:v>39770</c:v>
                </c:pt>
                <c:pt idx="2019">
                  <c:v>39771</c:v>
                </c:pt>
                <c:pt idx="2020">
                  <c:v>39772</c:v>
                </c:pt>
                <c:pt idx="2021">
                  <c:v>39773</c:v>
                </c:pt>
                <c:pt idx="2022">
                  <c:v>39776</c:v>
                </c:pt>
                <c:pt idx="2023">
                  <c:v>39777</c:v>
                </c:pt>
                <c:pt idx="2024">
                  <c:v>39778</c:v>
                </c:pt>
                <c:pt idx="2025">
                  <c:v>39779</c:v>
                </c:pt>
                <c:pt idx="2026">
                  <c:v>39780</c:v>
                </c:pt>
                <c:pt idx="2027">
                  <c:v>39783</c:v>
                </c:pt>
                <c:pt idx="2028">
                  <c:v>39784</c:v>
                </c:pt>
                <c:pt idx="2029">
                  <c:v>39785</c:v>
                </c:pt>
                <c:pt idx="2030">
                  <c:v>39786</c:v>
                </c:pt>
                <c:pt idx="2031">
                  <c:v>39787</c:v>
                </c:pt>
                <c:pt idx="2032">
                  <c:v>39790</c:v>
                </c:pt>
                <c:pt idx="2033">
                  <c:v>39791</c:v>
                </c:pt>
                <c:pt idx="2034">
                  <c:v>39792</c:v>
                </c:pt>
                <c:pt idx="2035">
                  <c:v>39793</c:v>
                </c:pt>
                <c:pt idx="2036">
                  <c:v>39794</c:v>
                </c:pt>
                <c:pt idx="2037">
                  <c:v>39797</c:v>
                </c:pt>
                <c:pt idx="2038">
                  <c:v>39798</c:v>
                </c:pt>
                <c:pt idx="2039">
                  <c:v>39799</c:v>
                </c:pt>
                <c:pt idx="2040">
                  <c:v>39800</c:v>
                </c:pt>
                <c:pt idx="2041">
                  <c:v>39801</c:v>
                </c:pt>
                <c:pt idx="2042">
                  <c:v>39804</c:v>
                </c:pt>
                <c:pt idx="2043">
                  <c:v>39805</c:v>
                </c:pt>
                <c:pt idx="2044">
                  <c:v>39806</c:v>
                </c:pt>
                <c:pt idx="2045">
                  <c:v>39811</c:v>
                </c:pt>
                <c:pt idx="2046">
                  <c:v>39812</c:v>
                </c:pt>
                <c:pt idx="2047">
                  <c:v>39813</c:v>
                </c:pt>
                <c:pt idx="2048">
                  <c:v>39815</c:v>
                </c:pt>
                <c:pt idx="2049">
                  <c:v>39818</c:v>
                </c:pt>
                <c:pt idx="2050">
                  <c:v>39819</c:v>
                </c:pt>
                <c:pt idx="2051">
                  <c:v>39820</c:v>
                </c:pt>
                <c:pt idx="2052">
                  <c:v>39821</c:v>
                </c:pt>
                <c:pt idx="2053">
                  <c:v>39822</c:v>
                </c:pt>
                <c:pt idx="2054">
                  <c:v>39825</c:v>
                </c:pt>
                <c:pt idx="2055">
                  <c:v>39826</c:v>
                </c:pt>
                <c:pt idx="2056">
                  <c:v>39827</c:v>
                </c:pt>
                <c:pt idx="2057">
                  <c:v>39828</c:v>
                </c:pt>
                <c:pt idx="2058">
                  <c:v>39829</c:v>
                </c:pt>
                <c:pt idx="2059">
                  <c:v>39832</c:v>
                </c:pt>
                <c:pt idx="2060">
                  <c:v>39833</c:v>
                </c:pt>
                <c:pt idx="2061">
                  <c:v>39834</c:v>
                </c:pt>
                <c:pt idx="2062">
                  <c:v>39835</c:v>
                </c:pt>
                <c:pt idx="2063">
                  <c:v>39836</c:v>
                </c:pt>
                <c:pt idx="2064">
                  <c:v>39839</c:v>
                </c:pt>
                <c:pt idx="2065">
                  <c:v>39840</c:v>
                </c:pt>
                <c:pt idx="2066">
                  <c:v>39841</c:v>
                </c:pt>
                <c:pt idx="2067">
                  <c:v>39842</c:v>
                </c:pt>
                <c:pt idx="2068">
                  <c:v>39843</c:v>
                </c:pt>
                <c:pt idx="2069">
                  <c:v>39846</c:v>
                </c:pt>
                <c:pt idx="2070">
                  <c:v>39847</c:v>
                </c:pt>
                <c:pt idx="2071">
                  <c:v>39848</c:v>
                </c:pt>
                <c:pt idx="2072">
                  <c:v>39849</c:v>
                </c:pt>
                <c:pt idx="2073">
                  <c:v>39850</c:v>
                </c:pt>
                <c:pt idx="2074">
                  <c:v>39853</c:v>
                </c:pt>
                <c:pt idx="2075">
                  <c:v>39854</c:v>
                </c:pt>
                <c:pt idx="2076">
                  <c:v>39855</c:v>
                </c:pt>
                <c:pt idx="2077">
                  <c:v>39856</c:v>
                </c:pt>
                <c:pt idx="2078">
                  <c:v>39857</c:v>
                </c:pt>
                <c:pt idx="2079">
                  <c:v>39860</c:v>
                </c:pt>
                <c:pt idx="2080">
                  <c:v>39861</c:v>
                </c:pt>
                <c:pt idx="2081">
                  <c:v>39862</c:v>
                </c:pt>
                <c:pt idx="2082">
                  <c:v>39863</c:v>
                </c:pt>
                <c:pt idx="2083">
                  <c:v>39864</c:v>
                </c:pt>
                <c:pt idx="2084">
                  <c:v>39867</c:v>
                </c:pt>
                <c:pt idx="2085">
                  <c:v>39868</c:v>
                </c:pt>
                <c:pt idx="2086">
                  <c:v>39869</c:v>
                </c:pt>
                <c:pt idx="2087">
                  <c:v>39870</c:v>
                </c:pt>
                <c:pt idx="2088">
                  <c:v>39871</c:v>
                </c:pt>
                <c:pt idx="2089">
                  <c:v>39874</c:v>
                </c:pt>
                <c:pt idx="2090">
                  <c:v>39875</c:v>
                </c:pt>
                <c:pt idx="2091">
                  <c:v>39876</c:v>
                </c:pt>
                <c:pt idx="2092">
                  <c:v>39877</c:v>
                </c:pt>
                <c:pt idx="2093">
                  <c:v>39878</c:v>
                </c:pt>
                <c:pt idx="2094">
                  <c:v>39881</c:v>
                </c:pt>
                <c:pt idx="2095">
                  <c:v>39882</c:v>
                </c:pt>
                <c:pt idx="2096">
                  <c:v>39883</c:v>
                </c:pt>
                <c:pt idx="2097">
                  <c:v>39884</c:v>
                </c:pt>
                <c:pt idx="2098">
                  <c:v>39885</c:v>
                </c:pt>
                <c:pt idx="2099">
                  <c:v>39888</c:v>
                </c:pt>
                <c:pt idx="2100">
                  <c:v>39889</c:v>
                </c:pt>
                <c:pt idx="2101">
                  <c:v>39890</c:v>
                </c:pt>
                <c:pt idx="2102">
                  <c:v>39891</c:v>
                </c:pt>
                <c:pt idx="2103">
                  <c:v>39892</c:v>
                </c:pt>
                <c:pt idx="2104">
                  <c:v>39895</c:v>
                </c:pt>
                <c:pt idx="2105">
                  <c:v>39896</c:v>
                </c:pt>
                <c:pt idx="2106">
                  <c:v>39897</c:v>
                </c:pt>
                <c:pt idx="2107">
                  <c:v>39898</c:v>
                </c:pt>
                <c:pt idx="2108">
                  <c:v>39899</c:v>
                </c:pt>
                <c:pt idx="2109">
                  <c:v>39902</c:v>
                </c:pt>
                <c:pt idx="2110">
                  <c:v>39903</c:v>
                </c:pt>
                <c:pt idx="2111">
                  <c:v>39904</c:v>
                </c:pt>
                <c:pt idx="2112">
                  <c:v>39905</c:v>
                </c:pt>
                <c:pt idx="2113">
                  <c:v>39906</c:v>
                </c:pt>
                <c:pt idx="2114">
                  <c:v>39909</c:v>
                </c:pt>
                <c:pt idx="2115">
                  <c:v>39910</c:v>
                </c:pt>
                <c:pt idx="2116">
                  <c:v>39911</c:v>
                </c:pt>
                <c:pt idx="2117">
                  <c:v>39912</c:v>
                </c:pt>
                <c:pt idx="2118">
                  <c:v>39917</c:v>
                </c:pt>
                <c:pt idx="2119">
                  <c:v>39918</c:v>
                </c:pt>
                <c:pt idx="2120">
                  <c:v>39919</c:v>
                </c:pt>
                <c:pt idx="2121">
                  <c:v>39920</c:v>
                </c:pt>
                <c:pt idx="2122">
                  <c:v>39923</c:v>
                </c:pt>
                <c:pt idx="2123">
                  <c:v>39924</c:v>
                </c:pt>
                <c:pt idx="2124">
                  <c:v>39925</c:v>
                </c:pt>
                <c:pt idx="2125">
                  <c:v>39926</c:v>
                </c:pt>
                <c:pt idx="2126">
                  <c:v>39927</c:v>
                </c:pt>
                <c:pt idx="2127">
                  <c:v>39930</c:v>
                </c:pt>
                <c:pt idx="2128">
                  <c:v>39931</c:v>
                </c:pt>
                <c:pt idx="2129">
                  <c:v>39932</c:v>
                </c:pt>
                <c:pt idx="2130">
                  <c:v>39933</c:v>
                </c:pt>
                <c:pt idx="2131">
                  <c:v>39934</c:v>
                </c:pt>
                <c:pt idx="2132">
                  <c:v>39937</c:v>
                </c:pt>
                <c:pt idx="2133">
                  <c:v>39938</c:v>
                </c:pt>
                <c:pt idx="2134">
                  <c:v>39939</c:v>
                </c:pt>
                <c:pt idx="2135">
                  <c:v>39940</c:v>
                </c:pt>
                <c:pt idx="2136">
                  <c:v>39941</c:v>
                </c:pt>
                <c:pt idx="2137">
                  <c:v>39944</c:v>
                </c:pt>
                <c:pt idx="2138">
                  <c:v>39945</c:v>
                </c:pt>
                <c:pt idx="2139">
                  <c:v>39946</c:v>
                </c:pt>
                <c:pt idx="2140">
                  <c:v>39947</c:v>
                </c:pt>
                <c:pt idx="2141">
                  <c:v>39948</c:v>
                </c:pt>
                <c:pt idx="2142">
                  <c:v>39951</c:v>
                </c:pt>
                <c:pt idx="2143">
                  <c:v>39952</c:v>
                </c:pt>
                <c:pt idx="2144">
                  <c:v>39953</c:v>
                </c:pt>
                <c:pt idx="2145">
                  <c:v>39954</c:v>
                </c:pt>
                <c:pt idx="2146">
                  <c:v>39955</c:v>
                </c:pt>
                <c:pt idx="2147">
                  <c:v>39958</c:v>
                </c:pt>
                <c:pt idx="2148">
                  <c:v>39959</c:v>
                </c:pt>
                <c:pt idx="2149">
                  <c:v>39960</c:v>
                </c:pt>
                <c:pt idx="2150">
                  <c:v>39961</c:v>
                </c:pt>
                <c:pt idx="2151">
                  <c:v>39962</c:v>
                </c:pt>
                <c:pt idx="2152">
                  <c:v>39965</c:v>
                </c:pt>
                <c:pt idx="2153">
                  <c:v>39966</c:v>
                </c:pt>
                <c:pt idx="2154">
                  <c:v>39967</c:v>
                </c:pt>
                <c:pt idx="2155">
                  <c:v>39968</c:v>
                </c:pt>
                <c:pt idx="2156">
                  <c:v>39969</c:v>
                </c:pt>
                <c:pt idx="2157">
                  <c:v>39972</c:v>
                </c:pt>
                <c:pt idx="2158">
                  <c:v>39973</c:v>
                </c:pt>
                <c:pt idx="2159">
                  <c:v>39974</c:v>
                </c:pt>
                <c:pt idx="2160">
                  <c:v>39975</c:v>
                </c:pt>
                <c:pt idx="2161">
                  <c:v>39976</c:v>
                </c:pt>
                <c:pt idx="2162">
                  <c:v>39979</c:v>
                </c:pt>
                <c:pt idx="2163">
                  <c:v>39980</c:v>
                </c:pt>
                <c:pt idx="2164">
                  <c:v>39981</c:v>
                </c:pt>
                <c:pt idx="2165">
                  <c:v>39982</c:v>
                </c:pt>
                <c:pt idx="2166">
                  <c:v>39983</c:v>
                </c:pt>
                <c:pt idx="2167">
                  <c:v>39986</c:v>
                </c:pt>
                <c:pt idx="2168">
                  <c:v>39987</c:v>
                </c:pt>
                <c:pt idx="2169">
                  <c:v>39988</c:v>
                </c:pt>
                <c:pt idx="2170">
                  <c:v>39989</c:v>
                </c:pt>
                <c:pt idx="2171">
                  <c:v>39990</c:v>
                </c:pt>
                <c:pt idx="2172">
                  <c:v>39993</c:v>
                </c:pt>
                <c:pt idx="2173">
                  <c:v>39994</c:v>
                </c:pt>
                <c:pt idx="2174">
                  <c:v>39995</c:v>
                </c:pt>
                <c:pt idx="2175">
                  <c:v>39996</c:v>
                </c:pt>
                <c:pt idx="2176">
                  <c:v>39997</c:v>
                </c:pt>
                <c:pt idx="2177">
                  <c:v>40000</c:v>
                </c:pt>
                <c:pt idx="2178">
                  <c:v>40001</c:v>
                </c:pt>
                <c:pt idx="2179">
                  <c:v>40002</c:v>
                </c:pt>
                <c:pt idx="2180">
                  <c:v>40003</c:v>
                </c:pt>
                <c:pt idx="2181">
                  <c:v>40004</c:v>
                </c:pt>
                <c:pt idx="2182">
                  <c:v>40007</c:v>
                </c:pt>
                <c:pt idx="2183">
                  <c:v>40008</c:v>
                </c:pt>
                <c:pt idx="2184">
                  <c:v>40009</c:v>
                </c:pt>
                <c:pt idx="2185">
                  <c:v>40010</c:v>
                </c:pt>
                <c:pt idx="2186">
                  <c:v>40011</c:v>
                </c:pt>
                <c:pt idx="2187">
                  <c:v>40014</c:v>
                </c:pt>
                <c:pt idx="2188">
                  <c:v>40015</c:v>
                </c:pt>
                <c:pt idx="2189">
                  <c:v>40016</c:v>
                </c:pt>
                <c:pt idx="2190">
                  <c:v>40017</c:v>
                </c:pt>
                <c:pt idx="2191">
                  <c:v>40018</c:v>
                </c:pt>
                <c:pt idx="2192">
                  <c:v>40021</c:v>
                </c:pt>
                <c:pt idx="2193">
                  <c:v>40022</c:v>
                </c:pt>
                <c:pt idx="2194">
                  <c:v>40023</c:v>
                </c:pt>
                <c:pt idx="2195">
                  <c:v>40024</c:v>
                </c:pt>
                <c:pt idx="2196">
                  <c:v>40025</c:v>
                </c:pt>
                <c:pt idx="2197">
                  <c:v>40028</c:v>
                </c:pt>
                <c:pt idx="2198">
                  <c:v>40029</c:v>
                </c:pt>
                <c:pt idx="2199">
                  <c:v>40030</c:v>
                </c:pt>
                <c:pt idx="2200">
                  <c:v>40031</c:v>
                </c:pt>
                <c:pt idx="2201">
                  <c:v>40032</c:v>
                </c:pt>
                <c:pt idx="2202">
                  <c:v>40035</c:v>
                </c:pt>
                <c:pt idx="2203">
                  <c:v>40036</c:v>
                </c:pt>
                <c:pt idx="2204">
                  <c:v>40037</c:v>
                </c:pt>
                <c:pt idx="2205">
                  <c:v>40038</c:v>
                </c:pt>
                <c:pt idx="2206">
                  <c:v>40039</c:v>
                </c:pt>
                <c:pt idx="2207">
                  <c:v>40042</c:v>
                </c:pt>
                <c:pt idx="2208">
                  <c:v>40043</c:v>
                </c:pt>
                <c:pt idx="2209">
                  <c:v>40044</c:v>
                </c:pt>
                <c:pt idx="2210">
                  <c:v>40045</c:v>
                </c:pt>
                <c:pt idx="2211">
                  <c:v>40046</c:v>
                </c:pt>
                <c:pt idx="2212">
                  <c:v>40049</c:v>
                </c:pt>
                <c:pt idx="2213">
                  <c:v>40050</c:v>
                </c:pt>
                <c:pt idx="2214">
                  <c:v>40051</c:v>
                </c:pt>
                <c:pt idx="2215">
                  <c:v>40052</c:v>
                </c:pt>
                <c:pt idx="2216">
                  <c:v>40053</c:v>
                </c:pt>
                <c:pt idx="2217">
                  <c:v>40056</c:v>
                </c:pt>
                <c:pt idx="2218">
                  <c:v>40057</c:v>
                </c:pt>
                <c:pt idx="2219">
                  <c:v>40058</c:v>
                </c:pt>
                <c:pt idx="2220">
                  <c:v>40059</c:v>
                </c:pt>
                <c:pt idx="2221">
                  <c:v>40060</c:v>
                </c:pt>
                <c:pt idx="2222">
                  <c:v>40063</c:v>
                </c:pt>
                <c:pt idx="2223">
                  <c:v>40064</c:v>
                </c:pt>
                <c:pt idx="2224">
                  <c:v>40065</c:v>
                </c:pt>
                <c:pt idx="2225">
                  <c:v>40066</c:v>
                </c:pt>
                <c:pt idx="2226">
                  <c:v>40067</c:v>
                </c:pt>
                <c:pt idx="2227">
                  <c:v>40070</c:v>
                </c:pt>
                <c:pt idx="2228">
                  <c:v>40071</c:v>
                </c:pt>
                <c:pt idx="2229">
                  <c:v>40072</c:v>
                </c:pt>
                <c:pt idx="2230">
                  <c:v>40073</c:v>
                </c:pt>
                <c:pt idx="2231">
                  <c:v>40074</c:v>
                </c:pt>
                <c:pt idx="2232">
                  <c:v>40077</c:v>
                </c:pt>
                <c:pt idx="2233">
                  <c:v>40078</c:v>
                </c:pt>
                <c:pt idx="2234">
                  <c:v>40079</c:v>
                </c:pt>
                <c:pt idx="2235">
                  <c:v>40080</c:v>
                </c:pt>
                <c:pt idx="2236">
                  <c:v>40081</c:v>
                </c:pt>
                <c:pt idx="2237">
                  <c:v>40084</c:v>
                </c:pt>
                <c:pt idx="2238">
                  <c:v>40085</c:v>
                </c:pt>
                <c:pt idx="2239">
                  <c:v>40086</c:v>
                </c:pt>
                <c:pt idx="2240">
                  <c:v>40087</c:v>
                </c:pt>
                <c:pt idx="2241">
                  <c:v>40088</c:v>
                </c:pt>
                <c:pt idx="2242">
                  <c:v>40091</c:v>
                </c:pt>
                <c:pt idx="2243">
                  <c:v>40092</c:v>
                </c:pt>
                <c:pt idx="2244">
                  <c:v>40093</c:v>
                </c:pt>
                <c:pt idx="2245">
                  <c:v>40094</c:v>
                </c:pt>
                <c:pt idx="2246">
                  <c:v>40095</c:v>
                </c:pt>
                <c:pt idx="2247">
                  <c:v>40098</c:v>
                </c:pt>
                <c:pt idx="2248">
                  <c:v>40099</c:v>
                </c:pt>
                <c:pt idx="2249">
                  <c:v>40100</c:v>
                </c:pt>
                <c:pt idx="2250">
                  <c:v>40101</c:v>
                </c:pt>
                <c:pt idx="2251">
                  <c:v>40102</c:v>
                </c:pt>
                <c:pt idx="2252">
                  <c:v>40105</c:v>
                </c:pt>
                <c:pt idx="2253">
                  <c:v>40106</c:v>
                </c:pt>
                <c:pt idx="2254">
                  <c:v>40107</c:v>
                </c:pt>
                <c:pt idx="2255">
                  <c:v>40108</c:v>
                </c:pt>
                <c:pt idx="2256">
                  <c:v>40109</c:v>
                </c:pt>
                <c:pt idx="2257">
                  <c:v>40112</c:v>
                </c:pt>
                <c:pt idx="2258">
                  <c:v>40113</c:v>
                </c:pt>
                <c:pt idx="2259">
                  <c:v>40114</c:v>
                </c:pt>
                <c:pt idx="2260">
                  <c:v>40115</c:v>
                </c:pt>
                <c:pt idx="2261">
                  <c:v>40116</c:v>
                </c:pt>
                <c:pt idx="2262">
                  <c:v>40119</c:v>
                </c:pt>
                <c:pt idx="2263">
                  <c:v>40120</c:v>
                </c:pt>
                <c:pt idx="2264">
                  <c:v>40121</c:v>
                </c:pt>
                <c:pt idx="2265">
                  <c:v>40122</c:v>
                </c:pt>
                <c:pt idx="2266">
                  <c:v>40123</c:v>
                </c:pt>
                <c:pt idx="2267">
                  <c:v>40126</c:v>
                </c:pt>
                <c:pt idx="2268">
                  <c:v>40127</c:v>
                </c:pt>
                <c:pt idx="2269">
                  <c:v>40128</c:v>
                </c:pt>
                <c:pt idx="2270">
                  <c:v>40129</c:v>
                </c:pt>
                <c:pt idx="2271">
                  <c:v>40130</c:v>
                </c:pt>
                <c:pt idx="2272">
                  <c:v>40133</c:v>
                </c:pt>
                <c:pt idx="2273">
                  <c:v>40134</c:v>
                </c:pt>
                <c:pt idx="2274">
                  <c:v>40135</c:v>
                </c:pt>
                <c:pt idx="2275">
                  <c:v>40136</c:v>
                </c:pt>
                <c:pt idx="2276">
                  <c:v>40137</c:v>
                </c:pt>
                <c:pt idx="2277">
                  <c:v>40140</c:v>
                </c:pt>
                <c:pt idx="2278">
                  <c:v>40141</c:v>
                </c:pt>
                <c:pt idx="2279">
                  <c:v>40142</c:v>
                </c:pt>
                <c:pt idx="2280">
                  <c:v>40143</c:v>
                </c:pt>
                <c:pt idx="2281">
                  <c:v>40144</c:v>
                </c:pt>
                <c:pt idx="2282">
                  <c:v>40147</c:v>
                </c:pt>
                <c:pt idx="2283">
                  <c:v>40148</c:v>
                </c:pt>
                <c:pt idx="2284">
                  <c:v>40149</c:v>
                </c:pt>
                <c:pt idx="2285">
                  <c:v>40150</c:v>
                </c:pt>
                <c:pt idx="2286">
                  <c:v>40151</c:v>
                </c:pt>
                <c:pt idx="2287">
                  <c:v>40154</c:v>
                </c:pt>
                <c:pt idx="2288">
                  <c:v>40155</c:v>
                </c:pt>
                <c:pt idx="2289">
                  <c:v>40156</c:v>
                </c:pt>
                <c:pt idx="2290">
                  <c:v>40157</c:v>
                </c:pt>
                <c:pt idx="2291">
                  <c:v>40158</c:v>
                </c:pt>
                <c:pt idx="2292">
                  <c:v>40161</c:v>
                </c:pt>
                <c:pt idx="2293">
                  <c:v>40162</c:v>
                </c:pt>
                <c:pt idx="2294">
                  <c:v>40163</c:v>
                </c:pt>
                <c:pt idx="2295">
                  <c:v>40164</c:v>
                </c:pt>
                <c:pt idx="2296">
                  <c:v>40165</c:v>
                </c:pt>
                <c:pt idx="2297">
                  <c:v>40168</c:v>
                </c:pt>
                <c:pt idx="2298">
                  <c:v>40169</c:v>
                </c:pt>
                <c:pt idx="2299">
                  <c:v>40170</c:v>
                </c:pt>
                <c:pt idx="2300">
                  <c:v>40171</c:v>
                </c:pt>
                <c:pt idx="2301">
                  <c:v>40175</c:v>
                </c:pt>
                <c:pt idx="2302">
                  <c:v>40176</c:v>
                </c:pt>
                <c:pt idx="2303">
                  <c:v>40177</c:v>
                </c:pt>
                <c:pt idx="2304">
                  <c:v>40178</c:v>
                </c:pt>
                <c:pt idx="2305">
                  <c:v>40182</c:v>
                </c:pt>
                <c:pt idx="2306">
                  <c:v>40183</c:v>
                </c:pt>
                <c:pt idx="2307">
                  <c:v>40184</c:v>
                </c:pt>
                <c:pt idx="2308">
                  <c:v>40185</c:v>
                </c:pt>
                <c:pt idx="2309">
                  <c:v>40186</c:v>
                </c:pt>
                <c:pt idx="2310">
                  <c:v>40189</c:v>
                </c:pt>
                <c:pt idx="2311">
                  <c:v>40190</c:v>
                </c:pt>
                <c:pt idx="2312">
                  <c:v>40191</c:v>
                </c:pt>
                <c:pt idx="2313">
                  <c:v>40192</c:v>
                </c:pt>
                <c:pt idx="2314">
                  <c:v>40193</c:v>
                </c:pt>
                <c:pt idx="2315">
                  <c:v>40196</c:v>
                </c:pt>
                <c:pt idx="2316">
                  <c:v>40197</c:v>
                </c:pt>
                <c:pt idx="2317">
                  <c:v>40198</c:v>
                </c:pt>
                <c:pt idx="2318">
                  <c:v>40199</c:v>
                </c:pt>
                <c:pt idx="2319">
                  <c:v>40200</c:v>
                </c:pt>
                <c:pt idx="2320">
                  <c:v>40203</c:v>
                </c:pt>
                <c:pt idx="2321">
                  <c:v>40204</c:v>
                </c:pt>
                <c:pt idx="2322">
                  <c:v>40205</c:v>
                </c:pt>
                <c:pt idx="2323">
                  <c:v>40206</c:v>
                </c:pt>
                <c:pt idx="2324">
                  <c:v>40207</c:v>
                </c:pt>
                <c:pt idx="2325">
                  <c:v>40210</c:v>
                </c:pt>
                <c:pt idx="2326">
                  <c:v>40211</c:v>
                </c:pt>
                <c:pt idx="2327">
                  <c:v>40212</c:v>
                </c:pt>
                <c:pt idx="2328">
                  <c:v>40213</c:v>
                </c:pt>
                <c:pt idx="2329">
                  <c:v>40214</c:v>
                </c:pt>
                <c:pt idx="2330">
                  <c:v>40217</c:v>
                </c:pt>
                <c:pt idx="2331">
                  <c:v>40218</c:v>
                </c:pt>
                <c:pt idx="2332">
                  <c:v>40219</c:v>
                </c:pt>
                <c:pt idx="2333">
                  <c:v>40220</c:v>
                </c:pt>
                <c:pt idx="2334">
                  <c:v>40221</c:v>
                </c:pt>
                <c:pt idx="2335">
                  <c:v>40224</c:v>
                </c:pt>
                <c:pt idx="2336">
                  <c:v>40225</c:v>
                </c:pt>
                <c:pt idx="2337">
                  <c:v>40226</c:v>
                </c:pt>
                <c:pt idx="2338">
                  <c:v>40227</c:v>
                </c:pt>
                <c:pt idx="2339">
                  <c:v>40228</c:v>
                </c:pt>
                <c:pt idx="2340">
                  <c:v>40231</c:v>
                </c:pt>
                <c:pt idx="2341">
                  <c:v>40232</c:v>
                </c:pt>
                <c:pt idx="2342">
                  <c:v>40233</c:v>
                </c:pt>
                <c:pt idx="2343">
                  <c:v>40234</c:v>
                </c:pt>
                <c:pt idx="2344">
                  <c:v>40235</c:v>
                </c:pt>
                <c:pt idx="2345">
                  <c:v>40238</c:v>
                </c:pt>
                <c:pt idx="2346">
                  <c:v>40239</c:v>
                </c:pt>
                <c:pt idx="2347">
                  <c:v>40240</c:v>
                </c:pt>
                <c:pt idx="2348">
                  <c:v>40241</c:v>
                </c:pt>
                <c:pt idx="2349">
                  <c:v>40242</c:v>
                </c:pt>
                <c:pt idx="2350">
                  <c:v>40245</c:v>
                </c:pt>
                <c:pt idx="2351">
                  <c:v>40246</c:v>
                </c:pt>
                <c:pt idx="2352">
                  <c:v>40247</c:v>
                </c:pt>
                <c:pt idx="2353">
                  <c:v>40248</c:v>
                </c:pt>
                <c:pt idx="2354">
                  <c:v>40249</c:v>
                </c:pt>
                <c:pt idx="2355">
                  <c:v>40252</c:v>
                </c:pt>
                <c:pt idx="2356">
                  <c:v>40253</c:v>
                </c:pt>
                <c:pt idx="2357">
                  <c:v>40254</c:v>
                </c:pt>
                <c:pt idx="2358">
                  <c:v>40255</c:v>
                </c:pt>
                <c:pt idx="2359">
                  <c:v>40256</c:v>
                </c:pt>
                <c:pt idx="2360">
                  <c:v>40259</c:v>
                </c:pt>
                <c:pt idx="2361">
                  <c:v>40260</c:v>
                </c:pt>
                <c:pt idx="2362">
                  <c:v>40261</c:v>
                </c:pt>
                <c:pt idx="2363">
                  <c:v>40262</c:v>
                </c:pt>
                <c:pt idx="2364">
                  <c:v>40263</c:v>
                </c:pt>
                <c:pt idx="2365">
                  <c:v>40266</c:v>
                </c:pt>
                <c:pt idx="2366">
                  <c:v>40267</c:v>
                </c:pt>
                <c:pt idx="2367">
                  <c:v>40268</c:v>
                </c:pt>
                <c:pt idx="2368">
                  <c:v>40269</c:v>
                </c:pt>
                <c:pt idx="2369">
                  <c:v>40274</c:v>
                </c:pt>
                <c:pt idx="2370">
                  <c:v>40275</c:v>
                </c:pt>
                <c:pt idx="2371">
                  <c:v>40276</c:v>
                </c:pt>
                <c:pt idx="2372">
                  <c:v>40277</c:v>
                </c:pt>
                <c:pt idx="2373">
                  <c:v>40280</c:v>
                </c:pt>
                <c:pt idx="2374">
                  <c:v>40281</c:v>
                </c:pt>
                <c:pt idx="2375">
                  <c:v>40282</c:v>
                </c:pt>
                <c:pt idx="2376">
                  <c:v>40283</c:v>
                </c:pt>
                <c:pt idx="2377">
                  <c:v>40284</c:v>
                </c:pt>
                <c:pt idx="2378">
                  <c:v>40287</c:v>
                </c:pt>
                <c:pt idx="2379">
                  <c:v>40288</c:v>
                </c:pt>
                <c:pt idx="2380">
                  <c:v>40289</c:v>
                </c:pt>
                <c:pt idx="2381">
                  <c:v>40290</c:v>
                </c:pt>
                <c:pt idx="2382">
                  <c:v>40291</c:v>
                </c:pt>
                <c:pt idx="2383">
                  <c:v>40294</c:v>
                </c:pt>
                <c:pt idx="2384">
                  <c:v>40295</c:v>
                </c:pt>
                <c:pt idx="2385">
                  <c:v>40296</c:v>
                </c:pt>
                <c:pt idx="2386">
                  <c:v>40297</c:v>
                </c:pt>
                <c:pt idx="2387">
                  <c:v>40298</c:v>
                </c:pt>
                <c:pt idx="2388">
                  <c:v>40301</c:v>
                </c:pt>
                <c:pt idx="2389">
                  <c:v>40302</c:v>
                </c:pt>
                <c:pt idx="2390">
                  <c:v>40303</c:v>
                </c:pt>
                <c:pt idx="2391">
                  <c:v>40304</c:v>
                </c:pt>
                <c:pt idx="2392">
                  <c:v>40305</c:v>
                </c:pt>
                <c:pt idx="2393">
                  <c:v>40308</c:v>
                </c:pt>
                <c:pt idx="2394">
                  <c:v>40309</c:v>
                </c:pt>
                <c:pt idx="2395">
                  <c:v>40310</c:v>
                </c:pt>
                <c:pt idx="2396">
                  <c:v>40311</c:v>
                </c:pt>
                <c:pt idx="2397">
                  <c:v>40312</c:v>
                </c:pt>
                <c:pt idx="2398">
                  <c:v>40315</c:v>
                </c:pt>
                <c:pt idx="2399">
                  <c:v>40316</c:v>
                </c:pt>
                <c:pt idx="2400">
                  <c:v>40317</c:v>
                </c:pt>
                <c:pt idx="2401">
                  <c:v>40318</c:v>
                </c:pt>
                <c:pt idx="2402">
                  <c:v>40319</c:v>
                </c:pt>
                <c:pt idx="2403">
                  <c:v>40322</c:v>
                </c:pt>
                <c:pt idx="2404">
                  <c:v>40323</c:v>
                </c:pt>
                <c:pt idx="2405">
                  <c:v>40324</c:v>
                </c:pt>
                <c:pt idx="2406">
                  <c:v>40325</c:v>
                </c:pt>
                <c:pt idx="2407">
                  <c:v>40326</c:v>
                </c:pt>
                <c:pt idx="2408">
                  <c:v>40329</c:v>
                </c:pt>
                <c:pt idx="2409">
                  <c:v>40330</c:v>
                </c:pt>
                <c:pt idx="2410">
                  <c:v>40331</c:v>
                </c:pt>
                <c:pt idx="2411">
                  <c:v>40332</c:v>
                </c:pt>
                <c:pt idx="2412">
                  <c:v>40333</c:v>
                </c:pt>
                <c:pt idx="2413">
                  <c:v>40336</c:v>
                </c:pt>
                <c:pt idx="2414">
                  <c:v>40337</c:v>
                </c:pt>
                <c:pt idx="2415">
                  <c:v>40338</c:v>
                </c:pt>
                <c:pt idx="2416">
                  <c:v>40339</c:v>
                </c:pt>
                <c:pt idx="2417">
                  <c:v>40340</c:v>
                </c:pt>
                <c:pt idx="2418">
                  <c:v>40343</c:v>
                </c:pt>
                <c:pt idx="2419">
                  <c:v>40344</c:v>
                </c:pt>
                <c:pt idx="2420">
                  <c:v>40345</c:v>
                </c:pt>
                <c:pt idx="2421">
                  <c:v>40346</c:v>
                </c:pt>
                <c:pt idx="2422">
                  <c:v>40347</c:v>
                </c:pt>
                <c:pt idx="2423">
                  <c:v>40350</c:v>
                </c:pt>
                <c:pt idx="2424">
                  <c:v>40351</c:v>
                </c:pt>
                <c:pt idx="2425">
                  <c:v>40352</c:v>
                </c:pt>
                <c:pt idx="2426">
                  <c:v>40353</c:v>
                </c:pt>
                <c:pt idx="2427">
                  <c:v>40354</c:v>
                </c:pt>
                <c:pt idx="2428">
                  <c:v>40357</c:v>
                </c:pt>
                <c:pt idx="2429">
                  <c:v>40358</c:v>
                </c:pt>
                <c:pt idx="2430">
                  <c:v>40359</c:v>
                </c:pt>
                <c:pt idx="2431">
                  <c:v>40360</c:v>
                </c:pt>
                <c:pt idx="2432">
                  <c:v>40361</c:v>
                </c:pt>
                <c:pt idx="2433">
                  <c:v>40364</c:v>
                </c:pt>
                <c:pt idx="2434">
                  <c:v>40365</c:v>
                </c:pt>
                <c:pt idx="2435">
                  <c:v>40366</c:v>
                </c:pt>
                <c:pt idx="2436">
                  <c:v>40367</c:v>
                </c:pt>
                <c:pt idx="2437">
                  <c:v>40368</c:v>
                </c:pt>
                <c:pt idx="2438">
                  <c:v>40371</c:v>
                </c:pt>
                <c:pt idx="2439">
                  <c:v>40372</c:v>
                </c:pt>
                <c:pt idx="2440">
                  <c:v>40373</c:v>
                </c:pt>
                <c:pt idx="2441">
                  <c:v>40374</c:v>
                </c:pt>
                <c:pt idx="2442">
                  <c:v>40375</c:v>
                </c:pt>
                <c:pt idx="2443">
                  <c:v>40378</c:v>
                </c:pt>
                <c:pt idx="2444">
                  <c:v>40379</c:v>
                </c:pt>
                <c:pt idx="2445">
                  <c:v>40380</c:v>
                </c:pt>
                <c:pt idx="2446">
                  <c:v>40381</c:v>
                </c:pt>
                <c:pt idx="2447">
                  <c:v>40382</c:v>
                </c:pt>
                <c:pt idx="2448">
                  <c:v>40385</c:v>
                </c:pt>
                <c:pt idx="2449">
                  <c:v>40386</c:v>
                </c:pt>
                <c:pt idx="2450">
                  <c:v>40387</c:v>
                </c:pt>
                <c:pt idx="2451">
                  <c:v>40388</c:v>
                </c:pt>
                <c:pt idx="2452">
                  <c:v>40389</c:v>
                </c:pt>
                <c:pt idx="2453">
                  <c:v>40392</c:v>
                </c:pt>
                <c:pt idx="2454">
                  <c:v>40393</c:v>
                </c:pt>
                <c:pt idx="2455">
                  <c:v>40394</c:v>
                </c:pt>
                <c:pt idx="2456">
                  <c:v>40395</c:v>
                </c:pt>
                <c:pt idx="2457">
                  <c:v>40396</c:v>
                </c:pt>
                <c:pt idx="2458">
                  <c:v>40399</c:v>
                </c:pt>
                <c:pt idx="2459">
                  <c:v>40400</c:v>
                </c:pt>
                <c:pt idx="2460">
                  <c:v>40401</c:v>
                </c:pt>
                <c:pt idx="2461">
                  <c:v>40402</c:v>
                </c:pt>
                <c:pt idx="2462">
                  <c:v>40403</c:v>
                </c:pt>
                <c:pt idx="2463">
                  <c:v>40406</c:v>
                </c:pt>
                <c:pt idx="2464">
                  <c:v>40407</c:v>
                </c:pt>
                <c:pt idx="2465">
                  <c:v>40408</c:v>
                </c:pt>
                <c:pt idx="2466">
                  <c:v>40409</c:v>
                </c:pt>
                <c:pt idx="2467">
                  <c:v>40410</c:v>
                </c:pt>
                <c:pt idx="2468">
                  <c:v>40413</c:v>
                </c:pt>
                <c:pt idx="2469">
                  <c:v>40414</c:v>
                </c:pt>
                <c:pt idx="2470">
                  <c:v>40415</c:v>
                </c:pt>
                <c:pt idx="2471">
                  <c:v>40416</c:v>
                </c:pt>
                <c:pt idx="2472">
                  <c:v>40417</c:v>
                </c:pt>
                <c:pt idx="2473">
                  <c:v>40420</c:v>
                </c:pt>
                <c:pt idx="2474">
                  <c:v>40421</c:v>
                </c:pt>
                <c:pt idx="2475">
                  <c:v>40422</c:v>
                </c:pt>
                <c:pt idx="2476">
                  <c:v>40423</c:v>
                </c:pt>
                <c:pt idx="2477">
                  <c:v>40424</c:v>
                </c:pt>
                <c:pt idx="2478">
                  <c:v>40427</c:v>
                </c:pt>
                <c:pt idx="2479">
                  <c:v>40428</c:v>
                </c:pt>
                <c:pt idx="2480">
                  <c:v>40429</c:v>
                </c:pt>
                <c:pt idx="2481">
                  <c:v>40430</c:v>
                </c:pt>
                <c:pt idx="2482">
                  <c:v>40431</c:v>
                </c:pt>
                <c:pt idx="2483">
                  <c:v>40434</c:v>
                </c:pt>
                <c:pt idx="2484">
                  <c:v>40435</c:v>
                </c:pt>
                <c:pt idx="2485">
                  <c:v>40436</c:v>
                </c:pt>
                <c:pt idx="2486">
                  <c:v>40437</c:v>
                </c:pt>
                <c:pt idx="2487">
                  <c:v>40438</c:v>
                </c:pt>
                <c:pt idx="2488">
                  <c:v>40441</c:v>
                </c:pt>
                <c:pt idx="2489">
                  <c:v>40442</c:v>
                </c:pt>
                <c:pt idx="2490">
                  <c:v>40443</c:v>
                </c:pt>
                <c:pt idx="2491">
                  <c:v>40444</c:v>
                </c:pt>
                <c:pt idx="2492">
                  <c:v>40445</c:v>
                </c:pt>
                <c:pt idx="2493">
                  <c:v>40448</c:v>
                </c:pt>
                <c:pt idx="2494">
                  <c:v>40449</c:v>
                </c:pt>
                <c:pt idx="2495">
                  <c:v>40450</c:v>
                </c:pt>
                <c:pt idx="2496">
                  <c:v>40451</c:v>
                </c:pt>
                <c:pt idx="2497">
                  <c:v>40452</c:v>
                </c:pt>
                <c:pt idx="2498">
                  <c:v>40455</c:v>
                </c:pt>
                <c:pt idx="2499">
                  <c:v>40456</c:v>
                </c:pt>
                <c:pt idx="2500">
                  <c:v>40457</c:v>
                </c:pt>
                <c:pt idx="2501">
                  <c:v>40458</c:v>
                </c:pt>
                <c:pt idx="2502">
                  <c:v>40459</c:v>
                </c:pt>
                <c:pt idx="2503">
                  <c:v>40462</c:v>
                </c:pt>
                <c:pt idx="2504">
                  <c:v>40463</c:v>
                </c:pt>
                <c:pt idx="2505">
                  <c:v>40464</c:v>
                </c:pt>
                <c:pt idx="2506">
                  <c:v>40465</c:v>
                </c:pt>
                <c:pt idx="2507">
                  <c:v>40466</c:v>
                </c:pt>
                <c:pt idx="2508">
                  <c:v>40469</c:v>
                </c:pt>
                <c:pt idx="2509">
                  <c:v>40470</c:v>
                </c:pt>
                <c:pt idx="2510">
                  <c:v>40471</c:v>
                </c:pt>
                <c:pt idx="2511">
                  <c:v>40472</c:v>
                </c:pt>
                <c:pt idx="2512">
                  <c:v>40473</c:v>
                </c:pt>
                <c:pt idx="2513">
                  <c:v>40476</c:v>
                </c:pt>
                <c:pt idx="2514">
                  <c:v>40477</c:v>
                </c:pt>
                <c:pt idx="2515">
                  <c:v>40478</c:v>
                </c:pt>
                <c:pt idx="2516">
                  <c:v>40479</c:v>
                </c:pt>
                <c:pt idx="2517">
                  <c:v>40480</c:v>
                </c:pt>
                <c:pt idx="2518">
                  <c:v>40483</c:v>
                </c:pt>
                <c:pt idx="2519">
                  <c:v>40484</c:v>
                </c:pt>
                <c:pt idx="2520">
                  <c:v>40485</c:v>
                </c:pt>
                <c:pt idx="2521">
                  <c:v>40486</c:v>
                </c:pt>
                <c:pt idx="2522">
                  <c:v>40487</c:v>
                </c:pt>
                <c:pt idx="2523">
                  <c:v>40490</c:v>
                </c:pt>
                <c:pt idx="2524">
                  <c:v>40491</c:v>
                </c:pt>
                <c:pt idx="2525">
                  <c:v>40492</c:v>
                </c:pt>
                <c:pt idx="2526">
                  <c:v>40493</c:v>
                </c:pt>
                <c:pt idx="2527">
                  <c:v>40494</c:v>
                </c:pt>
                <c:pt idx="2528">
                  <c:v>40497</c:v>
                </c:pt>
                <c:pt idx="2529">
                  <c:v>40498</c:v>
                </c:pt>
                <c:pt idx="2530">
                  <c:v>40499</c:v>
                </c:pt>
                <c:pt idx="2531">
                  <c:v>40500</c:v>
                </c:pt>
                <c:pt idx="2532">
                  <c:v>40501</c:v>
                </c:pt>
                <c:pt idx="2533">
                  <c:v>40504</c:v>
                </c:pt>
                <c:pt idx="2534">
                  <c:v>40505</c:v>
                </c:pt>
                <c:pt idx="2535">
                  <c:v>40506</c:v>
                </c:pt>
                <c:pt idx="2536">
                  <c:v>40507</c:v>
                </c:pt>
                <c:pt idx="2537">
                  <c:v>40508</c:v>
                </c:pt>
                <c:pt idx="2538">
                  <c:v>40511</c:v>
                </c:pt>
                <c:pt idx="2539">
                  <c:v>40512</c:v>
                </c:pt>
                <c:pt idx="2540">
                  <c:v>40513</c:v>
                </c:pt>
                <c:pt idx="2541">
                  <c:v>40514</c:v>
                </c:pt>
                <c:pt idx="2542">
                  <c:v>40515</c:v>
                </c:pt>
                <c:pt idx="2543">
                  <c:v>40518</c:v>
                </c:pt>
                <c:pt idx="2544">
                  <c:v>40519</c:v>
                </c:pt>
                <c:pt idx="2545">
                  <c:v>40520</c:v>
                </c:pt>
                <c:pt idx="2546">
                  <c:v>40521</c:v>
                </c:pt>
                <c:pt idx="2547">
                  <c:v>40522</c:v>
                </c:pt>
                <c:pt idx="2548">
                  <c:v>40525</c:v>
                </c:pt>
                <c:pt idx="2549">
                  <c:v>40526</c:v>
                </c:pt>
                <c:pt idx="2550">
                  <c:v>40527</c:v>
                </c:pt>
                <c:pt idx="2551">
                  <c:v>40528</c:v>
                </c:pt>
                <c:pt idx="2552">
                  <c:v>40529</c:v>
                </c:pt>
                <c:pt idx="2553">
                  <c:v>40532</c:v>
                </c:pt>
                <c:pt idx="2554">
                  <c:v>40533</c:v>
                </c:pt>
                <c:pt idx="2555">
                  <c:v>40534</c:v>
                </c:pt>
                <c:pt idx="2556">
                  <c:v>40535</c:v>
                </c:pt>
                <c:pt idx="2557">
                  <c:v>40536</c:v>
                </c:pt>
                <c:pt idx="2558">
                  <c:v>40539</c:v>
                </c:pt>
                <c:pt idx="2559">
                  <c:v>40540</c:v>
                </c:pt>
                <c:pt idx="2560">
                  <c:v>40541</c:v>
                </c:pt>
                <c:pt idx="2561">
                  <c:v>40542</c:v>
                </c:pt>
                <c:pt idx="2562">
                  <c:v>40543</c:v>
                </c:pt>
                <c:pt idx="2563">
                  <c:v>40546</c:v>
                </c:pt>
                <c:pt idx="2564">
                  <c:v>40547</c:v>
                </c:pt>
                <c:pt idx="2565">
                  <c:v>40548</c:v>
                </c:pt>
                <c:pt idx="2566">
                  <c:v>40549</c:v>
                </c:pt>
                <c:pt idx="2567">
                  <c:v>40550</c:v>
                </c:pt>
                <c:pt idx="2568">
                  <c:v>40553</c:v>
                </c:pt>
                <c:pt idx="2569">
                  <c:v>40554</c:v>
                </c:pt>
                <c:pt idx="2570">
                  <c:v>40555</c:v>
                </c:pt>
                <c:pt idx="2571">
                  <c:v>40556</c:v>
                </c:pt>
                <c:pt idx="2572">
                  <c:v>40557</c:v>
                </c:pt>
                <c:pt idx="2573">
                  <c:v>40560</c:v>
                </c:pt>
                <c:pt idx="2574">
                  <c:v>40561</c:v>
                </c:pt>
                <c:pt idx="2575">
                  <c:v>40562</c:v>
                </c:pt>
                <c:pt idx="2576">
                  <c:v>40563</c:v>
                </c:pt>
                <c:pt idx="2577">
                  <c:v>40564</c:v>
                </c:pt>
                <c:pt idx="2578">
                  <c:v>40567</c:v>
                </c:pt>
                <c:pt idx="2579">
                  <c:v>40568</c:v>
                </c:pt>
                <c:pt idx="2580">
                  <c:v>40569</c:v>
                </c:pt>
                <c:pt idx="2581">
                  <c:v>40570</c:v>
                </c:pt>
                <c:pt idx="2582">
                  <c:v>40571</c:v>
                </c:pt>
                <c:pt idx="2583">
                  <c:v>40574</c:v>
                </c:pt>
                <c:pt idx="2584">
                  <c:v>40575</c:v>
                </c:pt>
                <c:pt idx="2585">
                  <c:v>40576</c:v>
                </c:pt>
                <c:pt idx="2586">
                  <c:v>40577</c:v>
                </c:pt>
                <c:pt idx="2587">
                  <c:v>40578</c:v>
                </c:pt>
                <c:pt idx="2588">
                  <c:v>40581</c:v>
                </c:pt>
                <c:pt idx="2589">
                  <c:v>40582</c:v>
                </c:pt>
                <c:pt idx="2590">
                  <c:v>40583</c:v>
                </c:pt>
                <c:pt idx="2591">
                  <c:v>40584</c:v>
                </c:pt>
                <c:pt idx="2592">
                  <c:v>40585</c:v>
                </c:pt>
                <c:pt idx="2593">
                  <c:v>40588</c:v>
                </c:pt>
                <c:pt idx="2594">
                  <c:v>40589</c:v>
                </c:pt>
                <c:pt idx="2595">
                  <c:v>40590</c:v>
                </c:pt>
                <c:pt idx="2596">
                  <c:v>40591</c:v>
                </c:pt>
                <c:pt idx="2597">
                  <c:v>40592</c:v>
                </c:pt>
                <c:pt idx="2598">
                  <c:v>40595</c:v>
                </c:pt>
                <c:pt idx="2599">
                  <c:v>40596</c:v>
                </c:pt>
                <c:pt idx="2600">
                  <c:v>40597</c:v>
                </c:pt>
                <c:pt idx="2601">
                  <c:v>40598</c:v>
                </c:pt>
                <c:pt idx="2602">
                  <c:v>40599</c:v>
                </c:pt>
                <c:pt idx="2603">
                  <c:v>40602</c:v>
                </c:pt>
                <c:pt idx="2604">
                  <c:v>40603</c:v>
                </c:pt>
                <c:pt idx="2605">
                  <c:v>40604</c:v>
                </c:pt>
                <c:pt idx="2606">
                  <c:v>40605</c:v>
                </c:pt>
                <c:pt idx="2607">
                  <c:v>40606</c:v>
                </c:pt>
                <c:pt idx="2608">
                  <c:v>40609</c:v>
                </c:pt>
                <c:pt idx="2609">
                  <c:v>40610</c:v>
                </c:pt>
                <c:pt idx="2610">
                  <c:v>40611</c:v>
                </c:pt>
                <c:pt idx="2611">
                  <c:v>40612</c:v>
                </c:pt>
                <c:pt idx="2612">
                  <c:v>40613</c:v>
                </c:pt>
                <c:pt idx="2613">
                  <c:v>40616</c:v>
                </c:pt>
                <c:pt idx="2614">
                  <c:v>40617</c:v>
                </c:pt>
                <c:pt idx="2615">
                  <c:v>40618</c:v>
                </c:pt>
                <c:pt idx="2616">
                  <c:v>40619</c:v>
                </c:pt>
                <c:pt idx="2617">
                  <c:v>40620</c:v>
                </c:pt>
                <c:pt idx="2618">
                  <c:v>40623</c:v>
                </c:pt>
                <c:pt idx="2619">
                  <c:v>40624</c:v>
                </c:pt>
                <c:pt idx="2620">
                  <c:v>40625</c:v>
                </c:pt>
                <c:pt idx="2621">
                  <c:v>40626</c:v>
                </c:pt>
                <c:pt idx="2622">
                  <c:v>40627</c:v>
                </c:pt>
                <c:pt idx="2623">
                  <c:v>40630</c:v>
                </c:pt>
                <c:pt idx="2624">
                  <c:v>40631</c:v>
                </c:pt>
                <c:pt idx="2625">
                  <c:v>40632</c:v>
                </c:pt>
                <c:pt idx="2626">
                  <c:v>40633</c:v>
                </c:pt>
                <c:pt idx="2627">
                  <c:v>40634</c:v>
                </c:pt>
                <c:pt idx="2628">
                  <c:v>40637</c:v>
                </c:pt>
                <c:pt idx="2629">
                  <c:v>40638</c:v>
                </c:pt>
                <c:pt idx="2630">
                  <c:v>40639</c:v>
                </c:pt>
                <c:pt idx="2631">
                  <c:v>40640</c:v>
                </c:pt>
                <c:pt idx="2632">
                  <c:v>40641</c:v>
                </c:pt>
                <c:pt idx="2633">
                  <c:v>40644</c:v>
                </c:pt>
                <c:pt idx="2634">
                  <c:v>40645</c:v>
                </c:pt>
                <c:pt idx="2635">
                  <c:v>40646</c:v>
                </c:pt>
                <c:pt idx="2636">
                  <c:v>40647</c:v>
                </c:pt>
                <c:pt idx="2637">
                  <c:v>40648</c:v>
                </c:pt>
                <c:pt idx="2638">
                  <c:v>40651</c:v>
                </c:pt>
                <c:pt idx="2639">
                  <c:v>40652</c:v>
                </c:pt>
                <c:pt idx="2640">
                  <c:v>40653</c:v>
                </c:pt>
                <c:pt idx="2641">
                  <c:v>40654</c:v>
                </c:pt>
                <c:pt idx="2642">
                  <c:v>40659</c:v>
                </c:pt>
                <c:pt idx="2643">
                  <c:v>40660</c:v>
                </c:pt>
                <c:pt idx="2644">
                  <c:v>40661</c:v>
                </c:pt>
                <c:pt idx="2645">
                  <c:v>40662</c:v>
                </c:pt>
                <c:pt idx="2646">
                  <c:v>40665</c:v>
                </c:pt>
                <c:pt idx="2647">
                  <c:v>40666</c:v>
                </c:pt>
                <c:pt idx="2648">
                  <c:v>40667</c:v>
                </c:pt>
                <c:pt idx="2649">
                  <c:v>40668</c:v>
                </c:pt>
                <c:pt idx="2650">
                  <c:v>40669</c:v>
                </c:pt>
                <c:pt idx="2651">
                  <c:v>40672</c:v>
                </c:pt>
                <c:pt idx="2652">
                  <c:v>40673</c:v>
                </c:pt>
                <c:pt idx="2653">
                  <c:v>40674</c:v>
                </c:pt>
                <c:pt idx="2654">
                  <c:v>40675</c:v>
                </c:pt>
                <c:pt idx="2655">
                  <c:v>40676</c:v>
                </c:pt>
                <c:pt idx="2656">
                  <c:v>40679</c:v>
                </c:pt>
                <c:pt idx="2657">
                  <c:v>40680</c:v>
                </c:pt>
                <c:pt idx="2658">
                  <c:v>40681</c:v>
                </c:pt>
                <c:pt idx="2659">
                  <c:v>40682</c:v>
                </c:pt>
                <c:pt idx="2660">
                  <c:v>40683</c:v>
                </c:pt>
                <c:pt idx="2661">
                  <c:v>40686</c:v>
                </c:pt>
                <c:pt idx="2662">
                  <c:v>40687</c:v>
                </c:pt>
                <c:pt idx="2663">
                  <c:v>40688</c:v>
                </c:pt>
                <c:pt idx="2664">
                  <c:v>40689</c:v>
                </c:pt>
                <c:pt idx="2665">
                  <c:v>40690</c:v>
                </c:pt>
                <c:pt idx="2666">
                  <c:v>40693</c:v>
                </c:pt>
                <c:pt idx="2667">
                  <c:v>40694</c:v>
                </c:pt>
                <c:pt idx="2668">
                  <c:v>40695</c:v>
                </c:pt>
                <c:pt idx="2669">
                  <c:v>40696</c:v>
                </c:pt>
                <c:pt idx="2670">
                  <c:v>40697</c:v>
                </c:pt>
                <c:pt idx="2671">
                  <c:v>40700</c:v>
                </c:pt>
                <c:pt idx="2672">
                  <c:v>40701</c:v>
                </c:pt>
                <c:pt idx="2673">
                  <c:v>40702</c:v>
                </c:pt>
                <c:pt idx="2674">
                  <c:v>40703</c:v>
                </c:pt>
                <c:pt idx="2675">
                  <c:v>40704</c:v>
                </c:pt>
                <c:pt idx="2676">
                  <c:v>40707</c:v>
                </c:pt>
                <c:pt idx="2677">
                  <c:v>40708</c:v>
                </c:pt>
                <c:pt idx="2678">
                  <c:v>40709</c:v>
                </c:pt>
                <c:pt idx="2679">
                  <c:v>40710</c:v>
                </c:pt>
                <c:pt idx="2680">
                  <c:v>40711</c:v>
                </c:pt>
                <c:pt idx="2681">
                  <c:v>40714</c:v>
                </c:pt>
                <c:pt idx="2682">
                  <c:v>40715</c:v>
                </c:pt>
                <c:pt idx="2683">
                  <c:v>40716</c:v>
                </c:pt>
                <c:pt idx="2684">
                  <c:v>40717</c:v>
                </c:pt>
                <c:pt idx="2685">
                  <c:v>40718</c:v>
                </c:pt>
                <c:pt idx="2686">
                  <c:v>40721</c:v>
                </c:pt>
                <c:pt idx="2687">
                  <c:v>40722</c:v>
                </c:pt>
                <c:pt idx="2688">
                  <c:v>40723</c:v>
                </c:pt>
                <c:pt idx="2689">
                  <c:v>40724</c:v>
                </c:pt>
                <c:pt idx="2690">
                  <c:v>40725</c:v>
                </c:pt>
                <c:pt idx="2691">
                  <c:v>40728</c:v>
                </c:pt>
                <c:pt idx="2692">
                  <c:v>40729</c:v>
                </c:pt>
                <c:pt idx="2693">
                  <c:v>40730</c:v>
                </c:pt>
                <c:pt idx="2694">
                  <c:v>40731</c:v>
                </c:pt>
                <c:pt idx="2695">
                  <c:v>40732</c:v>
                </c:pt>
                <c:pt idx="2696">
                  <c:v>40735</c:v>
                </c:pt>
                <c:pt idx="2697">
                  <c:v>40736</c:v>
                </c:pt>
                <c:pt idx="2698">
                  <c:v>40737</c:v>
                </c:pt>
                <c:pt idx="2699">
                  <c:v>40738</c:v>
                </c:pt>
                <c:pt idx="2700">
                  <c:v>40739</c:v>
                </c:pt>
                <c:pt idx="2701">
                  <c:v>40742</c:v>
                </c:pt>
                <c:pt idx="2702">
                  <c:v>40743</c:v>
                </c:pt>
                <c:pt idx="2703">
                  <c:v>40744</c:v>
                </c:pt>
                <c:pt idx="2704">
                  <c:v>40745</c:v>
                </c:pt>
                <c:pt idx="2705">
                  <c:v>40746</c:v>
                </c:pt>
                <c:pt idx="2706">
                  <c:v>40749</c:v>
                </c:pt>
                <c:pt idx="2707">
                  <c:v>40750</c:v>
                </c:pt>
                <c:pt idx="2708">
                  <c:v>40751</c:v>
                </c:pt>
                <c:pt idx="2709">
                  <c:v>40752</c:v>
                </c:pt>
                <c:pt idx="2710">
                  <c:v>40753</c:v>
                </c:pt>
                <c:pt idx="2711">
                  <c:v>40756</c:v>
                </c:pt>
                <c:pt idx="2712">
                  <c:v>40757</c:v>
                </c:pt>
                <c:pt idx="2713">
                  <c:v>40758</c:v>
                </c:pt>
                <c:pt idx="2714">
                  <c:v>40759</c:v>
                </c:pt>
                <c:pt idx="2715">
                  <c:v>40760</c:v>
                </c:pt>
                <c:pt idx="2716">
                  <c:v>40763</c:v>
                </c:pt>
                <c:pt idx="2717">
                  <c:v>40764</c:v>
                </c:pt>
                <c:pt idx="2718">
                  <c:v>40765</c:v>
                </c:pt>
                <c:pt idx="2719">
                  <c:v>40766</c:v>
                </c:pt>
                <c:pt idx="2720">
                  <c:v>40767</c:v>
                </c:pt>
                <c:pt idx="2721">
                  <c:v>40770</c:v>
                </c:pt>
                <c:pt idx="2722">
                  <c:v>40771</c:v>
                </c:pt>
                <c:pt idx="2723">
                  <c:v>40772</c:v>
                </c:pt>
                <c:pt idx="2724">
                  <c:v>40773</c:v>
                </c:pt>
                <c:pt idx="2725">
                  <c:v>40774</c:v>
                </c:pt>
                <c:pt idx="2726">
                  <c:v>40777</c:v>
                </c:pt>
                <c:pt idx="2727">
                  <c:v>40778</c:v>
                </c:pt>
                <c:pt idx="2728">
                  <c:v>40779</c:v>
                </c:pt>
                <c:pt idx="2729">
                  <c:v>40780</c:v>
                </c:pt>
                <c:pt idx="2730">
                  <c:v>40781</c:v>
                </c:pt>
                <c:pt idx="2731">
                  <c:v>40784</c:v>
                </c:pt>
                <c:pt idx="2732">
                  <c:v>40785</c:v>
                </c:pt>
                <c:pt idx="2733">
                  <c:v>40786</c:v>
                </c:pt>
                <c:pt idx="2734">
                  <c:v>40787</c:v>
                </c:pt>
                <c:pt idx="2735">
                  <c:v>40788</c:v>
                </c:pt>
                <c:pt idx="2736">
                  <c:v>40791</c:v>
                </c:pt>
                <c:pt idx="2737">
                  <c:v>40792</c:v>
                </c:pt>
                <c:pt idx="2738">
                  <c:v>40793</c:v>
                </c:pt>
                <c:pt idx="2739">
                  <c:v>40794</c:v>
                </c:pt>
                <c:pt idx="2740">
                  <c:v>40795</c:v>
                </c:pt>
                <c:pt idx="2741">
                  <c:v>40798</c:v>
                </c:pt>
                <c:pt idx="2742">
                  <c:v>40799</c:v>
                </c:pt>
                <c:pt idx="2743">
                  <c:v>40800</c:v>
                </c:pt>
                <c:pt idx="2744">
                  <c:v>40801</c:v>
                </c:pt>
                <c:pt idx="2745">
                  <c:v>40802</c:v>
                </c:pt>
                <c:pt idx="2746">
                  <c:v>40805</c:v>
                </c:pt>
                <c:pt idx="2747">
                  <c:v>40806</c:v>
                </c:pt>
                <c:pt idx="2748">
                  <c:v>40807</c:v>
                </c:pt>
                <c:pt idx="2749">
                  <c:v>40808</c:v>
                </c:pt>
                <c:pt idx="2750">
                  <c:v>40809</c:v>
                </c:pt>
                <c:pt idx="2751">
                  <c:v>40812</c:v>
                </c:pt>
                <c:pt idx="2752">
                  <c:v>40813</c:v>
                </c:pt>
                <c:pt idx="2753">
                  <c:v>40814</c:v>
                </c:pt>
                <c:pt idx="2754">
                  <c:v>40815</c:v>
                </c:pt>
                <c:pt idx="2755">
                  <c:v>40816</c:v>
                </c:pt>
                <c:pt idx="2756">
                  <c:v>40819</c:v>
                </c:pt>
                <c:pt idx="2757">
                  <c:v>40820</c:v>
                </c:pt>
                <c:pt idx="2758">
                  <c:v>40821</c:v>
                </c:pt>
                <c:pt idx="2759">
                  <c:v>40822</c:v>
                </c:pt>
                <c:pt idx="2760">
                  <c:v>40823</c:v>
                </c:pt>
                <c:pt idx="2761">
                  <c:v>40826</c:v>
                </c:pt>
                <c:pt idx="2762">
                  <c:v>40827</c:v>
                </c:pt>
                <c:pt idx="2763">
                  <c:v>40828</c:v>
                </c:pt>
                <c:pt idx="2764">
                  <c:v>40829</c:v>
                </c:pt>
                <c:pt idx="2765">
                  <c:v>40830</c:v>
                </c:pt>
                <c:pt idx="2766">
                  <c:v>40833</c:v>
                </c:pt>
                <c:pt idx="2767">
                  <c:v>40834</c:v>
                </c:pt>
                <c:pt idx="2768">
                  <c:v>40835</c:v>
                </c:pt>
                <c:pt idx="2769">
                  <c:v>40836</c:v>
                </c:pt>
                <c:pt idx="2770">
                  <c:v>40837</c:v>
                </c:pt>
                <c:pt idx="2771">
                  <c:v>40840</c:v>
                </c:pt>
                <c:pt idx="2772">
                  <c:v>40841</c:v>
                </c:pt>
                <c:pt idx="2773">
                  <c:v>40842</c:v>
                </c:pt>
                <c:pt idx="2774">
                  <c:v>40843</c:v>
                </c:pt>
                <c:pt idx="2775">
                  <c:v>40844</c:v>
                </c:pt>
                <c:pt idx="2776">
                  <c:v>40847</c:v>
                </c:pt>
                <c:pt idx="2777">
                  <c:v>40848</c:v>
                </c:pt>
                <c:pt idx="2778">
                  <c:v>40849</c:v>
                </c:pt>
                <c:pt idx="2779">
                  <c:v>40850</c:v>
                </c:pt>
                <c:pt idx="2780">
                  <c:v>40851</c:v>
                </c:pt>
                <c:pt idx="2781">
                  <c:v>40854</c:v>
                </c:pt>
                <c:pt idx="2782">
                  <c:v>40855</c:v>
                </c:pt>
                <c:pt idx="2783">
                  <c:v>40856</c:v>
                </c:pt>
                <c:pt idx="2784">
                  <c:v>40857</c:v>
                </c:pt>
                <c:pt idx="2785">
                  <c:v>40858</c:v>
                </c:pt>
                <c:pt idx="2786">
                  <c:v>40861</c:v>
                </c:pt>
                <c:pt idx="2787">
                  <c:v>40862</c:v>
                </c:pt>
                <c:pt idx="2788">
                  <c:v>40863</c:v>
                </c:pt>
                <c:pt idx="2789">
                  <c:v>40864</c:v>
                </c:pt>
                <c:pt idx="2790">
                  <c:v>40865</c:v>
                </c:pt>
                <c:pt idx="2791">
                  <c:v>40868</c:v>
                </c:pt>
                <c:pt idx="2792">
                  <c:v>40869</c:v>
                </c:pt>
                <c:pt idx="2793">
                  <c:v>40870</c:v>
                </c:pt>
                <c:pt idx="2794">
                  <c:v>40871</c:v>
                </c:pt>
                <c:pt idx="2795">
                  <c:v>40872</c:v>
                </c:pt>
                <c:pt idx="2796">
                  <c:v>40875</c:v>
                </c:pt>
                <c:pt idx="2797">
                  <c:v>40876</c:v>
                </c:pt>
                <c:pt idx="2798">
                  <c:v>40877</c:v>
                </c:pt>
                <c:pt idx="2799">
                  <c:v>40878</c:v>
                </c:pt>
                <c:pt idx="2800">
                  <c:v>40879</c:v>
                </c:pt>
                <c:pt idx="2801">
                  <c:v>40882</c:v>
                </c:pt>
                <c:pt idx="2802">
                  <c:v>40883</c:v>
                </c:pt>
                <c:pt idx="2803">
                  <c:v>40884</c:v>
                </c:pt>
                <c:pt idx="2804">
                  <c:v>40885</c:v>
                </c:pt>
                <c:pt idx="2805">
                  <c:v>40886</c:v>
                </c:pt>
                <c:pt idx="2806">
                  <c:v>40889</c:v>
                </c:pt>
                <c:pt idx="2807">
                  <c:v>40890</c:v>
                </c:pt>
                <c:pt idx="2808">
                  <c:v>40891</c:v>
                </c:pt>
                <c:pt idx="2809">
                  <c:v>40892</c:v>
                </c:pt>
                <c:pt idx="2810">
                  <c:v>40893</c:v>
                </c:pt>
                <c:pt idx="2811">
                  <c:v>40896</c:v>
                </c:pt>
                <c:pt idx="2812">
                  <c:v>40897</c:v>
                </c:pt>
                <c:pt idx="2813">
                  <c:v>40898</c:v>
                </c:pt>
                <c:pt idx="2814">
                  <c:v>40899</c:v>
                </c:pt>
                <c:pt idx="2815">
                  <c:v>40900</c:v>
                </c:pt>
                <c:pt idx="2816">
                  <c:v>40904</c:v>
                </c:pt>
                <c:pt idx="2817">
                  <c:v>40905</c:v>
                </c:pt>
                <c:pt idx="2818">
                  <c:v>40906</c:v>
                </c:pt>
                <c:pt idx="2819">
                  <c:v>40907</c:v>
                </c:pt>
                <c:pt idx="2820">
                  <c:v>40910</c:v>
                </c:pt>
                <c:pt idx="2821">
                  <c:v>40911</c:v>
                </c:pt>
                <c:pt idx="2822">
                  <c:v>40912</c:v>
                </c:pt>
                <c:pt idx="2823">
                  <c:v>40913</c:v>
                </c:pt>
                <c:pt idx="2824">
                  <c:v>40914</c:v>
                </c:pt>
                <c:pt idx="2825">
                  <c:v>40917</c:v>
                </c:pt>
                <c:pt idx="2826">
                  <c:v>40918</c:v>
                </c:pt>
                <c:pt idx="2827">
                  <c:v>40919</c:v>
                </c:pt>
                <c:pt idx="2828">
                  <c:v>40920</c:v>
                </c:pt>
                <c:pt idx="2829">
                  <c:v>40921</c:v>
                </c:pt>
                <c:pt idx="2830">
                  <c:v>40924</c:v>
                </c:pt>
                <c:pt idx="2831">
                  <c:v>40925</c:v>
                </c:pt>
                <c:pt idx="2832">
                  <c:v>40926</c:v>
                </c:pt>
                <c:pt idx="2833">
                  <c:v>40927</c:v>
                </c:pt>
                <c:pt idx="2834">
                  <c:v>40928</c:v>
                </c:pt>
                <c:pt idx="2835">
                  <c:v>40931</c:v>
                </c:pt>
                <c:pt idx="2836">
                  <c:v>40932</c:v>
                </c:pt>
                <c:pt idx="2837">
                  <c:v>40933</c:v>
                </c:pt>
                <c:pt idx="2838">
                  <c:v>40934</c:v>
                </c:pt>
                <c:pt idx="2839">
                  <c:v>40935</c:v>
                </c:pt>
                <c:pt idx="2840">
                  <c:v>40938</c:v>
                </c:pt>
                <c:pt idx="2841">
                  <c:v>40939</c:v>
                </c:pt>
                <c:pt idx="2842">
                  <c:v>40940</c:v>
                </c:pt>
                <c:pt idx="2843">
                  <c:v>40941</c:v>
                </c:pt>
                <c:pt idx="2844">
                  <c:v>40942</c:v>
                </c:pt>
                <c:pt idx="2845">
                  <c:v>40945</c:v>
                </c:pt>
                <c:pt idx="2846">
                  <c:v>40946</c:v>
                </c:pt>
                <c:pt idx="2847">
                  <c:v>40947</c:v>
                </c:pt>
                <c:pt idx="2848">
                  <c:v>40948</c:v>
                </c:pt>
                <c:pt idx="2849">
                  <c:v>40949</c:v>
                </c:pt>
                <c:pt idx="2850">
                  <c:v>40952</c:v>
                </c:pt>
                <c:pt idx="2851">
                  <c:v>40953</c:v>
                </c:pt>
                <c:pt idx="2852">
                  <c:v>40954</c:v>
                </c:pt>
                <c:pt idx="2853">
                  <c:v>40955</c:v>
                </c:pt>
                <c:pt idx="2854">
                  <c:v>40956</c:v>
                </c:pt>
                <c:pt idx="2855">
                  <c:v>40959</c:v>
                </c:pt>
                <c:pt idx="2856">
                  <c:v>40960</c:v>
                </c:pt>
                <c:pt idx="2857">
                  <c:v>40961</c:v>
                </c:pt>
                <c:pt idx="2858">
                  <c:v>40962</c:v>
                </c:pt>
                <c:pt idx="2859">
                  <c:v>40963</c:v>
                </c:pt>
                <c:pt idx="2860">
                  <c:v>40966</c:v>
                </c:pt>
                <c:pt idx="2861">
                  <c:v>40967</c:v>
                </c:pt>
                <c:pt idx="2862">
                  <c:v>40968</c:v>
                </c:pt>
                <c:pt idx="2863">
                  <c:v>40969</c:v>
                </c:pt>
                <c:pt idx="2864">
                  <c:v>40970</c:v>
                </c:pt>
                <c:pt idx="2865">
                  <c:v>40973</c:v>
                </c:pt>
                <c:pt idx="2866">
                  <c:v>40974</c:v>
                </c:pt>
                <c:pt idx="2867">
                  <c:v>40975</c:v>
                </c:pt>
                <c:pt idx="2868">
                  <c:v>40976</c:v>
                </c:pt>
                <c:pt idx="2869">
                  <c:v>40977</c:v>
                </c:pt>
                <c:pt idx="2870">
                  <c:v>40980</c:v>
                </c:pt>
                <c:pt idx="2871">
                  <c:v>40981</c:v>
                </c:pt>
                <c:pt idx="2872">
                  <c:v>40982</c:v>
                </c:pt>
                <c:pt idx="2873">
                  <c:v>40983</c:v>
                </c:pt>
                <c:pt idx="2874">
                  <c:v>40984</c:v>
                </c:pt>
                <c:pt idx="2875">
                  <c:v>40987</c:v>
                </c:pt>
                <c:pt idx="2876">
                  <c:v>40988</c:v>
                </c:pt>
                <c:pt idx="2877">
                  <c:v>40989</c:v>
                </c:pt>
                <c:pt idx="2878">
                  <c:v>40990</c:v>
                </c:pt>
                <c:pt idx="2879">
                  <c:v>40991</c:v>
                </c:pt>
                <c:pt idx="2880">
                  <c:v>40994</c:v>
                </c:pt>
                <c:pt idx="2881">
                  <c:v>40995</c:v>
                </c:pt>
                <c:pt idx="2882">
                  <c:v>40996</c:v>
                </c:pt>
                <c:pt idx="2883">
                  <c:v>40997</c:v>
                </c:pt>
                <c:pt idx="2884">
                  <c:v>40998</c:v>
                </c:pt>
                <c:pt idx="2885">
                  <c:v>41001</c:v>
                </c:pt>
                <c:pt idx="2886">
                  <c:v>41002</c:v>
                </c:pt>
                <c:pt idx="2887">
                  <c:v>41003</c:v>
                </c:pt>
                <c:pt idx="2888">
                  <c:v>41004</c:v>
                </c:pt>
                <c:pt idx="2889">
                  <c:v>41009</c:v>
                </c:pt>
                <c:pt idx="2890">
                  <c:v>41010</c:v>
                </c:pt>
                <c:pt idx="2891">
                  <c:v>41011</c:v>
                </c:pt>
                <c:pt idx="2892">
                  <c:v>41012</c:v>
                </c:pt>
                <c:pt idx="2893">
                  <c:v>41015</c:v>
                </c:pt>
                <c:pt idx="2894">
                  <c:v>41016</c:v>
                </c:pt>
                <c:pt idx="2895">
                  <c:v>41017</c:v>
                </c:pt>
                <c:pt idx="2896">
                  <c:v>41018</c:v>
                </c:pt>
                <c:pt idx="2897">
                  <c:v>41019</c:v>
                </c:pt>
                <c:pt idx="2898">
                  <c:v>41022</c:v>
                </c:pt>
                <c:pt idx="2899">
                  <c:v>41023</c:v>
                </c:pt>
                <c:pt idx="2900">
                  <c:v>41024</c:v>
                </c:pt>
                <c:pt idx="2901">
                  <c:v>41025</c:v>
                </c:pt>
                <c:pt idx="2902">
                  <c:v>41026</c:v>
                </c:pt>
                <c:pt idx="2903">
                  <c:v>41029</c:v>
                </c:pt>
                <c:pt idx="2904">
                  <c:v>41030</c:v>
                </c:pt>
                <c:pt idx="2905">
                  <c:v>41031</c:v>
                </c:pt>
                <c:pt idx="2906">
                  <c:v>41032</c:v>
                </c:pt>
                <c:pt idx="2907">
                  <c:v>41033</c:v>
                </c:pt>
                <c:pt idx="2908">
                  <c:v>41036</c:v>
                </c:pt>
                <c:pt idx="2909">
                  <c:v>41037</c:v>
                </c:pt>
                <c:pt idx="2910">
                  <c:v>41038</c:v>
                </c:pt>
                <c:pt idx="2911">
                  <c:v>41039</c:v>
                </c:pt>
                <c:pt idx="2912">
                  <c:v>41040</c:v>
                </c:pt>
                <c:pt idx="2913">
                  <c:v>41043</c:v>
                </c:pt>
                <c:pt idx="2914">
                  <c:v>41044</c:v>
                </c:pt>
                <c:pt idx="2915">
                  <c:v>41045</c:v>
                </c:pt>
                <c:pt idx="2916">
                  <c:v>41046</c:v>
                </c:pt>
                <c:pt idx="2917">
                  <c:v>41047</c:v>
                </c:pt>
                <c:pt idx="2918">
                  <c:v>41050</c:v>
                </c:pt>
                <c:pt idx="2919">
                  <c:v>41051</c:v>
                </c:pt>
                <c:pt idx="2920">
                  <c:v>41052</c:v>
                </c:pt>
                <c:pt idx="2921">
                  <c:v>41053</c:v>
                </c:pt>
                <c:pt idx="2922">
                  <c:v>41054</c:v>
                </c:pt>
                <c:pt idx="2923">
                  <c:v>41057</c:v>
                </c:pt>
                <c:pt idx="2924">
                  <c:v>41058</c:v>
                </c:pt>
                <c:pt idx="2925">
                  <c:v>41059</c:v>
                </c:pt>
                <c:pt idx="2926">
                  <c:v>41060</c:v>
                </c:pt>
                <c:pt idx="2927">
                  <c:v>41061</c:v>
                </c:pt>
                <c:pt idx="2928">
                  <c:v>41064</c:v>
                </c:pt>
                <c:pt idx="2929">
                  <c:v>41065</c:v>
                </c:pt>
                <c:pt idx="2930">
                  <c:v>41066</c:v>
                </c:pt>
                <c:pt idx="2931">
                  <c:v>41067</c:v>
                </c:pt>
                <c:pt idx="2932">
                  <c:v>41068</c:v>
                </c:pt>
                <c:pt idx="2933">
                  <c:v>41071</c:v>
                </c:pt>
                <c:pt idx="2934">
                  <c:v>41072</c:v>
                </c:pt>
                <c:pt idx="2935">
                  <c:v>41073</c:v>
                </c:pt>
                <c:pt idx="2936">
                  <c:v>41074</c:v>
                </c:pt>
                <c:pt idx="2937">
                  <c:v>41075</c:v>
                </c:pt>
                <c:pt idx="2938">
                  <c:v>41078</c:v>
                </c:pt>
                <c:pt idx="2939">
                  <c:v>41079</c:v>
                </c:pt>
                <c:pt idx="2940">
                  <c:v>41080</c:v>
                </c:pt>
                <c:pt idx="2941">
                  <c:v>41081</c:v>
                </c:pt>
                <c:pt idx="2942">
                  <c:v>41082</c:v>
                </c:pt>
                <c:pt idx="2943">
                  <c:v>41085</c:v>
                </c:pt>
                <c:pt idx="2944">
                  <c:v>41086</c:v>
                </c:pt>
                <c:pt idx="2945">
                  <c:v>41087</c:v>
                </c:pt>
                <c:pt idx="2946">
                  <c:v>41088</c:v>
                </c:pt>
                <c:pt idx="2947">
                  <c:v>41089</c:v>
                </c:pt>
                <c:pt idx="2948">
                  <c:v>41092</c:v>
                </c:pt>
                <c:pt idx="2949">
                  <c:v>41093</c:v>
                </c:pt>
                <c:pt idx="2950">
                  <c:v>41094</c:v>
                </c:pt>
                <c:pt idx="2951">
                  <c:v>41095</c:v>
                </c:pt>
                <c:pt idx="2952">
                  <c:v>41096</c:v>
                </c:pt>
                <c:pt idx="2953">
                  <c:v>41099</c:v>
                </c:pt>
                <c:pt idx="2954">
                  <c:v>41100</c:v>
                </c:pt>
                <c:pt idx="2955">
                  <c:v>41101</c:v>
                </c:pt>
                <c:pt idx="2956">
                  <c:v>41102</c:v>
                </c:pt>
                <c:pt idx="2957">
                  <c:v>41103</c:v>
                </c:pt>
                <c:pt idx="2958">
                  <c:v>41106</c:v>
                </c:pt>
                <c:pt idx="2959">
                  <c:v>41107</c:v>
                </c:pt>
                <c:pt idx="2960">
                  <c:v>41108</c:v>
                </c:pt>
                <c:pt idx="2961">
                  <c:v>41109</c:v>
                </c:pt>
                <c:pt idx="2962">
                  <c:v>41110</c:v>
                </c:pt>
                <c:pt idx="2963">
                  <c:v>41113</c:v>
                </c:pt>
                <c:pt idx="2964">
                  <c:v>41114</c:v>
                </c:pt>
                <c:pt idx="2965">
                  <c:v>41115</c:v>
                </c:pt>
                <c:pt idx="2966">
                  <c:v>41116</c:v>
                </c:pt>
                <c:pt idx="2967">
                  <c:v>41117</c:v>
                </c:pt>
                <c:pt idx="2968">
                  <c:v>41120</c:v>
                </c:pt>
                <c:pt idx="2969">
                  <c:v>41121</c:v>
                </c:pt>
                <c:pt idx="2970">
                  <c:v>41122</c:v>
                </c:pt>
                <c:pt idx="2971">
                  <c:v>41123</c:v>
                </c:pt>
                <c:pt idx="2972">
                  <c:v>41124</c:v>
                </c:pt>
                <c:pt idx="2973">
                  <c:v>41127</c:v>
                </c:pt>
                <c:pt idx="2974">
                  <c:v>41128</c:v>
                </c:pt>
                <c:pt idx="2975">
                  <c:v>41129</c:v>
                </c:pt>
                <c:pt idx="2976">
                  <c:v>41130</c:v>
                </c:pt>
                <c:pt idx="2977">
                  <c:v>41131</c:v>
                </c:pt>
                <c:pt idx="2978">
                  <c:v>41134</c:v>
                </c:pt>
                <c:pt idx="2979">
                  <c:v>41135</c:v>
                </c:pt>
                <c:pt idx="2980">
                  <c:v>41136</c:v>
                </c:pt>
                <c:pt idx="2981">
                  <c:v>41137</c:v>
                </c:pt>
                <c:pt idx="2982">
                  <c:v>41138</c:v>
                </c:pt>
                <c:pt idx="2983">
                  <c:v>41141</c:v>
                </c:pt>
                <c:pt idx="2984">
                  <c:v>41142</c:v>
                </c:pt>
                <c:pt idx="2985">
                  <c:v>41143</c:v>
                </c:pt>
                <c:pt idx="2986">
                  <c:v>41144</c:v>
                </c:pt>
                <c:pt idx="2987">
                  <c:v>41145</c:v>
                </c:pt>
                <c:pt idx="2988">
                  <c:v>41148</c:v>
                </c:pt>
                <c:pt idx="2989">
                  <c:v>41149</c:v>
                </c:pt>
                <c:pt idx="2990">
                  <c:v>41150</c:v>
                </c:pt>
                <c:pt idx="2991">
                  <c:v>41151</c:v>
                </c:pt>
                <c:pt idx="2992">
                  <c:v>41152</c:v>
                </c:pt>
                <c:pt idx="2993">
                  <c:v>41155</c:v>
                </c:pt>
                <c:pt idx="2994">
                  <c:v>41156</c:v>
                </c:pt>
                <c:pt idx="2995">
                  <c:v>41157</c:v>
                </c:pt>
                <c:pt idx="2996">
                  <c:v>41158</c:v>
                </c:pt>
                <c:pt idx="2997">
                  <c:v>41159</c:v>
                </c:pt>
                <c:pt idx="2998">
                  <c:v>41162</c:v>
                </c:pt>
                <c:pt idx="2999">
                  <c:v>41163</c:v>
                </c:pt>
                <c:pt idx="3000">
                  <c:v>41164</c:v>
                </c:pt>
                <c:pt idx="3001">
                  <c:v>41165</c:v>
                </c:pt>
                <c:pt idx="3002">
                  <c:v>41166</c:v>
                </c:pt>
                <c:pt idx="3003">
                  <c:v>41169</c:v>
                </c:pt>
                <c:pt idx="3004">
                  <c:v>41170</c:v>
                </c:pt>
                <c:pt idx="3005">
                  <c:v>41171</c:v>
                </c:pt>
                <c:pt idx="3006">
                  <c:v>41172</c:v>
                </c:pt>
                <c:pt idx="3007">
                  <c:v>41173</c:v>
                </c:pt>
                <c:pt idx="3008">
                  <c:v>41176</c:v>
                </c:pt>
                <c:pt idx="3009">
                  <c:v>41177</c:v>
                </c:pt>
                <c:pt idx="3010">
                  <c:v>41178</c:v>
                </c:pt>
                <c:pt idx="3011">
                  <c:v>41179</c:v>
                </c:pt>
                <c:pt idx="3012">
                  <c:v>41180</c:v>
                </c:pt>
                <c:pt idx="3013">
                  <c:v>41183</c:v>
                </c:pt>
                <c:pt idx="3014">
                  <c:v>41184</c:v>
                </c:pt>
                <c:pt idx="3015">
                  <c:v>41185</c:v>
                </c:pt>
                <c:pt idx="3016">
                  <c:v>41186</c:v>
                </c:pt>
                <c:pt idx="3017">
                  <c:v>41187</c:v>
                </c:pt>
                <c:pt idx="3018">
                  <c:v>41190</c:v>
                </c:pt>
                <c:pt idx="3019">
                  <c:v>41191</c:v>
                </c:pt>
                <c:pt idx="3020">
                  <c:v>41192</c:v>
                </c:pt>
                <c:pt idx="3021">
                  <c:v>41193</c:v>
                </c:pt>
                <c:pt idx="3022">
                  <c:v>41194</c:v>
                </c:pt>
                <c:pt idx="3023">
                  <c:v>41197</c:v>
                </c:pt>
                <c:pt idx="3024">
                  <c:v>41198</c:v>
                </c:pt>
                <c:pt idx="3025">
                  <c:v>41199</c:v>
                </c:pt>
                <c:pt idx="3026">
                  <c:v>41200</c:v>
                </c:pt>
                <c:pt idx="3027">
                  <c:v>41201</c:v>
                </c:pt>
                <c:pt idx="3028">
                  <c:v>41204</c:v>
                </c:pt>
                <c:pt idx="3029">
                  <c:v>41205</c:v>
                </c:pt>
                <c:pt idx="3030">
                  <c:v>41206</c:v>
                </c:pt>
                <c:pt idx="3031">
                  <c:v>41207</c:v>
                </c:pt>
                <c:pt idx="3032">
                  <c:v>41208</c:v>
                </c:pt>
                <c:pt idx="3033">
                  <c:v>41211</c:v>
                </c:pt>
                <c:pt idx="3034">
                  <c:v>41212</c:v>
                </c:pt>
                <c:pt idx="3035">
                  <c:v>41213</c:v>
                </c:pt>
                <c:pt idx="3036">
                  <c:v>41214</c:v>
                </c:pt>
                <c:pt idx="3037">
                  <c:v>41215</c:v>
                </c:pt>
                <c:pt idx="3038">
                  <c:v>41218</c:v>
                </c:pt>
                <c:pt idx="3039">
                  <c:v>41219</c:v>
                </c:pt>
                <c:pt idx="3040">
                  <c:v>41220</c:v>
                </c:pt>
                <c:pt idx="3041">
                  <c:v>41221</c:v>
                </c:pt>
                <c:pt idx="3042">
                  <c:v>41222</c:v>
                </c:pt>
                <c:pt idx="3043">
                  <c:v>41225</c:v>
                </c:pt>
                <c:pt idx="3044">
                  <c:v>41226</c:v>
                </c:pt>
                <c:pt idx="3045">
                  <c:v>41227</c:v>
                </c:pt>
                <c:pt idx="3046">
                  <c:v>41228</c:v>
                </c:pt>
                <c:pt idx="3047">
                  <c:v>41229</c:v>
                </c:pt>
                <c:pt idx="3048">
                  <c:v>41232</c:v>
                </c:pt>
                <c:pt idx="3049">
                  <c:v>41233</c:v>
                </c:pt>
                <c:pt idx="3050">
                  <c:v>41234</c:v>
                </c:pt>
                <c:pt idx="3051">
                  <c:v>41235</c:v>
                </c:pt>
                <c:pt idx="3052">
                  <c:v>41236</c:v>
                </c:pt>
                <c:pt idx="3053">
                  <c:v>41239</c:v>
                </c:pt>
                <c:pt idx="3054">
                  <c:v>41240</c:v>
                </c:pt>
                <c:pt idx="3055">
                  <c:v>41241</c:v>
                </c:pt>
                <c:pt idx="3056">
                  <c:v>41242</c:v>
                </c:pt>
                <c:pt idx="3057">
                  <c:v>41243</c:v>
                </c:pt>
                <c:pt idx="3058">
                  <c:v>41246</c:v>
                </c:pt>
                <c:pt idx="3059">
                  <c:v>41247</c:v>
                </c:pt>
                <c:pt idx="3060">
                  <c:v>41248</c:v>
                </c:pt>
                <c:pt idx="3061">
                  <c:v>41249</c:v>
                </c:pt>
                <c:pt idx="3062">
                  <c:v>41250</c:v>
                </c:pt>
                <c:pt idx="3063">
                  <c:v>41253</c:v>
                </c:pt>
                <c:pt idx="3064">
                  <c:v>41254</c:v>
                </c:pt>
                <c:pt idx="3065">
                  <c:v>41255</c:v>
                </c:pt>
                <c:pt idx="3066">
                  <c:v>41256</c:v>
                </c:pt>
                <c:pt idx="3067">
                  <c:v>41257</c:v>
                </c:pt>
                <c:pt idx="3068">
                  <c:v>41260</c:v>
                </c:pt>
                <c:pt idx="3069">
                  <c:v>41261</c:v>
                </c:pt>
                <c:pt idx="3070">
                  <c:v>41262</c:v>
                </c:pt>
                <c:pt idx="3071">
                  <c:v>41263</c:v>
                </c:pt>
                <c:pt idx="3072">
                  <c:v>41264</c:v>
                </c:pt>
                <c:pt idx="3073">
                  <c:v>41267</c:v>
                </c:pt>
                <c:pt idx="3074">
                  <c:v>41270</c:v>
                </c:pt>
                <c:pt idx="3075">
                  <c:v>41271</c:v>
                </c:pt>
                <c:pt idx="3076">
                  <c:v>41274</c:v>
                </c:pt>
                <c:pt idx="3077">
                  <c:v>41276</c:v>
                </c:pt>
                <c:pt idx="3078">
                  <c:v>41277</c:v>
                </c:pt>
                <c:pt idx="3079">
                  <c:v>41278</c:v>
                </c:pt>
                <c:pt idx="3080">
                  <c:v>41281</c:v>
                </c:pt>
                <c:pt idx="3081">
                  <c:v>41282</c:v>
                </c:pt>
                <c:pt idx="3082">
                  <c:v>41283</c:v>
                </c:pt>
                <c:pt idx="3083">
                  <c:v>41284</c:v>
                </c:pt>
                <c:pt idx="3084">
                  <c:v>41285</c:v>
                </c:pt>
                <c:pt idx="3085">
                  <c:v>41288</c:v>
                </c:pt>
                <c:pt idx="3086">
                  <c:v>41289</c:v>
                </c:pt>
                <c:pt idx="3087">
                  <c:v>41290</c:v>
                </c:pt>
                <c:pt idx="3088">
                  <c:v>41291</c:v>
                </c:pt>
                <c:pt idx="3089">
                  <c:v>41292</c:v>
                </c:pt>
                <c:pt idx="3090">
                  <c:v>41295</c:v>
                </c:pt>
                <c:pt idx="3091">
                  <c:v>41296</c:v>
                </c:pt>
                <c:pt idx="3092">
                  <c:v>41297</c:v>
                </c:pt>
                <c:pt idx="3093">
                  <c:v>41298</c:v>
                </c:pt>
                <c:pt idx="3094">
                  <c:v>41299</c:v>
                </c:pt>
                <c:pt idx="3095">
                  <c:v>41302</c:v>
                </c:pt>
                <c:pt idx="3096">
                  <c:v>41303</c:v>
                </c:pt>
                <c:pt idx="3097">
                  <c:v>41304</c:v>
                </c:pt>
                <c:pt idx="3098">
                  <c:v>41305</c:v>
                </c:pt>
                <c:pt idx="3099">
                  <c:v>41306</c:v>
                </c:pt>
                <c:pt idx="3100">
                  <c:v>41309</c:v>
                </c:pt>
                <c:pt idx="3101">
                  <c:v>41310</c:v>
                </c:pt>
                <c:pt idx="3102">
                  <c:v>41311</c:v>
                </c:pt>
                <c:pt idx="3103">
                  <c:v>41312</c:v>
                </c:pt>
                <c:pt idx="3104">
                  <c:v>41313</c:v>
                </c:pt>
                <c:pt idx="3105">
                  <c:v>41316</c:v>
                </c:pt>
                <c:pt idx="3106">
                  <c:v>41317</c:v>
                </c:pt>
                <c:pt idx="3107">
                  <c:v>41318</c:v>
                </c:pt>
                <c:pt idx="3108">
                  <c:v>41319</c:v>
                </c:pt>
                <c:pt idx="3109">
                  <c:v>41320</c:v>
                </c:pt>
                <c:pt idx="3110">
                  <c:v>41323</c:v>
                </c:pt>
                <c:pt idx="3111">
                  <c:v>41324</c:v>
                </c:pt>
                <c:pt idx="3112">
                  <c:v>41325</c:v>
                </c:pt>
                <c:pt idx="3113">
                  <c:v>41326</c:v>
                </c:pt>
                <c:pt idx="3114">
                  <c:v>41327</c:v>
                </c:pt>
                <c:pt idx="3115">
                  <c:v>41330</c:v>
                </c:pt>
                <c:pt idx="3116">
                  <c:v>41331</c:v>
                </c:pt>
                <c:pt idx="3117">
                  <c:v>41332</c:v>
                </c:pt>
                <c:pt idx="3118">
                  <c:v>41333</c:v>
                </c:pt>
                <c:pt idx="3119">
                  <c:v>41334</c:v>
                </c:pt>
                <c:pt idx="3120">
                  <c:v>41337</c:v>
                </c:pt>
                <c:pt idx="3121">
                  <c:v>41338</c:v>
                </c:pt>
                <c:pt idx="3122">
                  <c:v>41339</c:v>
                </c:pt>
                <c:pt idx="3123">
                  <c:v>41340</c:v>
                </c:pt>
                <c:pt idx="3124">
                  <c:v>41341</c:v>
                </c:pt>
                <c:pt idx="3125">
                  <c:v>41344</c:v>
                </c:pt>
                <c:pt idx="3126">
                  <c:v>41345</c:v>
                </c:pt>
                <c:pt idx="3127">
                  <c:v>41346</c:v>
                </c:pt>
                <c:pt idx="3128">
                  <c:v>41347</c:v>
                </c:pt>
                <c:pt idx="3129">
                  <c:v>41348</c:v>
                </c:pt>
                <c:pt idx="3130">
                  <c:v>41351</c:v>
                </c:pt>
                <c:pt idx="3131">
                  <c:v>41352</c:v>
                </c:pt>
                <c:pt idx="3132">
                  <c:v>41353</c:v>
                </c:pt>
                <c:pt idx="3133">
                  <c:v>41354</c:v>
                </c:pt>
                <c:pt idx="3134">
                  <c:v>41355</c:v>
                </c:pt>
                <c:pt idx="3135">
                  <c:v>41358</c:v>
                </c:pt>
                <c:pt idx="3136">
                  <c:v>41359</c:v>
                </c:pt>
                <c:pt idx="3137">
                  <c:v>41360</c:v>
                </c:pt>
                <c:pt idx="3138">
                  <c:v>41361</c:v>
                </c:pt>
                <c:pt idx="3139">
                  <c:v>41366</c:v>
                </c:pt>
                <c:pt idx="3140">
                  <c:v>41367</c:v>
                </c:pt>
                <c:pt idx="3141">
                  <c:v>41368</c:v>
                </c:pt>
                <c:pt idx="3142">
                  <c:v>41369</c:v>
                </c:pt>
                <c:pt idx="3143">
                  <c:v>41372</c:v>
                </c:pt>
                <c:pt idx="3144">
                  <c:v>41373</c:v>
                </c:pt>
                <c:pt idx="3145">
                  <c:v>41374</c:v>
                </c:pt>
                <c:pt idx="3146">
                  <c:v>41375</c:v>
                </c:pt>
                <c:pt idx="3147">
                  <c:v>41376</c:v>
                </c:pt>
                <c:pt idx="3148">
                  <c:v>41379</c:v>
                </c:pt>
                <c:pt idx="3149">
                  <c:v>41380</c:v>
                </c:pt>
                <c:pt idx="3150">
                  <c:v>41381</c:v>
                </c:pt>
                <c:pt idx="3151">
                  <c:v>41382</c:v>
                </c:pt>
                <c:pt idx="3152">
                  <c:v>41383</c:v>
                </c:pt>
                <c:pt idx="3153">
                  <c:v>41386</c:v>
                </c:pt>
                <c:pt idx="3154">
                  <c:v>41387</c:v>
                </c:pt>
                <c:pt idx="3155">
                  <c:v>41388</c:v>
                </c:pt>
                <c:pt idx="3156">
                  <c:v>41389</c:v>
                </c:pt>
                <c:pt idx="3157">
                  <c:v>41390</c:v>
                </c:pt>
                <c:pt idx="3158">
                  <c:v>41393</c:v>
                </c:pt>
                <c:pt idx="3159">
                  <c:v>41394</c:v>
                </c:pt>
                <c:pt idx="3160">
                  <c:v>41395</c:v>
                </c:pt>
                <c:pt idx="3161">
                  <c:v>41396</c:v>
                </c:pt>
                <c:pt idx="3162">
                  <c:v>41397</c:v>
                </c:pt>
                <c:pt idx="3163">
                  <c:v>41400</c:v>
                </c:pt>
                <c:pt idx="3164">
                  <c:v>41401</c:v>
                </c:pt>
                <c:pt idx="3165">
                  <c:v>41402</c:v>
                </c:pt>
                <c:pt idx="3166">
                  <c:v>41403</c:v>
                </c:pt>
                <c:pt idx="3167">
                  <c:v>41404</c:v>
                </c:pt>
                <c:pt idx="3168">
                  <c:v>41407</c:v>
                </c:pt>
                <c:pt idx="3169">
                  <c:v>41408</c:v>
                </c:pt>
                <c:pt idx="3170">
                  <c:v>41409</c:v>
                </c:pt>
                <c:pt idx="3171">
                  <c:v>41410</c:v>
                </c:pt>
                <c:pt idx="3172">
                  <c:v>41411</c:v>
                </c:pt>
                <c:pt idx="3173">
                  <c:v>41414</c:v>
                </c:pt>
                <c:pt idx="3174">
                  <c:v>41415</c:v>
                </c:pt>
                <c:pt idx="3175">
                  <c:v>41416</c:v>
                </c:pt>
                <c:pt idx="3176">
                  <c:v>41417</c:v>
                </c:pt>
                <c:pt idx="3177">
                  <c:v>41418</c:v>
                </c:pt>
                <c:pt idx="3178">
                  <c:v>41421</c:v>
                </c:pt>
                <c:pt idx="3179">
                  <c:v>41422</c:v>
                </c:pt>
                <c:pt idx="3180">
                  <c:v>41423</c:v>
                </c:pt>
                <c:pt idx="3181">
                  <c:v>41424</c:v>
                </c:pt>
                <c:pt idx="3182">
                  <c:v>41425</c:v>
                </c:pt>
                <c:pt idx="3183">
                  <c:v>41428</c:v>
                </c:pt>
                <c:pt idx="3184">
                  <c:v>41429</c:v>
                </c:pt>
                <c:pt idx="3185">
                  <c:v>41430</c:v>
                </c:pt>
                <c:pt idx="3186">
                  <c:v>41431</c:v>
                </c:pt>
                <c:pt idx="3187">
                  <c:v>41432</c:v>
                </c:pt>
                <c:pt idx="3188">
                  <c:v>41435</c:v>
                </c:pt>
                <c:pt idx="3189">
                  <c:v>41436</c:v>
                </c:pt>
                <c:pt idx="3190">
                  <c:v>41437</c:v>
                </c:pt>
                <c:pt idx="3191">
                  <c:v>41438</c:v>
                </c:pt>
                <c:pt idx="3192">
                  <c:v>41439</c:v>
                </c:pt>
                <c:pt idx="3193">
                  <c:v>41442</c:v>
                </c:pt>
                <c:pt idx="3194">
                  <c:v>41443</c:v>
                </c:pt>
                <c:pt idx="3195">
                  <c:v>41444</c:v>
                </c:pt>
                <c:pt idx="3196">
                  <c:v>41445</c:v>
                </c:pt>
                <c:pt idx="3197">
                  <c:v>41446</c:v>
                </c:pt>
                <c:pt idx="3198">
                  <c:v>41449</c:v>
                </c:pt>
                <c:pt idx="3199">
                  <c:v>41450</c:v>
                </c:pt>
                <c:pt idx="3200">
                  <c:v>41451</c:v>
                </c:pt>
                <c:pt idx="3201">
                  <c:v>41452</c:v>
                </c:pt>
                <c:pt idx="3202">
                  <c:v>41453</c:v>
                </c:pt>
                <c:pt idx="3203">
                  <c:v>41456</c:v>
                </c:pt>
                <c:pt idx="3204">
                  <c:v>41457</c:v>
                </c:pt>
                <c:pt idx="3205">
                  <c:v>41458</c:v>
                </c:pt>
                <c:pt idx="3206">
                  <c:v>41459</c:v>
                </c:pt>
                <c:pt idx="3207">
                  <c:v>41460</c:v>
                </c:pt>
              </c:numCache>
            </c:numRef>
          </c:cat>
          <c:val>
            <c:numRef>
              <c:f>Sheet2!$E$2:$E$3209</c:f>
              <c:numCache>
                <c:formatCode>General</c:formatCode>
                <c:ptCount val="3208"/>
                <c:pt idx="0">
                  <c:v>100</c:v>
                </c:pt>
                <c:pt idx="1">
                  <c:v>98.469418949857001</c:v>
                </c:pt>
                <c:pt idx="2">
                  <c:v>100.42867139043064</c:v>
                </c:pt>
                <c:pt idx="3">
                  <c:v>100.86889177236259</c:v>
                </c:pt>
                <c:pt idx="4">
                  <c:v>99.945651804699764</c:v>
                </c:pt>
                <c:pt idx="5">
                  <c:v>99.315892091658228</c:v>
                </c:pt>
                <c:pt idx="6">
                  <c:v>98.72417611532687</c:v>
                </c:pt>
                <c:pt idx="7">
                  <c:v>99.407604671227389</c:v>
                </c:pt>
                <c:pt idx="8">
                  <c:v>97.825392835549152</c:v>
                </c:pt>
                <c:pt idx="9">
                  <c:v>97.068594215993315</c:v>
                </c:pt>
                <c:pt idx="10">
                  <c:v>96.354594800236413</c:v>
                </c:pt>
                <c:pt idx="11">
                  <c:v>98.149443950026836</c:v>
                </c:pt>
                <c:pt idx="12">
                  <c:v>98.637898355287746</c:v>
                </c:pt>
                <c:pt idx="13">
                  <c:v>97.25337808001413</c:v>
                </c:pt>
                <c:pt idx="14">
                  <c:v>97.923219587089591</c:v>
                </c:pt>
                <c:pt idx="15">
                  <c:v>98.130422081671753</c:v>
                </c:pt>
                <c:pt idx="16">
                  <c:v>97.097127018525939</c:v>
                </c:pt>
                <c:pt idx="17">
                  <c:v>97.419140075679863</c:v>
                </c:pt>
                <c:pt idx="18">
                  <c:v>97.953790446945973</c:v>
                </c:pt>
                <c:pt idx="19">
                  <c:v>97.416422665914851</c:v>
                </c:pt>
                <c:pt idx="20">
                  <c:v>98.215341136828371</c:v>
                </c:pt>
                <c:pt idx="21">
                  <c:v>99.107330892193559</c:v>
                </c:pt>
                <c:pt idx="22">
                  <c:v>100.93954442625289</c:v>
                </c:pt>
                <c:pt idx="23">
                  <c:v>100.20176767505214</c:v>
                </c:pt>
                <c:pt idx="24">
                  <c:v>100.45041066855073</c:v>
                </c:pt>
                <c:pt idx="25">
                  <c:v>100.00679352441253</c:v>
                </c:pt>
                <c:pt idx="26">
                  <c:v>99.792118152976585</c:v>
                </c:pt>
                <c:pt idx="27">
                  <c:v>99.549589331449269</c:v>
                </c:pt>
                <c:pt idx="28">
                  <c:v>99.461273514086372</c:v>
                </c:pt>
                <c:pt idx="29">
                  <c:v>99.786683333446561</c:v>
                </c:pt>
                <c:pt idx="30">
                  <c:v>99.341707484425839</c:v>
                </c:pt>
                <c:pt idx="31">
                  <c:v>99.794156210300343</c:v>
                </c:pt>
                <c:pt idx="32">
                  <c:v>99.109368949517318</c:v>
                </c:pt>
                <c:pt idx="33">
                  <c:v>99.309777919686951</c:v>
                </c:pt>
                <c:pt idx="34">
                  <c:v>99.9884510084987</c:v>
                </c:pt>
                <c:pt idx="35">
                  <c:v>99.477577972676443</c:v>
                </c:pt>
                <c:pt idx="36">
                  <c:v>99.447686465261313</c:v>
                </c:pt>
                <c:pt idx="37">
                  <c:v>98.815209342454779</c:v>
                </c:pt>
                <c:pt idx="38">
                  <c:v>98.760861147154529</c:v>
                </c:pt>
                <c:pt idx="39">
                  <c:v>98.292107962689968</c:v>
                </c:pt>
                <c:pt idx="40">
                  <c:v>98.990482272298038</c:v>
                </c:pt>
                <c:pt idx="41">
                  <c:v>99.870923036161926</c:v>
                </c:pt>
                <c:pt idx="42">
                  <c:v>100.05842430994775</c:v>
                </c:pt>
                <c:pt idx="43">
                  <c:v>101.22351374669665</c:v>
                </c:pt>
                <c:pt idx="44">
                  <c:v>101.25068784434677</c:v>
                </c:pt>
                <c:pt idx="45">
                  <c:v>101.28125870420315</c:v>
                </c:pt>
                <c:pt idx="46">
                  <c:v>101.49661342808035</c:v>
                </c:pt>
                <c:pt idx="47">
                  <c:v>101.37704739841982</c:v>
                </c:pt>
                <c:pt idx="48">
                  <c:v>101.85123540241442</c:v>
                </c:pt>
                <c:pt idx="49">
                  <c:v>99.853939225130603</c:v>
                </c:pt>
                <c:pt idx="50">
                  <c:v>97.296856636254319</c:v>
                </c:pt>
                <c:pt idx="51">
                  <c:v>95.699019694427278</c:v>
                </c:pt>
                <c:pt idx="52">
                  <c:v>95.677959768748423</c:v>
                </c:pt>
                <c:pt idx="53">
                  <c:v>94.852546552626038</c:v>
                </c:pt>
                <c:pt idx="54">
                  <c:v>94.315858124036168</c:v>
                </c:pt>
                <c:pt idx="55">
                  <c:v>95.476871446137537</c:v>
                </c:pt>
                <c:pt idx="56">
                  <c:v>93.925230470315697</c:v>
                </c:pt>
                <c:pt idx="57">
                  <c:v>91.554969802783987</c:v>
                </c:pt>
                <c:pt idx="58">
                  <c:v>91.871548040407887</c:v>
                </c:pt>
                <c:pt idx="59">
                  <c:v>93.408243262522163</c:v>
                </c:pt>
                <c:pt idx="60">
                  <c:v>94.157569005224218</c:v>
                </c:pt>
                <c:pt idx="61">
                  <c:v>93.537320226360237</c:v>
                </c:pt>
                <c:pt idx="62">
                  <c:v>92.847098146047188</c:v>
                </c:pt>
                <c:pt idx="63">
                  <c:v>93.237725799767659</c:v>
                </c:pt>
                <c:pt idx="64">
                  <c:v>93.429303188201004</c:v>
                </c:pt>
                <c:pt idx="65">
                  <c:v>93.881072561634255</c:v>
                </c:pt>
                <c:pt idx="66">
                  <c:v>94.442897030550483</c:v>
                </c:pt>
                <c:pt idx="67">
                  <c:v>95.086923144858318</c:v>
                </c:pt>
                <c:pt idx="68">
                  <c:v>94.975509344492835</c:v>
                </c:pt>
                <c:pt idx="69">
                  <c:v>95.896031902390646</c:v>
                </c:pt>
                <c:pt idx="70">
                  <c:v>95.514235830406463</c:v>
                </c:pt>
                <c:pt idx="71">
                  <c:v>95.614779991711899</c:v>
                </c:pt>
                <c:pt idx="72">
                  <c:v>95.288011467469204</c:v>
                </c:pt>
                <c:pt idx="73">
                  <c:v>94.972791934727823</c:v>
                </c:pt>
                <c:pt idx="74">
                  <c:v>95.275103771085398</c:v>
                </c:pt>
                <c:pt idx="75">
                  <c:v>96.131767199505433</c:v>
                </c:pt>
                <c:pt idx="76">
                  <c:v>96.91166380206387</c:v>
                </c:pt>
                <c:pt idx="77">
                  <c:v>96.194267624100704</c:v>
                </c:pt>
                <c:pt idx="78">
                  <c:v>96.574025638761128</c:v>
                </c:pt>
                <c:pt idx="79">
                  <c:v>97.758136943865111</c:v>
                </c:pt>
                <c:pt idx="80">
                  <c:v>97.674576593590984</c:v>
                </c:pt>
                <c:pt idx="81">
                  <c:v>97.715337740066175</c:v>
                </c:pt>
                <c:pt idx="82">
                  <c:v>97.919822824883326</c:v>
                </c:pt>
                <c:pt idx="83">
                  <c:v>97.968056848212285</c:v>
                </c:pt>
                <c:pt idx="84">
                  <c:v>97.050251700079485</c:v>
                </c:pt>
                <c:pt idx="85">
                  <c:v>98.25202616865603</c:v>
                </c:pt>
                <c:pt idx="86">
                  <c:v>98.25202616865603</c:v>
                </c:pt>
                <c:pt idx="87">
                  <c:v>97.561804088342996</c:v>
                </c:pt>
                <c:pt idx="88">
                  <c:v>97.542782219987913</c:v>
                </c:pt>
                <c:pt idx="89">
                  <c:v>98.726893525091882</c:v>
                </c:pt>
                <c:pt idx="90">
                  <c:v>98.861405308459979</c:v>
                </c:pt>
                <c:pt idx="91">
                  <c:v>99.090347081162236</c:v>
                </c:pt>
                <c:pt idx="92">
                  <c:v>100.23777335443854</c:v>
                </c:pt>
                <c:pt idx="93">
                  <c:v>100.83084803565241</c:v>
                </c:pt>
                <c:pt idx="94">
                  <c:v>100.99117521178812</c:v>
                </c:pt>
                <c:pt idx="95">
                  <c:v>102.29009707946385</c:v>
                </c:pt>
                <c:pt idx="96">
                  <c:v>102.46604936174838</c:v>
                </c:pt>
                <c:pt idx="97">
                  <c:v>101.54756486117432</c:v>
                </c:pt>
                <c:pt idx="98">
                  <c:v>101.14335015862879</c:v>
                </c:pt>
                <c:pt idx="99">
                  <c:v>101.21672022228412</c:v>
                </c:pt>
                <c:pt idx="100">
                  <c:v>102.11550350206183</c:v>
                </c:pt>
                <c:pt idx="101">
                  <c:v>102.0638727165266</c:v>
                </c:pt>
                <c:pt idx="102">
                  <c:v>102.16441687783205</c:v>
                </c:pt>
                <c:pt idx="103">
                  <c:v>102.38384771635677</c:v>
                </c:pt>
                <c:pt idx="104">
                  <c:v>101.47623285484276</c:v>
                </c:pt>
                <c:pt idx="105">
                  <c:v>101.90965971236217</c:v>
                </c:pt>
                <c:pt idx="106">
                  <c:v>101.94023057221857</c:v>
                </c:pt>
                <c:pt idx="107">
                  <c:v>103.02583577334084</c:v>
                </c:pt>
                <c:pt idx="108">
                  <c:v>101.95042085883736</c:v>
                </c:pt>
                <c:pt idx="109">
                  <c:v>103.07814591131734</c:v>
                </c:pt>
                <c:pt idx="110">
                  <c:v>102.47963641057343</c:v>
                </c:pt>
                <c:pt idx="111">
                  <c:v>100.98845780202311</c:v>
                </c:pt>
                <c:pt idx="112">
                  <c:v>101.31726438358956</c:v>
                </c:pt>
                <c:pt idx="113">
                  <c:v>102.16917234492082</c:v>
                </c:pt>
                <c:pt idx="114">
                  <c:v>102.0754217080279</c:v>
                </c:pt>
                <c:pt idx="115">
                  <c:v>102.73643163336708</c:v>
                </c:pt>
                <c:pt idx="116">
                  <c:v>102.5611587035238</c:v>
                </c:pt>
                <c:pt idx="117">
                  <c:v>102.44906555071705</c:v>
                </c:pt>
                <c:pt idx="118">
                  <c:v>101.22147568937289</c:v>
                </c:pt>
                <c:pt idx="119">
                  <c:v>102.5367020156387</c:v>
                </c:pt>
                <c:pt idx="120">
                  <c:v>102.4150979286544</c:v>
                </c:pt>
                <c:pt idx="121">
                  <c:v>102.40286958471185</c:v>
                </c:pt>
                <c:pt idx="122">
                  <c:v>101.66916894815861</c:v>
                </c:pt>
                <c:pt idx="123">
                  <c:v>101.72827261054762</c:v>
                </c:pt>
                <c:pt idx="124">
                  <c:v>101.58832600764951</c:v>
                </c:pt>
                <c:pt idx="125">
                  <c:v>102.18547680351089</c:v>
                </c:pt>
                <c:pt idx="126">
                  <c:v>101.87637144274078</c:v>
                </c:pt>
                <c:pt idx="127">
                  <c:v>101.79416979734917</c:v>
                </c:pt>
                <c:pt idx="128">
                  <c:v>101.5190320586417</c:v>
                </c:pt>
                <c:pt idx="129">
                  <c:v>101.23574209063921</c:v>
                </c:pt>
                <c:pt idx="130">
                  <c:v>101.28329676152691</c:v>
                </c:pt>
                <c:pt idx="131">
                  <c:v>101.74253901181393</c:v>
                </c:pt>
                <c:pt idx="132">
                  <c:v>101.68615275918994</c:v>
                </c:pt>
                <c:pt idx="133">
                  <c:v>101.63112521144845</c:v>
                </c:pt>
                <c:pt idx="134">
                  <c:v>102.11890026426811</c:v>
                </c:pt>
                <c:pt idx="135">
                  <c:v>102.13044925576941</c:v>
                </c:pt>
                <c:pt idx="136">
                  <c:v>102.05164437258405</c:v>
                </c:pt>
                <c:pt idx="137">
                  <c:v>102.23574888416361</c:v>
                </c:pt>
                <c:pt idx="138">
                  <c:v>103.73236231224396</c:v>
                </c:pt>
                <c:pt idx="139">
                  <c:v>103.98032595330132</c:v>
                </c:pt>
                <c:pt idx="140">
                  <c:v>103.93956480682613</c:v>
                </c:pt>
                <c:pt idx="141">
                  <c:v>102.86143248255763</c:v>
                </c:pt>
                <c:pt idx="142">
                  <c:v>102.14403630459447</c:v>
                </c:pt>
                <c:pt idx="143">
                  <c:v>102.07813911779292</c:v>
                </c:pt>
                <c:pt idx="144">
                  <c:v>101.77175116678782</c:v>
                </c:pt>
                <c:pt idx="145">
                  <c:v>102.43004368236197</c:v>
                </c:pt>
                <c:pt idx="146">
                  <c:v>102.49254410695725</c:v>
                </c:pt>
                <c:pt idx="147">
                  <c:v>103.48032255653911</c:v>
                </c:pt>
                <c:pt idx="148">
                  <c:v>104.74459744971094</c:v>
                </c:pt>
                <c:pt idx="149">
                  <c:v>105.36824299078118</c:v>
                </c:pt>
                <c:pt idx="150">
                  <c:v>105.58903253418841</c:v>
                </c:pt>
                <c:pt idx="151">
                  <c:v>104.81457075115999</c:v>
                </c:pt>
                <c:pt idx="152">
                  <c:v>104.7941901779224</c:v>
                </c:pt>
                <c:pt idx="153">
                  <c:v>104.25953980665629</c:v>
                </c:pt>
                <c:pt idx="154">
                  <c:v>104.93753354302679</c:v>
                </c:pt>
                <c:pt idx="155">
                  <c:v>104.75546708877098</c:v>
                </c:pt>
                <c:pt idx="156">
                  <c:v>104.81321204627749</c:v>
                </c:pt>
                <c:pt idx="157">
                  <c:v>106.03468773565038</c:v>
                </c:pt>
                <c:pt idx="158">
                  <c:v>106.98578115340457</c:v>
                </c:pt>
                <c:pt idx="159">
                  <c:v>107.12776581362645</c:v>
                </c:pt>
                <c:pt idx="160">
                  <c:v>106.87504670548033</c:v>
                </c:pt>
                <c:pt idx="161">
                  <c:v>106.67327903042819</c:v>
                </c:pt>
                <c:pt idx="162">
                  <c:v>107.46880073913546</c:v>
                </c:pt>
                <c:pt idx="163">
                  <c:v>107.27382658849585</c:v>
                </c:pt>
                <c:pt idx="164">
                  <c:v>107.31187032520602</c:v>
                </c:pt>
                <c:pt idx="165">
                  <c:v>107.41716995360022</c:v>
                </c:pt>
                <c:pt idx="166">
                  <c:v>107.22830997493189</c:v>
                </c:pt>
                <c:pt idx="167">
                  <c:v>107.10059171597634</c:v>
                </c:pt>
                <c:pt idx="168">
                  <c:v>106.71404017690338</c:v>
                </c:pt>
                <c:pt idx="169">
                  <c:v>106.53876724706011</c:v>
                </c:pt>
                <c:pt idx="170">
                  <c:v>106.12028614324825</c:v>
                </c:pt>
                <c:pt idx="171">
                  <c:v>105.76022934938416</c:v>
                </c:pt>
                <c:pt idx="172">
                  <c:v>105.25886724773946</c:v>
                </c:pt>
                <c:pt idx="173">
                  <c:v>105.3594114090449</c:v>
                </c:pt>
                <c:pt idx="174">
                  <c:v>104.95723476382312</c:v>
                </c:pt>
                <c:pt idx="175">
                  <c:v>103.93752674950237</c:v>
                </c:pt>
                <c:pt idx="176">
                  <c:v>102.12841119844565</c:v>
                </c:pt>
                <c:pt idx="177">
                  <c:v>100.46807383202332</c:v>
                </c:pt>
                <c:pt idx="178">
                  <c:v>99.857335987336867</c:v>
                </c:pt>
                <c:pt idx="179">
                  <c:v>101.14199145374629</c:v>
                </c:pt>
                <c:pt idx="180">
                  <c:v>99.58899177304194</c:v>
                </c:pt>
                <c:pt idx="181">
                  <c:v>99.218065340117803</c:v>
                </c:pt>
                <c:pt idx="182">
                  <c:v>98.02444310083628</c:v>
                </c:pt>
                <c:pt idx="183">
                  <c:v>97.132453345471092</c:v>
                </c:pt>
                <c:pt idx="184">
                  <c:v>94.110693686777765</c:v>
                </c:pt>
                <c:pt idx="185">
                  <c:v>90.006046236727144</c:v>
                </c:pt>
                <c:pt idx="186">
                  <c:v>92.60185191475486</c:v>
                </c:pt>
                <c:pt idx="187">
                  <c:v>95.029178187351818</c:v>
                </c:pt>
                <c:pt idx="188">
                  <c:v>95.421164545954795</c:v>
                </c:pt>
                <c:pt idx="189">
                  <c:v>95.729590554283661</c:v>
                </c:pt>
                <c:pt idx="190">
                  <c:v>97.794142623251517</c:v>
                </c:pt>
                <c:pt idx="191">
                  <c:v>97.359357060849604</c:v>
                </c:pt>
                <c:pt idx="192">
                  <c:v>97.09984442829095</c:v>
                </c:pt>
                <c:pt idx="193">
                  <c:v>97.344411307142025</c:v>
                </c:pt>
                <c:pt idx="194">
                  <c:v>98.516294268303454</c:v>
                </c:pt>
                <c:pt idx="195">
                  <c:v>98.538033546423549</c:v>
                </c:pt>
                <c:pt idx="196">
                  <c:v>97.021039545105609</c:v>
                </c:pt>
                <c:pt idx="197">
                  <c:v>96.797532591933376</c:v>
                </c:pt>
                <c:pt idx="198">
                  <c:v>97.345090659583278</c:v>
                </c:pt>
                <c:pt idx="199">
                  <c:v>98.51289750609719</c:v>
                </c:pt>
                <c:pt idx="200">
                  <c:v>99.818612898185449</c:v>
                </c:pt>
                <c:pt idx="201">
                  <c:v>99.490485669060249</c:v>
                </c:pt>
                <c:pt idx="202">
                  <c:v>99.953124681553547</c:v>
                </c:pt>
                <c:pt idx="203">
                  <c:v>100.36888837560038</c:v>
                </c:pt>
                <c:pt idx="204">
                  <c:v>100.12703890651431</c:v>
                </c:pt>
                <c:pt idx="205">
                  <c:v>98.224852071005913</c:v>
                </c:pt>
                <c:pt idx="206">
                  <c:v>97.597130415288149</c:v>
                </c:pt>
                <c:pt idx="207">
                  <c:v>98.206509555092083</c:v>
                </c:pt>
                <c:pt idx="208">
                  <c:v>99.381789278459777</c:v>
                </c:pt>
                <c:pt idx="209">
                  <c:v>98.767654671567058</c:v>
                </c:pt>
                <c:pt idx="210">
                  <c:v>100.11413121013051</c:v>
                </c:pt>
                <c:pt idx="211">
                  <c:v>100.48030217596587</c:v>
                </c:pt>
                <c:pt idx="212">
                  <c:v>99.065211040835877</c:v>
                </c:pt>
                <c:pt idx="213">
                  <c:v>100.22554501049599</c:v>
                </c:pt>
                <c:pt idx="214">
                  <c:v>100.89402781268895</c:v>
                </c:pt>
                <c:pt idx="215">
                  <c:v>101.51971141108295</c:v>
                </c:pt>
                <c:pt idx="216">
                  <c:v>101.32405790800209</c:v>
                </c:pt>
                <c:pt idx="217">
                  <c:v>102.00205164437259</c:v>
                </c:pt>
                <c:pt idx="218">
                  <c:v>103.06795562469854</c:v>
                </c:pt>
                <c:pt idx="219">
                  <c:v>104.06252759869292</c:v>
                </c:pt>
                <c:pt idx="220">
                  <c:v>104.81321204627749</c:v>
                </c:pt>
                <c:pt idx="221">
                  <c:v>103.77855827824918</c:v>
                </c:pt>
                <c:pt idx="222">
                  <c:v>103.52244240789679</c:v>
                </c:pt>
                <c:pt idx="223">
                  <c:v>104.40899734373195</c:v>
                </c:pt>
                <c:pt idx="224">
                  <c:v>103.2405111447768</c:v>
                </c:pt>
                <c:pt idx="225">
                  <c:v>103.44363752471145</c:v>
                </c:pt>
                <c:pt idx="226">
                  <c:v>102.56931093281884</c:v>
                </c:pt>
                <c:pt idx="227">
                  <c:v>102.78942112378481</c:v>
                </c:pt>
                <c:pt idx="228">
                  <c:v>102.53874007296245</c:v>
                </c:pt>
                <c:pt idx="229">
                  <c:v>102.29892866120014</c:v>
                </c:pt>
                <c:pt idx="230">
                  <c:v>102.1868355083934</c:v>
                </c:pt>
                <c:pt idx="231">
                  <c:v>102.61075143173527</c:v>
                </c:pt>
                <c:pt idx="232">
                  <c:v>102.5496097120225</c:v>
                </c:pt>
                <c:pt idx="233">
                  <c:v>102.84037255687878</c:v>
                </c:pt>
                <c:pt idx="234">
                  <c:v>102.81387781166991</c:v>
                </c:pt>
                <c:pt idx="235">
                  <c:v>103.39744155870623</c:v>
                </c:pt>
                <c:pt idx="236">
                  <c:v>103.19295647388908</c:v>
                </c:pt>
                <c:pt idx="237">
                  <c:v>103.84581416993322</c:v>
                </c:pt>
                <c:pt idx="238">
                  <c:v>104.65152616525927</c:v>
                </c:pt>
                <c:pt idx="239">
                  <c:v>106.61281666315668</c:v>
                </c:pt>
                <c:pt idx="240">
                  <c:v>105.52721146203439</c:v>
                </c:pt>
                <c:pt idx="241">
                  <c:v>104.71810270450207</c:v>
                </c:pt>
                <c:pt idx="242">
                  <c:v>105.02856677015468</c:v>
                </c:pt>
                <c:pt idx="243">
                  <c:v>105.19229070849666</c:v>
                </c:pt>
                <c:pt idx="244">
                  <c:v>103.77991698313168</c:v>
                </c:pt>
                <c:pt idx="245">
                  <c:v>105.19093200361415</c:v>
                </c:pt>
                <c:pt idx="246">
                  <c:v>105.87639861683843</c:v>
                </c:pt>
                <c:pt idx="247">
                  <c:v>105.98169824523265</c:v>
                </c:pt>
                <c:pt idx="248">
                  <c:v>105.21199192929299</c:v>
                </c:pt>
                <c:pt idx="249">
                  <c:v>104.93074001861426</c:v>
                </c:pt>
                <c:pt idx="250">
                  <c:v>104.87435376599026</c:v>
                </c:pt>
                <c:pt idx="251">
                  <c:v>104.59785732240029</c:v>
                </c:pt>
                <c:pt idx="252">
                  <c:v>106.16376469948845</c:v>
                </c:pt>
                <c:pt idx="253">
                  <c:v>107.39678938036263</c:v>
                </c:pt>
                <c:pt idx="254">
                  <c:v>107.45725174763416</c:v>
                </c:pt>
                <c:pt idx="255">
                  <c:v>107.74190042051916</c:v>
                </c:pt>
                <c:pt idx="256">
                  <c:v>108.160381524331</c:v>
                </c:pt>
                <c:pt idx="257">
                  <c:v>108.03266326537545</c:v>
                </c:pt>
                <c:pt idx="258">
                  <c:v>107.82749882811704</c:v>
                </c:pt>
                <c:pt idx="259">
                  <c:v>107.63184532503618</c:v>
                </c:pt>
                <c:pt idx="260">
                  <c:v>107.18890753333922</c:v>
                </c:pt>
                <c:pt idx="261">
                  <c:v>107.98374988960522</c:v>
                </c:pt>
                <c:pt idx="262">
                  <c:v>107.45045822322163</c:v>
                </c:pt>
                <c:pt idx="263">
                  <c:v>106.8682531810678</c:v>
                </c:pt>
                <c:pt idx="264">
                  <c:v>106.52110408358752</c:v>
                </c:pt>
                <c:pt idx="265">
                  <c:v>107.62029633353487</c:v>
                </c:pt>
                <c:pt idx="266">
                  <c:v>107.98035312739896</c:v>
                </c:pt>
                <c:pt idx="267">
                  <c:v>107.5577959089396</c:v>
                </c:pt>
                <c:pt idx="268">
                  <c:v>107.79421055849564</c:v>
                </c:pt>
                <c:pt idx="269">
                  <c:v>107.37912621689006</c:v>
                </c:pt>
                <c:pt idx="270">
                  <c:v>107.87301544168099</c:v>
                </c:pt>
                <c:pt idx="271">
                  <c:v>106.27653720473644</c:v>
                </c:pt>
                <c:pt idx="272">
                  <c:v>106.38387489045442</c:v>
                </c:pt>
                <c:pt idx="273">
                  <c:v>106.13930801160333</c:v>
                </c:pt>
                <c:pt idx="274">
                  <c:v>105.58835318174715</c:v>
                </c:pt>
                <c:pt idx="275">
                  <c:v>106.07748693944932</c:v>
                </c:pt>
                <c:pt idx="276">
                  <c:v>106.67395838286944</c:v>
                </c:pt>
                <c:pt idx="277">
                  <c:v>107.40086549501015</c:v>
                </c:pt>
                <c:pt idx="278">
                  <c:v>106.2208303045537</c:v>
                </c:pt>
                <c:pt idx="279">
                  <c:v>106.12300355301326</c:v>
                </c:pt>
                <c:pt idx="280">
                  <c:v>105.90696947669481</c:v>
                </c:pt>
                <c:pt idx="281">
                  <c:v>106.83904102609392</c:v>
                </c:pt>
                <c:pt idx="282">
                  <c:v>107.67804129104138</c:v>
                </c:pt>
                <c:pt idx="283">
                  <c:v>108.47356299974864</c:v>
                </c:pt>
                <c:pt idx="284">
                  <c:v>108.40291034585833</c:v>
                </c:pt>
                <c:pt idx="285">
                  <c:v>109.17533407156299</c:v>
                </c:pt>
                <c:pt idx="286">
                  <c:v>109.62438603523121</c:v>
                </c:pt>
                <c:pt idx="287">
                  <c:v>109.15087738367788</c:v>
                </c:pt>
                <c:pt idx="288">
                  <c:v>109.06459962363874</c:v>
                </c:pt>
                <c:pt idx="289">
                  <c:v>107.96744543101515</c:v>
                </c:pt>
                <c:pt idx="290">
                  <c:v>108.40834516538835</c:v>
                </c:pt>
                <c:pt idx="291">
                  <c:v>108.73171692742478</c:v>
                </c:pt>
                <c:pt idx="292">
                  <c:v>108.88253316938294</c:v>
                </c:pt>
                <c:pt idx="293">
                  <c:v>108.84381008023152</c:v>
                </c:pt>
                <c:pt idx="294">
                  <c:v>109.67329941100144</c:v>
                </c:pt>
                <c:pt idx="295">
                  <c:v>109.74531076977425</c:v>
                </c:pt>
                <c:pt idx="296">
                  <c:v>110.07343799889945</c:v>
                </c:pt>
                <c:pt idx="297">
                  <c:v>110.84925848681037</c:v>
                </c:pt>
                <c:pt idx="298">
                  <c:v>111.25279383691465</c:v>
                </c:pt>
                <c:pt idx="299">
                  <c:v>111.44912669243676</c:v>
                </c:pt>
                <c:pt idx="300">
                  <c:v>113.1121814686241</c:v>
                </c:pt>
                <c:pt idx="301">
                  <c:v>113.6977832729842</c:v>
                </c:pt>
                <c:pt idx="302">
                  <c:v>113.86286591620868</c:v>
                </c:pt>
                <c:pt idx="303">
                  <c:v>113.43623258310178</c:v>
                </c:pt>
                <c:pt idx="304">
                  <c:v>113.7337889523706</c:v>
                </c:pt>
                <c:pt idx="305">
                  <c:v>113.83501246611729</c:v>
                </c:pt>
                <c:pt idx="306">
                  <c:v>114.4029511070048</c:v>
                </c:pt>
                <c:pt idx="307">
                  <c:v>114.73855121298378</c:v>
                </c:pt>
                <c:pt idx="308">
                  <c:v>114.85607918532055</c:v>
                </c:pt>
                <c:pt idx="309">
                  <c:v>115.33502265640392</c:v>
                </c:pt>
                <c:pt idx="310">
                  <c:v>115.32279431246135</c:v>
                </c:pt>
                <c:pt idx="311">
                  <c:v>114.87645975855814</c:v>
                </c:pt>
                <c:pt idx="312">
                  <c:v>114.34792355926331</c:v>
                </c:pt>
                <c:pt idx="313">
                  <c:v>115.37034898334907</c:v>
                </c:pt>
                <c:pt idx="314">
                  <c:v>115.6026875182576</c:v>
                </c:pt>
                <c:pt idx="315">
                  <c:v>115.69575880270925</c:v>
                </c:pt>
                <c:pt idx="316">
                  <c:v>116.98109362155992</c:v>
                </c:pt>
                <c:pt idx="317">
                  <c:v>116.75758666838769</c:v>
                </c:pt>
                <c:pt idx="318">
                  <c:v>116.51301978953661</c:v>
                </c:pt>
                <c:pt idx="319">
                  <c:v>117.16995360022827</c:v>
                </c:pt>
                <c:pt idx="320">
                  <c:v>115.94915726329663</c:v>
                </c:pt>
                <c:pt idx="321">
                  <c:v>116.64345545825719</c:v>
                </c:pt>
                <c:pt idx="322">
                  <c:v>117.71887037276069</c:v>
                </c:pt>
                <c:pt idx="323">
                  <c:v>117.23856819679482</c:v>
                </c:pt>
                <c:pt idx="324">
                  <c:v>117.23245402482354</c:v>
                </c:pt>
                <c:pt idx="325">
                  <c:v>117.56873348324378</c:v>
                </c:pt>
                <c:pt idx="326">
                  <c:v>118.0626227080347</c:v>
                </c:pt>
                <c:pt idx="327">
                  <c:v>119.15773884333453</c:v>
                </c:pt>
                <c:pt idx="328">
                  <c:v>118.8201006800318</c:v>
                </c:pt>
                <c:pt idx="329">
                  <c:v>118.90773714495343</c:v>
                </c:pt>
                <c:pt idx="330">
                  <c:v>119.38871867336056</c:v>
                </c:pt>
                <c:pt idx="331">
                  <c:v>119.39619155021434</c:v>
                </c:pt>
                <c:pt idx="332">
                  <c:v>120.07962010611485</c:v>
                </c:pt>
                <c:pt idx="333">
                  <c:v>119.70325885366069</c:v>
                </c:pt>
                <c:pt idx="334">
                  <c:v>120.61155306761594</c:v>
                </c:pt>
                <c:pt idx="335">
                  <c:v>121.16386660235463</c:v>
                </c:pt>
                <c:pt idx="336">
                  <c:v>121.45734685697593</c:v>
                </c:pt>
                <c:pt idx="337">
                  <c:v>122.94173194111373</c:v>
                </c:pt>
                <c:pt idx="338">
                  <c:v>124.79092928620439</c:v>
                </c:pt>
                <c:pt idx="339">
                  <c:v>124.65370009307128</c:v>
                </c:pt>
                <c:pt idx="340">
                  <c:v>123.7066827899646</c:v>
                </c:pt>
                <c:pt idx="341">
                  <c:v>122.94037323623122</c:v>
                </c:pt>
                <c:pt idx="342">
                  <c:v>123.47094749284982</c:v>
                </c:pt>
                <c:pt idx="343">
                  <c:v>123.93426585778435</c:v>
                </c:pt>
                <c:pt idx="344">
                  <c:v>124.21008294893308</c:v>
                </c:pt>
                <c:pt idx="345">
                  <c:v>123.46958878796731</c:v>
                </c:pt>
                <c:pt idx="346">
                  <c:v>124.45668788510791</c:v>
                </c:pt>
                <c:pt idx="347">
                  <c:v>124.17339791710542</c:v>
                </c:pt>
                <c:pt idx="348">
                  <c:v>124.05722864965115</c:v>
                </c:pt>
                <c:pt idx="349">
                  <c:v>124.6244879380974</c:v>
                </c:pt>
                <c:pt idx="350">
                  <c:v>124.47027493393297</c:v>
                </c:pt>
                <c:pt idx="351">
                  <c:v>123.75831357549983</c:v>
                </c:pt>
                <c:pt idx="352">
                  <c:v>123.83236299159641</c:v>
                </c:pt>
                <c:pt idx="353">
                  <c:v>124.64554786377624</c:v>
                </c:pt>
                <c:pt idx="354">
                  <c:v>123.83304234403766</c:v>
                </c:pt>
                <c:pt idx="355">
                  <c:v>124.08712015706628</c:v>
                </c:pt>
                <c:pt idx="356">
                  <c:v>124.40098098492517</c:v>
                </c:pt>
                <c:pt idx="357">
                  <c:v>124.34595343718368</c:v>
                </c:pt>
                <c:pt idx="358">
                  <c:v>124.71484181278406</c:v>
                </c:pt>
                <c:pt idx="359">
                  <c:v>125.59799998641294</c:v>
                </c:pt>
                <c:pt idx="360">
                  <c:v>124.80111957282318</c:v>
                </c:pt>
                <c:pt idx="361">
                  <c:v>124.73793979578666</c:v>
                </c:pt>
                <c:pt idx="362">
                  <c:v>125.23454643034259</c:v>
                </c:pt>
                <c:pt idx="363">
                  <c:v>124.99949048566906</c:v>
                </c:pt>
                <c:pt idx="364">
                  <c:v>125.68495709889334</c:v>
                </c:pt>
                <c:pt idx="365">
                  <c:v>126.37517917920638</c:v>
                </c:pt>
                <c:pt idx="366">
                  <c:v>125.42884122854096</c:v>
                </c:pt>
                <c:pt idx="367">
                  <c:v>124.73726044334541</c:v>
                </c:pt>
                <c:pt idx="368">
                  <c:v>122.23928151685813</c:v>
                </c:pt>
                <c:pt idx="369">
                  <c:v>123.59051352251035</c:v>
                </c:pt>
                <c:pt idx="370">
                  <c:v>124.58100938185721</c:v>
                </c:pt>
                <c:pt idx="371">
                  <c:v>123.27801139953397</c:v>
                </c:pt>
                <c:pt idx="372">
                  <c:v>122.87447604942969</c:v>
                </c:pt>
                <c:pt idx="373">
                  <c:v>123.06333602809802</c:v>
                </c:pt>
                <c:pt idx="374">
                  <c:v>121.67541899061814</c:v>
                </c:pt>
                <c:pt idx="375">
                  <c:v>123.68698156916827</c:v>
                </c:pt>
                <c:pt idx="376">
                  <c:v>122.04770412842478</c:v>
                </c:pt>
                <c:pt idx="377">
                  <c:v>123.11972228072202</c:v>
                </c:pt>
                <c:pt idx="378">
                  <c:v>125.29025333052535</c:v>
                </c:pt>
                <c:pt idx="379">
                  <c:v>125.48726553848871</c:v>
                </c:pt>
                <c:pt idx="380">
                  <c:v>124.45125306557789</c:v>
                </c:pt>
                <c:pt idx="381">
                  <c:v>122.70259988179268</c:v>
                </c:pt>
                <c:pt idx="382">
                  <c:v>122.90844367149234</c:v>
                </c:pt>
                <c:pt idx="383">
                  <c:v>124.63128146250993</c:v>
                </c:pt>
                <c:pt idx="384">
                  <c:v>126.5253160687233</c:v>
                </c:pt>
                <c:pt idx="385">
                  <c:v>125.82965916888023</c:v>
                </c:pt>
                <c:pt idx="386">
                  <c:v>123.43969728055218</c:v>
                </c:pt>
                <c:pt idx="387">
                  <c:v>120.55516681499195</c:v>
                </c:pt>
                <c:pt idx="388">
                  <c:v>119.96209213377809</c:v>
                </c:pt>
                <c:pt idx="389">
                  <c:v>117.733136774027</c:v>
                </c:pt>
                <c:pt idx="390">
                  <c:v>117.94101862105042</c:v>
                </c:pt>
                <c:pt idx="391">
                  <c:v>118.88395980950958</c:v>
                </c:pt>
                <c:pt idx="392">
                  <c:v>120.01032615710704</c:v>
                </c:pt>
                <c:pt idx="393">
                  <c:v>118.06534011779971</c:v>
                </c:pt>
                <c:pt idx="394">
                  <c:v>114.95390593686098</c:v>
                </c:pt>
                <c:pt idx="395">
                  <c:v>111.73717212752804</c:v>
                </c:pt>
                <c:pt idx="396">
                  <c:v>109.59585323269859</c:v>
                </c:pt>
                <c:pt idx="397">
                  <c:v>113.50892329431586</c:v>
                </c:pt>
                <c:pt idx="398">
                  <c:v>111.44844733999551</c:v>
                </c:pt>
                <c:pt idx="399">
                  <c:v>114.47156570357136</c:v>
                </c:pt>
                <c:pt idx="400">
                  <c:v>115.92266251808776</c:v>
                </c:pt>
                <c:pt idx="401">
                  <c:v>115.85268921663869</c:v>
                </c:pt>
                <c:pt idx="402">
                  <c:v>114.01300280572558</c:v>
                </c:pt>
                <c:pt idx="403">
                  <c:v>115.44439839944565</c:v>
                </c:pt>
                <c:pt idx="404">
                  <c:v>112.83976113968166</c:v>
                </c:pt>
                <c:pt idx="405">
                  <c:v>112.79560323100021</c:v>
                </c:pt>
                <c:pt idx="406">
                  <c:v>114.05784006684829</c:v>
                </c:pt>
                <c:pt idx="407">
                  <c:v>114.96069946127351</c:v>
                </c:pt>
                <c:pt idx="408">
                  <c:v>116.14820752858375</c:v>
                </c:pt>
                <c:pt idx="409">
                  <c:v>116.33095333528081</c:v>
                </c:pt>
                <c:pt idx="410">
                  <c:v>117.42471076569814</c:v>
                </c:pt>
                <c:pt idx="411">
                  <c:v>116.21206665806153</c:v>
                </c:pt>
                <c:pt idx="412">
                  <c:v>117.83096352556743</c:v>
                </c:pt>
                <c:pt idx="413">
                  <c:v>117.38938443875298</c:v>
                </c:pt>
                <c:pt idx="414">
                  <c:v>117.94305667837418</c:v>
                </c:pt>
                <c:pt idx="415">
                  <c:v>117.5857172942751</c:v>
                </c:pt>
                <c:pt idx="416">
                  <c:v>119.04089022343902</c:v>
                </c:pt>
                <c:pt idx="417">
                  <c:v>119.00148778184635</c:v>
                </c:pt>
                <c:pt idx="418">
                  <c:v>118.10134579718613</c:v>
                </c:pt>
                <c:pt idx="419">
                  <c:v>117.61153268704271</c:v>
                </c:pt>
                <c:pt idx="420">
                  <c:v>119.97228242039688</c:v>
                </c:pt>
                <c:pt idx="421">
                  <c:v>118.10406320695114</c:v>
                </c:pt>
                <c:pt idx="422">
                  <c:v>117.78680561688599</c:v>
                </c:pt>
                <c:pt idx="423">
                  <c:v>118.25284139158553</c:v>
                </c:pt>
                <c:pt idx="424">
                  <c:v>117.62511973586777</c:v>
                </c:pt>
                <c:pt idx="425">
                  <c:v>117.25147589317862</c:v>
                </c:pt>
                <c:pt idx="426">
                  <c:v>117.04495275103771</c:v>
                </c:pt>
                <c:pt idx="427">
                  <c:v>116.54087323962798</c:v>
                </c:pt>
                <c:pt idx="428">
                  <c:v>117.2012038125259</c:v>
                </c:pt>
                <c:pt idx="429">
                  <c:v>116.63190646675589</c:v>
                </c:pt>
                <c:pt idx="430">
                  <c:v>117.84794733659875</c:v>
                </c:pt>
                <c:pt idx="431">
                  <c:v>119.3751316245355</c:v>
                </c:pt>
                <c:pt idx="432">
                  <c:v>118.38123900298235</c:v>
                </c:pt>
                <c:pt idx="433">
                  <c:v>116.07551681736969</c:v>
                </c:pt>
                <c:pt idx="434">
                  <c:v>115.83638475804862</c:v>
                </c:pt>
                <c:pt idx="435">
                  <c:v>115.31735949293133</c:v>
                </c:pt>
                <c:pt idx="436">
                  <c:v>112.93351177657456</c:v>
                </c:pt>
                <c:pt idx="437">
                  <c:v>112.33092616118316</c:v>
                </c:pt>
                <c:pt idx="438">
                  <c:v>112.69302101237101</c:v>
                </c:pt>
                <c:pt idx="439">
                  <c:v>110.14748741499602</c:v>
                </c:pt>
                <c:pt idx="440">
                  <c:v>108.42261156665467</c:v>
                </c:pt>
                <c:pt idx="441">
                  <c:v>109.44911310538794</c:v>
                </c:pt>
                <c:pt idx="442">
                  <c:v>111.46339309370308</c:v>
                </c:pt>
                <c:pt idx="443">
                  <c:v>111.97630418684909</c:v>
                </c:pt>
                <c:pt idx="444">
                  <c:v>110.41447292440846</c:v>
                </c:pt>
                <c:pt idx="445">
                  <c:v>110.29354818986542</c:v>
                </c:pt>
                <c:pt idx="446">
                  <c:v>111.18349988790685</c:v>
                </c:pt>
                <c:pt idx="447">
                  <c:v>111.24871772226713</c:v>
                </c:pt>
                <c:pt idx="448">
                  <c:v>109.75278364662803</c:v>
                </c:pt>
                <c:pt idx="449">
                  <c:v>109.60400546199362</c:v>
                </c:pt>
                <c:pt idx="450">
                  <c:v>108.31527388093669</c:v>
                </c:pt>
                <c:pt idx="451">
                  <c:v>108.36079049450065</c:v>
                </c:pt>
                <c:pt idx="452">
                  <c:v>107.83225429520581</c:v>
                </c:pt>
                <c:pt idx="453">
                  <c:v>111.39341979225402</c:v>
                </c:pt>
                <c:pt idx="454">
                  <c:v>110.45727212820739</c:v>
                </c:pt>
                <c:pt idx="455">
                  <c:v>113.64071766791893</c:v>
                </c:pt>
                <c:pt idx="456">
                  <c:v>113.22019850678333</c:v>
                </c:pt>
                <c:pt idx="457">
                  <c:v>112.98718061943356</c:v>
                </c:pt>
                <c:pt idx="458">
                  <c:v>111.86896650113113</c:v>
                </c:pt>
                <c:pt idx="459">
                  <c:v>112.54492218017785</c:v>
                </c:pt>
                <c:pt idx="460">
                  <c:v>113.24193778490343</c:v>
                </c:pt>
                <c:pt idx="461">
                  <c:v>111.72358507870298</c:v>
                </c:pt>
                <c:pt idx="462">
                  <c:v>113.17536124566064</c:v>
                </c:pt>
                <c:pt idx="463">
                  <c:v>112.24532775358529</c:v>
                </c:pt>
                <c:pt idx="464">
                  <c:v>113.40226496103914</c:v>
                </c:pt>
                <c:pt idx="465">
                  <c:v>110.44979925135361</c:v>
                </c:pt>
                <c:pt idx="466">
                  <c:v>111.21678815752824</c:v>
                </c:pt>
                <c:pt idx="467">
                  <c:v>113.32889489738382</c:v>
                </c:pt>
                <c:pt idx="468">
                  <c:v>113.58569012017745</c:v>
                </c:pt>
                <c:pt idx="469">
                  <c:v>115.49059436545085</c:v>
                </c:pt>
                <c:pt idx="470">
                  <c:v>115.48855630812709</c:v>
                </c:pt>
                <c:pt idx="471">
                  <c:v>115.27116352692613</c:v>
                </c:pt>
                <c:pt idx="472">
                  <c:v>115.20866310233086</c:v>
                </c:pt>
                <c:pt idx="473">
                  <c:v>116.01369574521566</c:v>
                </c:pt>
                <c:pt idx="474">
                  <c:v>114.62374065041203</c:v>
                </c:pt>
                <c:pt idx="475">
                  <c:v>115.87035238011127</c:v>
                </c:pt>
                <c:pt idx="476">
                  <c:v>114.78474717898899</c:v>
                </c:pt>
                <c:pt idx="477">
                  <c:v>114.87510105367564</c:v>
                </c:pt>
                <c:pt idx="478">
                  <c:v>115.26776676471987</c:v>
                </c:pt>
                <c:pt idx="479">
                  <c:v>115.71070455641683</c:v>
                </c:pt>
                <c:pt idx="480">
                  <c:v>114.71137711533366</c:v>
                </c:pt>
                <c:pt idx="481">
                  <c:v>114.41110333629983</c:v>
                </c:pt>
                <c:pt idx="482">
                  <c:v>116.07891357957595</c:v>
                </c:pt>
                <c:pt idx="483">
                  <c:v>115.00825413216123</c:v>
                </c:pt>
                <c:pt idx="484">
                  <c:v>113.19302440913322</c:v>
                </c:pt>
                <c:pt idx="485">
                  <c:v>111.91244505737131</c:v>
                </c:pt>
                <c:pt idx="486">
                  <c:v>113.26231835814102</c:v>
                </c:pt>
                <c:pt idx="487">
                  <c:v>114.00620928131305</c:v>
                </c:pt>
                <c:pt idx="488">
                  <c:v>115.24874489636478</c:v>
                </c:pt>
                <c:pt idx="489">
                  <c:v>115.38325667973288</c:v>
                </c:pt>
                <c:pt idx="490">
                  <c:v>115.79358555424969</c:v>
                </c:pt>
                <c:pt idx="491">
                  <c:v>115.13393433379302</c:v>
                </c:pt>
                <c:pt idx="492">
                  <c:v>115.65635636111658</c:v>
                </c:pt>
                <c:pt idx="493">
                  <c:v>115.91111352658646</c:v>
                </c:pt>
                <c:pt idx="494">
                  <c:v>114.41789686071237</c:v>
                </c:pt>
                <c:pt idx="495">
                  <c:v>113.49805365525582</c:v>
                </c:pt>
                <c:pt idx="496">
                  <c:v>114.39887499235728</c:v>
                </c:pt>
                <c:pt idx="497">
                  <c:v>115.01097154192624</c:v>
                </c:pt>
                <c:pt idx="498">
                  <c:v>114.94167759291842</c:v>
                </c:pt>
                <c:pt idx="499">
                  <c:v>116.27252902533306</c:v>
                </c:pt>
                <c:pt idx="500">
                  <c:v>115.71206326129933</c:v>
                </c:pt>
                <c:pt idx="501">
                  <c:v>115.23176108533346</c:v>
                </c:pt>
                <c:pt idx="502">
                  <c:v>115.16178778388441</c:v>
                </c:pt>
                <c:pt idx="503">
                  <c:v>115.51912716798348</c:v>
                </c:pt>
                <c:pt idx="504">
                  <c:v>115.77456368589461</c:v>
                </c:pt>
                <c:pt idx="505">
                  <c:v>115.67809563923667</c:v>
                </c:pt>
                <c:pt idx="506">
                  <c:v>116.97973491667742</c:v>
                </c:pt>
                <c:pt idx="507">
                  <c:v>119.76711798313848</c:v>
                </c:pt>
                <c:pt idx="508">
                  <c:v>121.21685609277237</c:v>
                </c:pt>
                <c:pt idx="509">
                  <c:v>121.43968369350335</c:v>
                </c:pt>
                <c:pt idx="510">
                  <c:v>120.31875216543591</c:v>
                </c:pt>
                <c:pt idx="511">
                  <c:v>119.78478114661105</c:v>
                </c:pt>
                <c:pt idx="512">
                  <c:v>119.9417115605405</c:v>
                </c:pt>
                <c:pt idx="513">
                  <c:v>120.96685439439126</c:v>
                </c:pt>
                <c:pt idx="514">
                  <c:v>120.52935142222434</c:v>
                </c:pt>
                <c:pt idx="515">
                  <c:v>121.81264818375125</c:v>
                </c:pt>
                <c:pt idx="516">
                  <c:v>121.8826214852003</c:v>
                </c:pt>
                <c:pt idx="517">
                  <c:v>123.1387441490771</c:v>
                </c:pt>
                <c:pt idx="518">
                  <c:v>122.38805970149254</c:v>
                </c:pt>
                <c:pt idx="519">
                  <c:v>122.34050503060483</c:v>
                </c:pt>
                <c:pt idx="520">
                  <c:v>121.74946840671471</c:v>
                </c:pt>
                <c:pt idx="521">
                  <c:v>120.48383480866039</c:v>
                </c:pt>
                <c:pt idx="522">
                  <c:v>119.64143778150667</c:v>
                </c:pt>
                <c:pt idx="523">
                  <c:v>120.10271808911746</c:v>
                </c:pt>
                <c:pt idx="524">
                  <c:v>117.06737138159906</c:v>
                </c:pt>
                <c:pt idx="525">
                  <c:v>116.5204926663904</c:v>
                </c:pt>
                <c:pt idx="526">
                  <c:v>115.45051257141692</c:v>
                </c:pt>
                <c:pt idx="527">
                  <c:v>117.09318677436667</c:v>
                </c:pt>
                <c:pt idx="528">
                  <c:v>116.96750657273486</c:v>
                </c:pt>
                <c:pt idx="529">
                  <c:v>117.789523026651</c:v>
                </c:pt>
                <c:pt idx="530">
                  <c:v>116.67130890834856</c:v>
                </c:pt>
                <c:pt idx="531">
                  <c:v>117.23041596749978</c:v>
                </c:pt>
                <c:pt idx="532">
                  <c:v>116.70323847308745</c:v>
                </c:pt>
                <c:pt idx="533">
                  <c:v>115.20051087303582</c:v>
                </c:pt>
                <c:pt idx="534">
                  <c:v>114.40363045944605</c:v>
                </c:pt>
                <c:pt idx="535">
                  <c:v>116.21750147759155</c:v>
                </c:pt>
                <c:pt idx="536">
                  <c:v>114.38596729597347</c:v>
                </c:pt>
                <c:pt idx="537">
                  <c:v>115.12917886670425</c:v>
                </c:pt>
                <c:pt idx="538">
                  <c:v>115.2630112976311</c:v>
                </c:pt>
                <c:pt idx="539">
                  <c:v>115.43149070306184</c:v>
                </c:pt>
                <c:pt idx="540">
                  <c:v>115.96410301700419</c:v>
                </c:pt>
                <c:pt idx="541">
                  <c:v>115.88733619114261</c:v>
                </c:pt>
                <c:pt idx="542">
                  <c:v>115.74059606383196</c:v>
                </c:pt>
                <c:pt idx="543">
                  <c:v>115.94440179620786</c:v>
                </c:pt>
                <c:pt idx="544">
                  <c:v>115.99059776221306</c:v>
                </c:pt>
                <c:pt idx="545">
                  <c:v>112.74261374058247</c:v>
                </c:pt>
                <c:pt idx="546">
                  <c:v>111.36556634216265</c:v>
                </c:pt>
                <c:pt idx="547">
                  <c:v>111.13594521701914</c:v>
                </c:pt>
                <c:pt idx="548">
                  <c:v>112.58975944130056</c:v>
                </c:pt>
                <c:pt idx="549">
                  <c:v>113.3044382094987</c:v>
                </c:pt>
                <c:pt idx="550">
                  <c:v>112.44369866643116</c:v>
                </c:pt>
                <c:pt idx="551">
                  <c:v>112.04288072609189</c:v>
                </c:pt>
                <c:pt idx="552">
                  <c:v>111.12303752063534</c:v>
                </c:pt>
                <c:pt idx="553">
                  <c:v>110.30034171427795</c:v>
                </c:pt>
                <c:pt idx="554">
                  <c:v>108.59244967696792</c:v>
                </c:pt>
                <c:pt idx="555">
                  <c:v>108.46744882777736</c:v>
                </c:pt>
                <c:pt idx="556">
                  <c:v>105.88658890345722</c:v>
                </c:pt>
                <c:pt idx="557">
                  <c:v>108.09244628020571</c:v>
                </c:pt>
                <c:pt idx="558">
                  <c:v>110.23240647015265</c:v>
                </c:pt>
                <c:pt idx="559">
                  <c:v>110.82208438916025</c:v>
                </c:pt>
                <c:pt idx="560">
                  <c:v>111.71135673476043</c:v>
                </c:pt>
                <c:pt idx="561">
                  <c:v>112.01910339064803</c:v>
                </c:pt>
                <c:pt idx="562">
                  <c:v>112.02046209553053</c:v>
                </c:pt>
                <c:pt idx="563">
                  <c:v>113.78406103302332</c:v>
                </c:pt>
                <c:pt idx="564">
                  <c:v>112.2378548767315</c:v>
                </c:pt>
                <c:pt idx="565">
                  <c:v>112.89614739230565</c:v>
                </c:pt>
                <c:pt idx="566">
                  <c:v>113.40973783789292</c:v>
                </c:pt>
                <c:pt idx="567">
                  <c:v>112.1481803544861</c:v>
                </c:pt>
                <c:pt idx="568">
                  <c:v>112.48445981290634</c:v>
                </c:pt>
                <c:pt idx="569">
                  <c:v>111.70524256278915</c:v>
                </c:pt>
                <c:pt idx="570">
                  <c:v>112.5686995156217</c:v>
                </c:pt>
                <c:pt idx="571">
                  <c:v>113.64071766791893</c:v>
                </c:pt>
                <c:pt idx="572">
                  <c:v>113.61286421782756</c:v>
                </c:pt>
                <c:pt idx="573">
                  <c:v>114.56735439778802</c:v>
                </c:pt>
                <c:pt idx="574">
                  <c:v>116.84386442842683</c:v>
                </c:pt>
                <c:pt idx="575">
                  <c:v>115.55105673272237</c:v>
                </c:pt>
                <c:pt idx="576">
                  <c:v>115.88529813381885</c:v>
                </c:pt>
                <c:pt idx="577">
                  <c:v>115.66247053308786</c:v>
                </c:pt>
                <c:pt idx="578">
                  <c:v>116.12918566022867</c:v>
                </c:pt>
                <c:pt idx="579">
                  <c:v>117.27117711397496</c:v>
                </c:pt>
                <c:pt idx="580">
                  <c:v>118.62444717695092</c:v>
                </c:pt>
                <c:pt idx="581">
                  <c:v>118.94646023410485</c:v>
                </c:pt>
                <c:pt idx="582">
                  <c:v>118.75963831276027</c:v>
                </c:pt>
                <c:pt idx="583">
                  <c:v>120.31875216543591</c:v>
                </c:pt>
                <c:pt idx="584">
                  <c:v>123.0939068879544</c:v>
                </c:pt>
                <c:pt idx="585">
                  <c:v>122.80246469065686</c:v>
                </c:pt>
                <c:pt idx="586">
                  <c:v>121.20666580615358</c:v>
                </c:pt>
                <c:pt idx="587">
                  <c:v>122.50898443603558</c:v>
                </c:pt>
                <c:pt idx="588">
                  <c:v>123.83372169647892</c:v>
                </c:pt>
                <c:pt idx="589">
                  <c:v>124.7359017384629</c:v>
                </c:pt>
                <c:pt idx="590">
                  <c:v>125.27666628170029</c:v>
                </c:pt>
                <c:pt idx="591">
                  <c:v>126.04909000740494</c:v>
                </c:pt>
                <c:pt idx="592">
                  <c:v>127.44991474126863</c:v>
                </c:pt>
                <c:pt idx="593">
                  <c:v>130.07697063159395</c:v>
                </c:pt>
                <c:pt idx="594">
                  <c:v>128.86908199104613</c:v>
                </c:pt>
                <c:pt idx="595">
                  <c:v>128.25902349880093</c:v>
                </c:pt>
                <c:pt idx="596">
                  <c:v>128.84326659827852</c:v>
                </c:pt>
                <c:pt idx="597">
                  <c:v>130.1747973831344</c:v>
                </c:pt>
                <c:pt idx="598">
                  <c:v>130.52466389037968</c:v>
                </c:pt>
                <c:pt idx="599">
                  <c:v>131.0144770005231</c:v>
                </c:pt>
                <c:pt idx="600">
                  <c:v>131.38404472856473</c:v>
                </c:pt>
                <c:pt idx="601">
                  <c:v>133.09261611831602</c:v>
                </c:pt>
                <c:pt idx="602">
                  <c:v>131.69722620398235</c:v>
                </c:pt>
                <c:pt idx="603">
                  <c:v>132.95810433494793</c:v>
                </c:pt>
                <c:pt idx="604">
                  <c:v>130.80116033396965</c:v>
                </c:pt>
                <c:pt idx="605">
                  <c:v>132.0797016284078</c:v>
                </c:pt>
                <c:pt idx="606">
                  <c:v>133.03622986569201</c:v>
                </c:pt>
                <c:pt idx="607">
                  <c:v>133.22780725412537</c:v>
                </c:pt>
                <c:pt idx="608">
                  <c:v>132.80864679787226</c:v>
                </c:pt>
                <c:pt idx="609">
                  <c:v>134.47509833626586</c:v>
                </c:pt>
                <c:pt idx="610">
                  <c:v>136.47579127575594</c:v>
                </c:pt>
                <c:pt idx="611">
                  <c:v>135.58244281550824</c:v>
                </c:pt>
                <c:pt idx="612">
                  <c:v>137.93028485247862</c:v>
                </c:pt>
                <c:pt idx="613">
                  <c:v>136.63815650921541</c:v>
                </c:pt>
                <c:pt idx="614">
                  <c:v>136.47918803796222</c:v>
                </c:pt>
                <c:pt idx="615">
                  <c:v>138.97648761200824</c:v>
                </c:pt>
                <c:pt idx="616">
                  <c:v>140.14157704875711</c:v>
                </c:pt>
                <c:pt idx="617">
                  <c:v>138.72988267583341</c:v>
                </c:pt>
                <c:pt idx="618">
                  <c:v>138.13069382264825</c:v>
                </c:pt>
                <c:pt idx="619">
                  <c:v>139.97038023356137</c:v>
                </c:pt>
                <c:pt idx="620">
                  <c:v>141.01182752600221</c:v>
                </c:pt>
                <c:pt idx="621">
                  <c:v>140.96019674046698</c:v>
                </c:pt>
                <c:pt idx="622">
                  <c:v>142.31822227053172</c:v>
                </c:pt>
                <c:pt idx="623">
                  <c:v>143.56551335267224</c:v>
                </c:pt>
                <c:pt idx="624">
                  <c:v>142.19458012622368</c:v>
                </c:pt>
                <c:pt idx="625">
                  <c:v>141.11780650683767</c:v>
                </c:pt>
                <c:pt idx="626">
                  <c:v>140.3718775263419</c:v>
                </c:pt>
                <c:pt idx="627">
                  <c:v>138.45066882247841</c:v>
                </c:pt>
                <c:pt idx="628">
                  <c:v>136.74005937540338</c:v>
                </c:pt>
                <c:pt idx="629">
                  <c:v>137.68435926874503</c:v>
                </c:pt>
                <c:pt idx="630">
                  <c:v>136.43706818660453</c:v>
                </c:pt>
                <c:pt idx="631">
                  <c:v>137.12661091447632</c:v>
                </c:pt>
                <c:pt idx="632">
                  <c:v>137.70406048954138</c:v>
                </c:pt>
                <c:pt idx="633">
                  <c:v>136.84196224159132</c:v>
                </c:pt>
                <c:pt idx="634">
                  <c:v>138.03898124307909</c:v>
                </c:pt>
                <c:pt idx="635">
                  <c:v>138.55936521307891</c:v>
                </c:pt>
                <c:pt idx="636">
                  <c:v>138.30800480981529</c:v>
                </c:pt>
                <c:pt idx="637">
                  <c:v>139.19863586029794</c:v>
                </c:pt>
                <c:pt idx="638">
                  <c:v>138.87390539337903</c:v>
                </c:pt>
                <c:pt idx="639">
                  <c:v>138.68708347203446</c:v>
                </c:pt>
                <c:pt idx="640">
                  <c:v>138.17621043621222</c:v>
                </c:pt>
                <c:pt idx="641">
                  <c:v>138.42213601994578</c:v>
                </c:pt>
                <c:pt idx="642">
                  <c:v>139.25026664583319</c:v>
                </c:pt>
                <c:pt idx="643">
                  <c:v>137.38000937506368</c:v>
                </c:pt>
                <c:pt idx="644">
                  <c:v>137.18027975733531</c:v>
                </c:pt>
                <c:pt idx="645">
                  <c:v>137.06139308011603</c:v>
                </c:pt>
                <c:pt idx="646">
                  <c:v>137.97444276116005</c:v>
                </c:pt>
                <c:pt idx="647">
                  <c:v>138.34740725140796</c:v>
                </c:pt>
                <c:pt idx="648">
                  <c:v>138.30460804760901</c:v>
                </c:pt>
                <c:pt idx="649">
                  <c:v>139.91874944802615</c:v>
                </c:pt>
                <c:pt idx="650">
                  <c:v>141.63886982927872</c:v>
                </c:pt>
                <c:pt idx="651">
                  <c:v>141.2808510927384</c:v>
                </c:pt>
                <c:pt idx="652">
                  <c:v>142.02202460614544</c:v>
                </c:pt>
                <c:pt idx="653">
                  <c:v>140.74688007391356</c:v>
                </c:pt>
                <c:pt idx="654">
                  <c:v>140.51250348168125</c:v>
                </c:pt>
                <c:pt idx="655">
                  <c:v>139.6055679726085</c:v>
                </c:pt>
                <c:pt idx="656">
                  <c:v>139.47377359900543</c:v>
                </c:pt>
                <c:pt idx="657">
                  <c:v>139.70135666682518</c:v>
                </c:pt>
                <c:pt idx="658">
                  <c:v>140.6796241822295</c:v>
                </c:pt>
                <c:pt idx="659">
                  <c:v>138.89632402394037</c:v>
                </c:pt>
                <c:pt idx="660">
                  <c:v>139.61847566899232</c:v>
                </c:pt>
                <c:pt idx="661">
                  <c:v>138.8671118689665</c:v>
                </c:pt>
                <c:pt idx="662">
                  <c:v>139.22037513841806</c:v>
                </c:pt>
                <c:pt idx="663">
                  <c:v>138.90787301544168</c:v>
                </c:pt>
                <c:pt idx="664">
                  <c:v>140.32364350301296</c:v>
                </c:pt>
                <c:pt idx="665">
                  <c:v>141.36033532836501</c:v>
                </c:pt>
                <c:pt idx="666">
                  <c:v>141.5743313473597</c:v>
                </c:pt>
                <c:pt idx="667">
                  <c:v>141.17011664481419</c:v>
                </c:pt>
                <c:pt idx="668">
                  <c:v>142.10354689909579</c:v>
                </c:pt>
                <c:pt idx="669">
                  <c:v>142.10422625153706</c:v>
                </c:pt>
                <c:pt idx="670">
                  <c:v>140.97242508440954</c:v>
                </c:pt>
                <c:pt idx="671">
                  <c:v>140.27201271747771</c:v>
                </c:pt>
                <c:pt idx="672">
                  <c:v>139.04985767566356</c:v>
                </c:pt>
                <c:pt idx="673">
                  <c:v>137.70745725174763</c:v>
                </c:pt>
                <c:pt idx="674">
                  <c:v>138.60691988396661</c:v>
                </c:pt>
                <c:pt idx="675">
                  <c:v>138.72784461850964</c:v>
                </c:pt>
                <c:pt idx="676">
                  <c:v>139.42961569032397</c:v>
                </c:pt>
                <c:pt idx="677">
                  <c:v>140.33587184695548</c:v>
                </c:pt>
                <c:pt idx="678">
                  <c:v>138.72173044653834</c:v>
                </c:pt>
                <c:pt idx="679">
                  <c:v>140.58315613557158</c:v>
                </c:pt>
                <c:pt idx="680">
                  <c:v>142.08384567829944</c:v>
                </c:pt>
                <c:pt idx="681">
                  <c:v>143.0702654229988</c:v>
                </c:pt>
                <c:pt idx="682">
                  <c:v>142.84132365029654</c:v>
                </c:pt>
                <c:pt idx="683">
                  <c:v>143.09947757797266</c:v>
                </c:pt>
                <c:pt idx="684">
                  <c:v>142.036970359853</c:v>
                </c:pt>
                <c:pt idx="685">
                  <c:v>142.56278914938284</c:v>
                </c:pt>
                <c:pt idx="686">
                  <c:v>143.02610751431735</c:v>
                </c:pt>
                <c:pt idx="687">
                  <c:v>143.3318161128812</c:v>
                </c:pt>
                <c:pt idx="688">
                  <c:v>142.83724753564903</c:v>
                </c:pt>
                <c:pt idx="689">
                  <c:v>144.54174281075279</c:v>
                </c:pt>
                <c:pt idx="690">
                  <c:v>144.32978484908185</c:v>
                </c:pt>
                <c:pt idx="691">
                  <c:v>145.62327189722757</c:v>
                </c:pt>
                <c:pt idx="692">
                  <c:v>145.01864822451239</c:v>
                </c:pt>
                <c:pt idx="693">
                  <c:v>144.65723272576579</c:v>
                </c:pt>
                <c:pt idx="694">
                  <c:v>145.00981664277612</c:v>
                </c:pt>
                <c:pt idx="695">
                  <c:v>143.93983654780266</c:v>
                </c:pt>
                <c:pt idx="696">
                  <c:v>144.53970475342902</c:v>
                </c:pt>
                <c:pt idx="697">
                  <c:v>145.35153092072636</c:v>
                </c:pt>
                <c:pt idx="698">
                  <c:v>144.05804387258067</c:v>
                </c:pt>
                <c:pt idx="699">
                  <c:v>146.61172969925067</c:v>
                </c:pt>
                <c:pt idx="700">
                  <c:v>147.05534684338889</c:v>
                </c:pt>
                <c:pt idx="701">
                  <c:v>148.00032608917181</c:v>
                </c:pt>
                <c:pt idx="702">
                  <c:v>149.04584949626016</c:v>
                </c:pt>
                <c:pt idx="703">
                  <c:v>148.21636016549024</c:v>
                </c:pt>
                <c:pt idx="704">
                  <c:v>148.84476117364929</c:v>
                </c:pt>
                <c:pt idx="705">
                  <c:v>149.75916955957581</c:v>
                </c:pt>
                <c:pt idx="706">
                  <c:v>149.60495655541138</c:v>
                </c:pt>
                <c:pt idx="707">
                  <c:v>150.5370281048105</c:v>
                </c:pt>
                <c:pt idx="708">
                  <c:v>150.69531722362242</c:v>
                </c:pt>
                <c:pt idx="709">
                  <c:v>151.10496674569799</c:v>
                </c:pt>
                <c:pt idx="710">
                  <c:v>149.98743197983683</c:v>
                </c:pt>
                <c:pt idx="711">
                  <c:v>151.13282019578938</c:v>
                </c:pt>
                <c:pt idx="712">
                  <c:v>150.62670262705589</c:v>
                </c:pt>
                <c:pt idx="713">
                  <c:v>151.30265830610261</c:v>
                </c:pt>
                <c:pt idx="714">
                  <c:v>150.73268160789135</c:v>
                </c:pt>
                <c:pt idx="715">
                  <c:v>151.56352964354377</c:v>
                </c:pt>
                <c:pt idx="716">
                  <c:v>151.78975400648102</c:v>
                </c:pt>
                <c:pt idx="717">
                  <c:v>152.13214763687253</c:v>
                </c:pt>
                <c:pt idx="718">
                  <c:v>152.44804652205517</c:v>
                </c:pt>
                <c:pt idx="719">
                  <c:v>152.80266849638923</c:v>
                </c:pt>
                <c:pt idx="720">
                  <c:v>153.54588006712001</c:v>
                </c:pt>
                <c:pt idx="721">
                  <c:v>153.11177385715936</c:v>
                </c:pt>
                <c:pt idx="722">
                  <c:v>153.15661111828203</c:v>
                </c:pt>
                <c:pt idx="723">
                  <c:v>153.93718707328173</c:v>
                </c:pt>
                <c:pt idx="724">
                  <c:v>153.00919163853018</c:v>
                </c:pt>
                <c:pt idx="725">
                  <c:v>152.94601186149362</c:v>
                </c:pt>
                <c:pt idx="726">
                  <c:v>155.6736119131244</c:v>
                </c:pt>
                <c:pt idx="727">
                  <c:v>154.87061732756334</c:v>
                </c:pt>
                <c:pt idx="728">
                  <c:v>154.55675649970448</c:v>
                </c:pt>
                <c:pt idx="729">
                  <c:v>156.42293765582647</c:v>
                </c:pt>
                <c:pt idx="730">
                  <c:v>157.61859795243174</c:v>
                </c:pt>
                <c:pt idx="731">
                  <c:v>158.65596913022506</c:v>
                </c:pt>
                <c:pt idx="732">
                  <c:v>156.42565506559149</c:v>
                </c:pt>
                <c:pt idx="733">
                  <c:v>158.48409296258805</c:v>
                </c:pt>
                <c:pt idx="734">
                  <c:v>156.9528325600038</c:v>
                </c:pt>
                <c:pt idx="735">
                  <c:v>156.58869965149216</c:v>
                </c:pt>
                <c:pt idx="736">
                  <c:v>157.09209981046067</c:v>
                </c:pt>
                <c:pt idx="737">
                  <c:v>157.19468202908988</c:v>
                </c:pt>
                <c:pt idx="738">
                  <c:v>158.42363059531655</c:v>
                </c:pt>
                <c:pt idx="739">
                  <c:v>159.65733462863199</c:v>
                </c:pt>
                <c:pt idx="740">
                  <c:v>159.78165612538126</c:v>
                </c:pt>
                <c:pt idx="741">
                  <c:v>160.37405145415389</c:v>
                </c:pt>
                <c:pt idx="742">
                  <c:v>161.27826955346163</c:v>
                </c:pt>
                <c:pt idx="743">
                  <c:v>162.65463759944024</c:v>
                </c:pt>
                <c:pt idx="744">
                  <c:v>163.60233425498814</c:v>
                </c:pt>
                <c:pt idx="745">
                  <c:v>163.61320389404818</c:v>
                </c:pt>
                <c:pt idx="746">
                  <c:v>164.75111923314697</c:v>
                </c:pt>
                <c:pt idx="747">
                  <c:v>164.64853701451776</c:v>
                </c:pt>
                <c:pt idx="748">
                  <c:v>166.72056196033941</c:v>
                </c:pt>
                <c:pt idx="749">
                  <c:v>164.78372815032711</c:v>
                </c:pt>
                <c:pt idx="750">
                  <c:v>164.83467958342109</c:v>
                </c:pt>
                <c:pt idx="751">
                  <c:v>166.27966222596621</c:v>
                </c:pt>
                <c:pt idx="752">
                  <c:v>167.41825691750623</c:v>
                </c:pt>
                <c:pt idx="753">
                  <c:v>166.73007289451695</c:v>
                </c:pt>
                <c:pt idx="754">
                  <c:v>167.89923844591334</c:v>
                </c:pt>
                <c:pt idx="755">
                  <c:v>169.0262841459521</c:v>
                </c:pt>
                <c:pt idx="756">
                  <c:v>168.2776377556913</c:v>
                </c:pt>
                <c:pt idx="757">
                  <c:v>167.83469996399435</c:v>
                </c:pt>
                <c:pt idx="758">
                  <c:v>169.0011481056257</c:v>
                </c:pt>
                <c:pt idx="759">
                  <c:v>169.73688679950274</c:v>
                </c:pt>
                <c:pt idx="760">
                  <c:v>171.25184274349689</c:v>
                </c:pt>
                <c:pt idx="761">
                  <c:v>172.08201142670808</c:v>
                </c:pt>
                <c:pt idx="762">
                  <c:v>173.32522639420105</c:v>
                </c:pt>
                <c:pt idx="763">
                  <c:v>175.95432034185018</c:v>
                </c:pt>
                <c:pt idx="764">
                  <c:v>177.58069008620981</c:v>
                </c:pt>
                <c:pt idx="765">
                  <c:v>177.94686105204519</c:v>
                </c:pt>
                <c:pt idx="766">
                  <c:v>175.9502442272026</c:v>
                </c:pt>
                <c:pt idx="767">
                  <c:v>177.60039130700619</c:v>
                </c:pt>
                <c:pt idx="768">
                  <c:v>178.5508053723191</c:v>
                </c:pt>
                <c:pt idx="769">
                  <c:v>178.39115754862465</c:v>
                </c:pt>
                <c:pt idx="770">
                  <c:v>178.35583122167949</c:v>
                </c:pt>
                <c:pt idx="771">
                  <c:v>178.61398514935564</c:v>
                </c:pt>
                <c:pt idx="772">
                  <c:v>177.98150802654908</c:v>
                </c:pt>
                <c:pt idx="773">
                  <c:v>176.48081848382125</c:v>
                </c:pt>
                <c:pt idx="774">
                  <c:v>176.09358759230702</c:v>
                </c:pt>
                <c:pt idx="775">
                  <c:v>178.93599820650957</c:v>
                </c:pt>
                <c:pt idx="776">
                  <c:v>181.26481837512483</c:v>
                </c:pt>
                <c:pt idx="777">
                  <c:v>182.43398392652125</c:v>
                </c:pt>
                <c:pt idx="778">
                  <c:v>182.6384690113384</c:v>
                </c:pt>
                <c:pt idx="779">
                  <c:v>177.85854523468231</c:v>
                </c:pt>
                <c:pt idx="780">
                  <c:v>180.2478277705691</c:v>
                </c:pt>
                <c:pt idx="781">
                  <c:v>177.92580112636637</c:v>
                </c:pt>
                <c:pt idx="782">
                  <c:v>176.47130754964368</c:v>
                </c:pt>
                <c:pt idx="783">
                  <c:v>177.74305531966928</c:v>
                </c:pt>
                <c:pt idx="784">
                  <c:v>177.64319051080511</c:v>
                </c:pt>
                <c:pt idx="785">
                  <c:v>179.17920638047812</c:v>
                </c:pt>
                <c:pt idx="786">
                  <c:v>178.90135123200565</c:v>
                </c:pt>
                <c:pt idx="787">
                  <c:v>179.26208737831098</c:v>
                </c:pt>
                <c:pt idx="788">
                  <c:v>181.43193907567306</c:v>
                </c:pt>
                <c:pt idx="789">
                  <c:v>182.50395722797029</c:v>
                </c:pt>
                <c:pt idx="790">
                  <c:v>183.11605377753924</c:v>
                </c:pt>
                <c:pt idx="791">
                  <c:v>183.53793164355736</c:v>
                </c:pt>
                <c:pt idx="792">
                  <c:v>185.45506423277331</c:v>
                </c:pt>
                <c:pt idx="793">
                  <c:v>184.89256041141584</c:v>
                </c:pt>
                <c:pt idx="794">
                  <c:v>185.45710229009708</c:v>
                </c:pt>
                <c:pt idx="795">
                  <c:v>186.68876826608877</c:v>
                </c:pt>
                <c:pt idx="796">
                  <c:v>187.02980319159778</c:v>
                </c:pt>
                <c:pt idx="797">
                  <c:v>186.58143058037078</c:v>
                </c:pt>
                <c:pt idx="798">
                  <c:v>184.24785494466676</c:v>
                </c:pt>
                <c:pt idx="799">
                  <c:v>184.44486715263011</c:v>
                </c:pt>
                <c:pt idx="800">
                  <c:v>184.82122840508427</c:v>
                </c:pt>
                <c:pt idx="801">
                  <c:v>182.83412251441925</c:v>
                </c:pt>
                <c:pt idx="802">
                  <c:v>181.05489847077766</c:v>
                </c:pt>
                <c:pt idx="803">
                  <c:v>180.89728870440695</c:v>
                </c:pt>
                <c:pt idx="804">
                  <c:v>184.01959252440574</c:v>
                </c:pt>
                <c:pt idx="805">
                  <c:v>181.98425261041174</c:v>
                </c:pt>
                <c:pt idx="806">
                  <c:v>180.48763918233141</c:v>
                </c:pt>
                <c:pt idx="807">
                  <c:v>182.55558801350551</c:v>
                </c:pt>
                <c:pt idx="808">
                  <c:v>185.23019857471857</c:v>
                </c:pt>
                <c:pt idx="809">
                  <c:v>185.03862118628524</c:v>
                </c:pt>
                <c:pt idx="810">
                  <c:v>185.328025326259</c:v>
                </c:pt>
                <c:pt idx="811">
                  <c:v>181.70232134729176</c:v>
                </c:pt>
                <c:pt idx="812">
                  <c:v>178.51140293072643</c:v>
                </c:pt>
                <c:pt idx="813">
                  <c:v>177.58952166794612</c:v>
                </c:pt>
                <c:pt idx="814">
                  <c:v>176.44888891908232</c:v>
                </c:pt>
                <c:pt idx="815">
                  <c:v>177.77158812220193</c:v>
                </c:pt>
                <c:pt idx="816">
                  <c:v>178.94211237848083</c:v>
                </c:pt>
                <c:pt idx="817">
                  <c:v>179.77703652878077</c:v>
                </c:pt>
                <c:pt idx="818">
                  <c:v>179.91630377923764</c:v>
                </c:pt>
                <c:pt idx="819">
                  <c:v>178.40542394989097</c:v>
                </c:pt>
                <c:pt idx="820">
                  <c:v>178.59292522367679</c:v>
                </c:pt>
                <c:pt idx="821">
                  <c:v>176.10173982160202</c:v>
                </c:pt>
                <c:pt idx="822">
                  <c:v>176.03176652015298</c:v>
                </c:pt>
                <c:pt idx="823">
                  <c:v>175.46450723170676</c:v>
                </c:pt>
                <c:pt idx="824">
                  <c:v>177.90813796289376</c:v>
                </c:pt>
                <c:pt idx="825">
                  <c:v>178.29197209220172</c:v>
                </c:pt>
                <c:pt idx="826">
                  <c:v>180.05625038213574</c:v>
                </c:pt>
                <c:pt idx="827">
                  <c:v>182.7858884910903</c:v>
                </c:pt>
                <c:pt idx="828">
                  <c:v>181.83071895868858</c:v>
                </c:pt>
                <c:pt idx="829">
                  <c:v>180.90340287637824</c:v>
                </c:pt>
                <c:pt idx="830">
                  <c:v>181.43125972323182</c:v>
                </c:pt>
                <c:pt idx="831">
                  <c:v>182.29403732362312</c:v>
                </c:pt>
                <c:pt idx="832">
                  <c:v>182.1744712939626</c:v>
                </c:pt>
                <c:pt idx="833">
                  <c:v>180.12078886405479</c:v>
                </c:pt>
                <c:pt idx="834">
                  <c:v>177.75188690140556</c:v>
                </c:pt>
                <c:pt idx="835">
                  <c:v>177.55419534100096</c:v>
                </c:pt>
                <c:pt idx="836">
                  <c:v>179.77907458610451</c:v>
                </c:pt>
                <c:pt idx="837">
                  <c:v>180.26277352427667</c:v>
                </c:pt>
                <c:pt idx="838">
                  <c:v>180.62622708034701</c:v>
                </c:pt>
                <c:pt idx="839">
                  <c:v>178.24781418352026</c:v>
                </c:pt>
                <c:pt idx="840">
                  <c:v>178.69618679474723</c:v>
                </c:pt>
                <c:pt idx="841">
                  <c:v>178.57662076508672</c:v>
                </c:pt>
                <c:pt idx="842">
                  <c:v>179.77092235680948</c:v>
                </c:pt>
                <c:pt idx="843">
                  <c:v>179.87554263276246</c:v>
                </c:pt>
                <c:pt idx="844">
                  <c:v>177.91832824951257</c:v>
                </c:pt>
                <c:pt idx="845">
                  <c:v>177.18734502272432</c:v>
                </c:pt>
                <c:pt idx="846">
                  <c:v>176.14046291075346</c:v>
                </c:pt>
                <c:pt idx="847">
                  <c:v>176.37144274077949</c:v>
                </c:pt>
                <c:pt idx="848">
                  <c:v>179.8619555839374</c:v>
                </c:pt>
                <c:pt idx="849">
                  <c:v>180.87283201652184</c:v>
                </c:pt>
                <c:pt idx="850">
                  <c:v>178.53314220884653</c:v>
                </c:pt>
                <c:pt idx="851">
                  <c:v>176.84563074477407</c:v>
                </c:pt>
                <c:pt idx="852">
                  <c:v>172.19953939904485</c:v>
                </c:pt>
                <c:pt idx="853">
                  <c:v>172.46584555601598</c:v>
                </c:pt>
                <c:pt idx="854">
                  <c:v>172.91014205259543</c:v>
                </c:pt>
                <c:pt idx="855">
                  <c:v>173.49234709474928</c:v>
                </c:pt>
                <c:pt idx="856">
                  <c:v>173.56775521572837</c:v>
                </c:pt>
                <c:pt idx="857">
                  <c:v>173.03446354934479</c:v>
                </c:pt>
                <c:pt idx="858">
                  <c:v>173.25729115007576</c:v>
                </c:pt>
                <c:pt idx="859">
                  <c:v>176.83000563862527</c:v>
                </c:pt>
                <c:pt idx="860">
                  <c:v>174.60580574596293</c:v>
                </c:pt>
                <c:pt idx="861">
                  <c:v>175.85309682810345</c:v>
                </c:pt>
                <c:pt idx="862">
                  <c:v>175.65336721037508</c:v>
                </c:pt>
                <c:pt idx="863">
                  <c:v>176.85582103139291</c:v>
                </c:pt>
                <c:pt idx="864">
                  <c:v>178.03789427917306</c:v>
                </c:pt>
                <c:pt idx="865">
                  <c:v>180.77704332230519</c:v>
                </c:pt>
                <c:pt idx="866">
                  <c:v>180.60992262175694</c:v>
                </c:pt>
                <c:pt idx="867">
                  <c:v>180.60788456443319</c:v>
                </c:pt>
                <c:pt idx="868">
                  <c:v>179.68124783456409</c:v>
                </c:pt>
                <c:pt idx="869">
                  <c:v>181.88370844910631</c:v>
                </c:pt>
                <c:pt idx="870">
                  <c:v>181.88370844910631</c:v>
                </c:pt>
                <c:pt idx="871">
                  <c:v>183.08752097500661</c:v>
                </c:pt>
                <c:pt idx="872">
                  <c:v>184.74106481701642</c:v>
                </c:pt>
                <c:pt idx="873">
                  <c:v>184.19214804448399</c:v>
                </c:pt>
                <c:pt idx="874">
                  <c:v>181.70368005217426</c:v>
                </c:pt>
                <c:pt idx="875">
                  <c:v>182.22814013682159</c:v>
                </c:pt>
                <c:pt idx="876">
                  <c:v>181.1017737892241</c:v>
                </c:pt>
                <c:pt idx="877">
                  <c:v>180.46522055177005</c:v>
                </c:pt>
                <c:pt idx="878">
                  <c:v>181.26549772756607</c:v>
                </c:pt>
                <c:pt idx="879">
                  <c:v>181.53791805650854</c:v>
                </c:pt>
                <c:pt idx="880">
                  <c:v>181.73221285470689</c:v>
                </c:pt>
                <c:pt idx="881">
                  <c:v>183.01347155891006</c:v>
                </c:pt>
                <c:pt idx="882">
                  <c:v>182.84159539127305</c:v>
                </c:pt>
                <c:pt idx="883">
                  <c:v>181.79131651709591</c:v>
                </c:pt>
                <c:pt idx="884">
                  <c:v>182.17107453175632</c:v>
                </c:pt>
                <c:pt idx="885">
                  <c:v>182.66564310898852</c:v>
                </c:pt>
                <c:pt idx="886">
                  <c:v>182.79132331062033</c:v>
                </c:pt>
                <c:pt idx="887">
                  <c:v>184.52571009313922</c:v>
                </c:pt>
                <c:pt idx="888">
                  <c:v>183.08616227012411</c:v>
                </c:pt>
                <c:pt idx="889">
                  <c:v>184.09024517829604</c:v>
                </c:pt>
                <c:pt idx="890">
                  <c:v>182.41767946793118</c:v>
                </c:pt>
                <c:pt idx="891">
                  <c:v>183.30491375620758</c:v>
                </c:pt>
                <c:pt idx="892">
                  <c:v>182.67923015781358</c:v>
                </c:pt>
                <c:pt idx="893">
                  <c:v>182.8089864740929</c:v>
                </c:pt>
                <c:pt idx="894">
                  <c:v>184.27434968987561</c:v>
                </c:pt>
                <c:pt idx="895">
                  <c:v>185.4523468230083</c:v>
                </c:pt>
                <c:pt idx="896">
                  <c:v>184.94215313962729</c:v>
                </c:pt>
                <c:pt idx="897">
                  <c:v>185.13508923294316</c:v>
                </c:pt>
                <c:pt idx="898">
                  <c:v>185.05764305464032</c:v>
                </c:pt>
                <c:pt idx="899">
                  <c:v>184.58005828843946</c:v>
                </c:pt>
                <c:pt idx="900">
                  <c:v>183.23697851208229</c:v>
                </c:pt>
                <c:pt idx="901">
                  <c:v>184.77774984884408</c:v>
                </c:pt>
                <c:pt idx="902">
                  <c:v>184.06918525261722</c:v>
                </c:pt>
                <c:pt idx="903">
                  <c:v>183.2553210279961</c:v>
                </c:pt>
                <c:pt idx="904">
                  <c:v>182.47270701567265</c:v>
                </c:pt>
                <c:pt idx="905">
                  <c:v>181.30082405451125</c:v>
                </c:pt>
                <c:pt idx="906">
                  <c:v>179.84700983022984</c:v>
                </c:pt>
                <c:pt idx="907">
                  <c:v>180.05489167725324</c:v>
                </c:pt>
                <c:pt idx="908">
                  <c:v>180.31915977690065</c:v>
                </c:pt>
                <c:pt idx="909">
                  <c:v>179.93328759026895</c:v>
                </c:pt>
                <c:pt idx="910">
                  <c:v>181.28587830080366</c:v>
                </c:pt>
                <c:pt idx="911">
                  <c:v>181.84974082704366</c:v>
                </c:pt>
                <c:pt idx="912">
                  <c:v>182.0603400838321</c:v>
                </c:pt>
                <c:pt idx="913">
                  <c:v>183.13575499833559</c:v>
                </c:pt>
                <c:pt idx="914">
                  <c:v>181.91359995652144</c:v>
                </c:pt>
                <c:pt idx="915">
                  <c:v>183.36537612347911</c:v>
                </c:pt>
                <c:pt idx="916">
                  <c:v>184.58413440308698</c:v>
                </c:pt>
                <c:pt idx="917">
                  <c:v>183.25260361823109</c:v>
                </c:pt>
                <c:pt idx="918">
                  <c:v>184.57937893599819</c:v>
                </c:pt>
                <c:pt idx="919">
                  <c:v>183.11265701533299</c:v>
                </c:pt>
                <c:pt idx="920">
                  <c:v>183.78997139926221</c:v>
                </c:pt>
                <c:pt idx="921">
                  <c:v>185.12625765120686</c:v>
                </c:pt>
                <c:pt idx="922">
                  <c:v>185.36267230076291</c:v>
                </c:pt>
                <c:pt idx="923">
                  <c:v>185.35248201414413</c:v>
                </c:pt>
                <c:pt idx="924">
                  <c:v>184.9435118445098</c:v>
                </c:pt>
                <c:pt idx="925">
                  <c:v>185.85452346823007</c:v>
                </c:pt>
                <c:pt idx="926">
                  <c:v>185.38577028376551</c:v>
                </c:pt>
                <c:pt idx="927">
                  <c:v>185.73631614345206</c:v>
                </c:pt>
                <c:pt idx="928">
                  <c:v>184.84025027343935</c:v>
                </c:pt>
                <c:pt idx="929">
                  <c:v>185.44215653638952</c:v>
                </c:pt>
                <c:pt idx="930">
                  <c:v>186.12558509229004</c:v>
                </c:pt>
                <c:pt idx="931">
                  <c:v>186.47341354221157</c:v>
                </c:pt>
                <c:pt idx="932">
                  <c:v>186.38102161020115</c:v>
                </c:pt>
                <c:pt idx="933">
                  <c:v>186.79474724692423</c:v>
                </c:pt>
                <c:pt idx="934">
                  <c:v>187.73700908294214</c:v>
                </c:pt>
                <c:pt idx="935">
                  <c:v>188.34502951786357</c:v>
                </c:pt>
                <c:pt idx="936">
                  <c:v>187.41024055869946</c:v>
                </c:pt>
                <c:pt idx="937">
                  <c:v>187.91160266034416</c:v>
                </c:pt>
                <c:pt idx="938">
                  <c:v>187.19216842505725</c:v>
                </c:pt>
                <c:pt idx="939">
                  <c:v>188.17247399778532</c:v>
                </c:pt>
                <c:pt idx="940">
                  <c:v>188.51690568550057</c:v>
                </c:pt>
                <c:pt idx="941">
                  <c:v>190.72887723422033</c:v>
                </c:pt>
                <c:pt idx="942">
                  <c:v>190.90279145918112</c:v>
                </c:pt>
                <c:pt idx="943">
                  <c:v>190.81855175646572</c:v>
                </c:pt>
                <c:pt idx="944">
                  <c:v>188.12831608910386</c:v>
                </c:pt>
                <c:pt idx="945">
                  <c:v>188.74041263867281</c:v>
                </c:pt>
                <c:pt idx="946">
                  <c:v>189.37424846636188</c:v>
                </c:pt>
                <c:pt idx="947">
                  <c:v>188.87424506959965</c:v>
                </c:pt>
                <c:pt idx="948">
                  <c:v>190.47547877363297</c:v>
                </c:pt>
                <c:pt idx="949">
                  <c:v>190.06039443202738</c:v>
                </c:pt>
                <c:pt idx="950">
                  <c:v>190.12561226638769</c:v>
                </c:pt>
                <c:pt idx="951">
                  <c:v>190.43675568448154</c:v>
                </c:pt>
                <c:pt idx="952">
                  <c:v>190.42656539786276</c:v>
                </c:pt>
                <c:pt idx="953">
                  <c:v>191.47140945250987</c:v>
                </c:pt>
                <c:pt idx="954">
                  <c:v>192.7268527639454</c:v>
                </c:pt>
                <c:pt idx="955">
                  <c:v>193.28528047065538</c:v>
                </c:pt>
                <c:pt idx="956">
                  <c:v>195.23434262461021</c:v>
                </c:pt>
                <c:pt idx="957">
                  <c:v>194.38107595839645</c:v>
                </c:pt>
                <c:pt idx="958">
                  <c:v>195.71056868592856</c:v>
                </c:pt>
                <c:pt idx="959">
                  <c:v>196.0814951188527</c:v>
                </c:pt>
                <c:pt idx="960">
                  <c:v>195.69630228466227</c:v>
                </c:pt>
                <c:pt idx="961">
                  <c:v>197.51968423698531</c:v>
                </c:pt>
                <c:pt idx="962">
                  <c:v>197.51017330280777</c:v>
                </c:pt>
                <c:pt idx="963">
                  <c:v>195.55092086223411</c:v>
                </c:pt>
                <c:pt idx="964">
                  <c:v>195.80160191305649</c:v>
                </c:pt>
                <c:pt idx="965">
                  <c:v>196.87158200802995</c:v>
                </c:pt>
                <c:pt idx="966">
                  <c:v>198.42797845094057</c:v>
                </c:pt>
                <c:pt idx="967">
                  <c:v>198.49183758041835</c:v>
                </c:pt>
                <c:pt idx="968">
                  <c:v>200.25271910814612</c:v>
                </c:pt>
                <c:pt idx="969">
                  <c:v>200.24117011664481</c:v>
                </c:pt>
                <c:pt idx="970">
                  <c:v>201.05503434126589</c:v>
                </c:pt>
                <c:pt idx="971">
                  <c:v>201.358704882506</c:v>
                </c:pt>
                <c:pt idx="972">
                  <c:v>200.91848450057404</c:v>
                </c:pt>
                <c:pt idx="973">
                  <c:v>201.76563699481653</c:v>
                </c:pt>
                <c:pt idx="974">
                  <c:v>203.99119559236135</c:v>
                </c:pt>
                <c:pt idx="975">
                  <c:v>203.88997207861468</c:v>
                </c:pt>
                <c:pt idx="976">
                  <c:v>203.58833959469834</c:v>
                </c:pt>
                <c:pt idx="977">
                  <c:v>205.2914761649196</c:v>
                </c:pt>
                <c:pt idx="978">
                  <c:v>206.81594304309132</c:v>
                </c:pt>
                <c:pt idx="979">
                  <c:v>208.8859299315892</c:v>
                </c:pt>
                <c:pt idx="980">
                  <c:v>210.80102446348141</c:v>
                </c:pt>
                <c:pt idx="981">
                  <c:v>211.44776798755427</c:v>
                </c:pt>
                <c:pt idx="982">
                  <c:v>212.08092446280205</c:v>
                </c:pt>
                <c:pt idx="983">
                  <c:v>211.16991283908177</c:v>
                </c:pt>
                <c:pt idx="984">
                  <c:v>210.65632239349452</c:v>
                </c:pt>
                <c:pt idx="985">
                  <c:v>210.77452971827253</c:v>
                </c:pt>
                <c:pt idx="986">
                  <c:v>211.03472170327245</c:v>
                </c:pt>
                <c:pt idx="987">
                  <c:v>212.42807356028234</c:v>
                </c:pt>
                <c:pt idx="988">
                  <c:v>211.22222297705827</c:v>
                </c:pt>
                <c:pt idx="989">
                  <c:v>213.84859951494235</c:v>
                </c:pt>
                <c:pt idx="990">
                  <c:v>213.08568672341525</c:v>
                </c:pt>
                <c:pt idx="991">
                  <c:v>213.70865291204424</c:v>
                </c:pt>
                <c:pt idx="992">
                  <c:v>213.18215477007317</c:v>
                </c:pt>
                <c:pt idx="993">
                  <c:v>215.06939585187399</c:v>
                </c:pt>
                <c:pt idx="994">
                  <c:v>216.13462047975869</c:v>
                </c:pt>
                <c:pt idx="995">
                  <c:v>219.70869367319071</c:v>
                </c:pt>
                <c:pt idx="996">
                  <c:v>220.36970359852987</c:v>
                </c:pt>
                <c:pt idx="997">
                  <c:v>220.85340253670202</c:v>
                </c:pt>
                <c:pt idx="998">
                  <c:v>221.10272488264187</c:v>
                </c:pt>
                <c:pt idx="999">
                  <c:v>223.95804319322821</c:v>
                </c:pt>
                <c:pt idx="1000">
                  <c:v>225.46212949816234</c:v>
                </c:pt>
                <c:pt idx="1001">
                  <c:v>226.78346999639942</c:v>
                </c:pt>
                <c:pt idx="1002">
                  <c:v>227.0946134144933</c:v>
                </c:pt>
                <c:pt idx="1003">
                  <c:v>228.54231346680345</c:v>
                </c:pt>
                <c:pt idx="1004">
                  <c:v>225.71960407339725</c:v>
                </c:pt>
                <c:pt idx="1005">
                  <c:v>224.20804489160932</c:v>
                </c:pt>
                <c:pt idx="1006">
                  <c:v>224.80179892526445</c:v>
                </c:pt>
                <c:pt idx="1007">
                  <c:v>229.39558013301721</c:v>
                </c:pt>
                <c:pt idx="1008">
                  <c:v>229.14557843463609</c:v>
                </c:pt>
                <c:pt idx="1009">
                  <c:v>232.84669053458242</c:v>
                </c:pt>
                <c:pt idx="1010">
                  <c:v>231.65646505750718</c:v>
                </c:pt>
                <c:pt idx="1011">
                  <c:v>230.29708082255993</c:v>
                </c:pt>
                <c:pt idx="1012">
                  <c:v>234.8011875080673</c:v>
                </c:pt>
                <c:pt idx="1013">
                  <c:v>233.25973681886427</c:v>
                </c:pt>
                <c:pt idx="1014">
                  <c:v>234.57971861221884</c:v>
                </c:pt>
                <c:pt idx="1015">
                  <c:v>236.53693299546873</c:v>
                </c:pt>
                <c:pt idx="1016">
                  <c:v>237.62321754903226</c:v>
                </c:pt>
                <c:pt idx="1017">
                  <c:v>238.80393209192997</c:v>
                </c:pt>
                <c:pt idx="1018">
                  <c:v>238.26384690113383</c:v>
                </c:pt>
                <c:pt idx="1019">
                  <c:v>238.22648251686493</c:v>
                </c:pt>
                <c:pt idx="1020">
                  <c:v>239.00705847186461</c:v>
                </c:pt>
                <c:pt idx="1021">
                  <c:v>238.46085910909721</c:v>
                </c:pt>
                <c:pt idx="1022">
                  <c:v>237.6007989184709</c:v>
                </c:pt>
                <c:pt idx="1023">
                  <c:v>238.00433426857521</c:v>
                </c:pt>
                <c:pt idx="1024">
                  <c:v>237.0084035896983</c:v>
                </c:pt>
                <c:pt idx="1025">
                  <c:v>236.41532890848444</c:v>
                </c:pt>
                <c:pt idx="1026">
                  <c:v>236.4751119233147</c:v>
                </c:pt>
                <c:pt idx="1027">
                  <c:v>236.94658251754427</c:v>
                </c:pt>
                <c:pt idx="1028">
                  <c:v>236.26790942873254</c:v>
                </c:pt>
                <c:pt idx="1029">
                  <c:v>236.68910794230939</c:v>
                </c:pt>
                <c:pt idx="1030">
                  <c:v>236.14902275151326</c:v>
                </c:pt>
                <c:pt idx="1031">
                  <c:v>235.24480465220552</c:v>
                </c:pt>
                <c:pt idx="1032">
                  <c:v>235.02877057588705</c:v>
                </c:pt>
                <c:pt idx="1033">
                  <c:v>234.46626675452958</c:v>
                </c:pt>
                <c:pt idx="1034">
                  <c:v>235.66464446089986</c:v>
                </c:pt>
                <c:pt idx="1035">
                  <c:v>233.62386972737588</c:v>
                </c:pt>
                <c:pt idx="1036">
                  <c:v>233.82971351707553</c:v>
                </c:pt>
                <c:pt idx="1037">
                  <c:v>233.69791914347243</c:v>
                </c:pt>
                <c:pt idx="1038">
                  <c:v>234.28555900515627</c:v>
                </c:pt>
                <c:pt idx="1039">
                  <c:v>235.2332556607042</c:v>
                </c:pt>
                <c:pt idx="1040">
                  <c:v>234.57292508780631</c:v>
                </c:pt>
                <c:pt idx="1041">
                  <c:v>233.19791574671024</c:v>
                </c:pt>
                <c:pt idx="1042">
                  <c:v>236.10146808062555</c:v>
                </c:pt>
                <c:pt idx="1043">
                  <c:v>237.42688469351015</c:v>
                </c:pt>
                <c:pt idx="1044">
                  <c:v>238.8813782702328</c:v>
                </c:pt>
                <c:pt idx="1045">
                  <c:v>237.64359812226985</c:v>
                </c:pt>
                <c:pt idx="1046">
                  <c:v>239.86372190028465</c:v>
                </c:pt>
                <c:pt idx="1047">
                  <c:v>237.80052853619929</c:v>
                </c:pt>
                <c:pt idx="1048">
                  <c:v>237.69115279315756</c:v>
                </c:pt>
                <c:pt idx="1049">
                  <c:v>237.7006637273351</c:v>
                </c:pt>
                <c:pt idx="1050">
                  <c:v>239.7604603292142</c:v>
                </c:pt>
                <c:pt idx="1051">
                  <c:v>241.84675167630215</c:v>
                </c:pt>
                <c:pt idx="1052">
                  <c:v>244.08250056046577</c:v>
                </c:pt>
                <c:pt idx="1053">
                  <c:v>245.3365851670188</c:v>
                </c:pt>
                <c:pt idx="1054">
                  <c:v>243.45342019986549</c:v>
                </c:pt>
                <c:pt idx="1055">
                  <c:v>245.498271048037</c:v>
                </c:pt>
                <c:pt idx="1056">
                  <c:v>245.44052609053051</c:v>
                </c:pt>
                <c:pt idx="1057">
                  <c:v>243.20681526369066</c:v>
                </c:pt>
                <c:pt idx="1058">
                  <c:v>244.35695894673196</c:v>
                </c:pt>
                <c:pt idx="1059">
                  <c:v>242.17284084810359</c:v>
                </c:pt>
                <c:pt idx="1060">
                  <c:v>241.28560655982716</c:v>
                </c:pt>
                <c:pt idx="1061">
                  <c:v>243.19662497707185</c:v>
                </c:pt>
                <c:pt idx="1062">
                  <c:v>244.52407964728022</c:v>
                </c:pt>
                <c:pt idx="1063">
                  <c:v>243.74622110204552</c:v>
                </c:pt>
                <c:pt idx="1064">
                  <c:v>241.58180422421347</c:v>
                </c:pt>
                <c:pt idx="1065">
                  <c:v>241.42351510540152</c:v>
                </c:pt>
                <c:pt idx="1066">
                  <c:v>244.99215347930354</c:v>
                </c:pt>
                <c:pt idx="1067">
                  <c:v>244.28290953063541</c:v>
                </c:pt>
                <c:pt idx="1068">
                  <c:v>245.35017221584386</c:v>
                </c:pt>
                <c:pt idx="1069">
                  <c:v>243.83725432917342</c:v>
                </c:pt>
                <c:pt idx="1070">
                  <c:v>242.83317142100151</c:v>
                </c:pt>
                <c:pt idx="1071">
                  <c:v>244.44119864944736</c:v>
                </c:pt>
                <c:pt idx="1072">
                  <c:v>242.38140204756826</c:v>
                </c:pt>
                <c:pt idx="1073">
                  <c:v>243.10151563529644</c:v>
                </c:pt>
                <c:pt idx="1074">
                  <c:v>242.97583543366463</c:v>
                </c:pt>
                <c:pt idx="1075">
                  <c:v>242.57365878844286</c:v>
                </c:pt>
                <c:pt idx="1076">
                  <c:v>240.90516919272548</c:v>
                </c:pt>
                <c:pt idx="1077">
                  <c:v>238.64836038288303</c:v>
                </c:pt>
                <c:pt idx="1078">
                  <c:v>239.36235979863994</c:v>
                </c:pt>
                <c:pt idx="1079">
                  <c:v>235.68230762437244</c:v>
                </c:pt>
                <c:pt idx="1080">
                  <c:v>236.70880916310571</c:v>
                </c:pt>
                <c:pt idx="1081">
                  <c:v>236.75092901446342</c:v>
                </c:pt>
                <c:pt idx="1082">
                  <c:v>237.03489833490715</c:v>
                </c:pt>
                <c:pt idx="1083">
                  <c:v>238.89700337638163</c:v>
                </c:pt>
                <c:pt idx="1084">
                  <c:v>239.61983437387482</c:v>
                </c:pt>
                <c:pt idx="1085">
                  <c:v>235.67007928042989</c:v>
                </c:pt>
                <c:pt idx="1086">
                  <c:v>239.23260348236062</c:v>
                </c:pt>
                <c:pt idx="1087">
                  <c:v>240.86576675113281</c:v>
                </c:pt>
                <c:pt idx="1088">
                  <c:v>241.33044382094988</c:v>
                </c:pt>
                <c:pt idx="1089">
                  <c:v>240.64225979796058</c:v>
                </c:pt>
                <c:pt idx="1090">
                  <c:v>242.66808877777703</c:v>
                </c:pt>
                <c:pt idx="1091">
                  <c:v>241.22786160232067</c:v>
                </c:pt>
                <c:pt idx="1092">
                  <c:v>242.85015523203282</c:v>
                </c:pt>
                <c:pt idx="1093">
                  <c:v>239.9078798089661</c:v>
                </c:pt>
                <c:pt idx="1094">
                  <c:v>239.16330953335282</c:v>
                </c:pt>
                <c:pt idx="1095">
                  <c:v>236.2814964775576</c:v>
                </c:pt>
                <c:pt idx="1096">
                  <c:v>238.46357651886223</c:v>
                </c:pt>
                <c:pt idx="1097">
                  <c:v>237.82838198629068</c:v>
                </c:pt>
                <c:pt idx="1098">
                  <c:v>237.70270178465887</c:v>
                </c:pt>
                <c:pt idx="1099">
                  <c:v>238.68980088179947</c:v>
                </c:pt>
                <c:pt idx="1100">
                  <c:v>238.68572476715195</c:v>
                </c:pt>
                <c:pt idx="1101">
                  <c:v>236.18502843089968</c:v>
                </c:pt>
                <c:pt idx="1102">
                  <c:v>233.00022418630562</c:v>
                </c:pt>
                <c:pt idx="1103">
                  <c:v>231.03553692620196</c:v>
                </c:pt>
                <c:pt idx="1104">
                  <c:v>232.21557211665839</c:v>
                </c:pt>
                <c:pt idx="1105">
                  <c:v>230.99273772240301</c:v>
                </c:pt>
                <c:pt idx="1106">
                  <c:v>232.58242243493501</c:v>
                </c:pt>
                <c:pt idx="1107">
                  <c:v>233.55865189301556</c:v>
                </c:pt>
                <c:pt idx="1108">
                  <c:v>235.04303697715338</c:v>
                </c:pt>
                <c:pt idx="1109">
                  <c:v>233.90240422828958</c:v>
                </c:pt>
                <c:pt idx="1110">
                  <c:v>232.12250083220673</c:v>
                </c:pt>
                <c:pt idx="1111">
                  <c:v>230.96284621498788</c:v>
                </c:pt>
                <c:pt idx="1112">
                  <c:v>230.35890189471397</c:v>
                </c:pt>
                <c:pt idx="1113">
                  <c:v>230.2658306102623</c:v>
                </c:pt>
                <c:pt idx="1114">
                  <c:v>228.81880991039341</c:v>
                </c:pt>
                <c:pt idx="1115">
                  <c:v>226.91254696023751</c:v>
                </c:pt>
                <c:pt idx="1116">
                  <c:v>227.83646628034157</c:v>
                </c:pt>
                <c:pt idx="1117">
                  <c:v>229.46283602470126</c:v>
                </c:pt>
                <c:pt idx="1118">
                  <c:v>230.81746479255972</c:v>
                </c:pt>
                <c:pt idx="1119">
                  <c:v>229.29911208635929</c:v>
                </c:pt>
                <c:pt idx="1120">
                  <c:v>231.73934605534004</c:v>
                </c:pt>
                <c:pt idx="1121">
                  <c:v>231.99749998301618</c:v>
                </c:pt>
                <c:pt idx="1122">
                  <c:v>232.4180191441518</c:v>
                </c:pt>
                <c:pt idx="1123">
                  <c:v>232.83921765772865</c:v>
                </c:pt>
                <c:pt idx="1124">
                  <c:v>233.61775555540459</c:v>
                </c:pt>
                <c:pt idx="1125">
                  <c:v>233.40308018396863</c:v>
                </c:pt>
                <c:pt idx="1126">
                  <c:v>232.04845141611017</c:v>
                </c:pt>
                <c:pt idx="1127">
                  <c:v>233.31476436660574</c:v>
                </c:pt>
                <c:pt idx="1128">
                  <c:v>233.22101372971284</c:v>
                </c:pt>
                <c:pt idx="1129">
                  <c:v>233.16462747708883</c:v>
                </c:pt>
                <c:pt idx="1130">
                  <c:v>232.98663713748056</c:v>
                </c:pt>
                <c:pt idx="1131">
                  <c:v>235.71763395131759</c:v>
                </c:pt>
                <c:pt idx="1132">
                  <c:v>237.36913973600363</c:v>
                </c:pt>
                <c:pt idx="1133">
                  <c:v>234.99955842091319</c:v>
                </c:pt>
                <c:pt idx="1134">
                  <c:v>235.40716988566498</c:v>
                </c:pt>
                <c:pt idx="1135">
                  <c:v>235.24888076685303</c:v>
                </c:pt>
                <c:pt idx="1136">
                  <c:v>236.42212243289697</c:v>
                </c:pt>
                <c:pt idx="1137">
                  <c:v>235.49276829326286</c:v>
                </c:pt>
                <c:pt idx="1138">
                  <c:v>236.92416388698294</c:v>
                </c:pt>
                <c:pt idx="1139">
                  <c:v>239.7991834183656</c:v>
                </c:pt>
                <c:pt idx="1140">
                  <c:v>238.32091250619908</c:v>
                </c:pt>
                <c:pt idx="1141">
                  <c:v>238.99075401327454</c:v>
                </c:pt>
                <c:pt idx="1142">
                  <c:v>238.74075231489346</c:v>
                </c:pt>
                <c:pt idx="1143">
                  <c:v>239.34333793028486</c:v>
                </c:pt>
                <c:pt idx="1144">
                  <c:v>238.37933681614686</c:v>
                </c:pt>
                <c:pt idx="1145">
                  <c:v>237.29237291014206</c:v>
                </c:pt>
                <c:pt idx="1146">
                  <c:v>237.51995597796181</c:v>
                </c:pt>
                <c:pt idx="1147">
                  <c:v>237.62729366367978</c:v>
                </c:pt>
                <c:pt idx="1148">
                  <c:v>238.24686309010252</c:v>
                </c:pt>
                <c:pt idx="1149">
                  <c:v>237.01791452387585</c:v>
                </c:pt>
                <c:pt idx="1150">
                  <c:v>235.09670582001237</c:v>
                </c:pt>
                <c:pt idx="1151">
                  <c:v>234.69996399432063</c:v>
                </c:pt>
                <c:pt idx="1152">
                  <c:v>236.25703978967249</c:v>
                </c:pt>
                <c:pt idx="1153">
                  <c:v>231.85279791302929</c:v>
                </c:pt>
                <c:pt idx="1154">
                  <c:v>233.71965842159253</c:v>
                </c:pt>
                <c:pt idx="1155">
                  <c:v>238.5736316143452</c:v>
                </c:pt>
                <c:pt idx="1156">
                  <c:v>240.37051882145937</c:v>
                </c:pt>
                <c:pt idx="1157">
                  <c:v>237.87186054253087</c:v>
                </c:pt>
                <c:pt idx="1158">
                  <c:v>237.8161536423481</c:v>
                </c:pt>
                <c:pt idx="1159">
                  <c:v>236.23937662619991</c:v>
                </c:pt>
                <c:pt idx="1160">
                  <c:v>235.40105571369369</c:v>
                </c:pt>
                <c:pt idx="1161">
                  <c:v>235.19045645690528</c:v>
                </c:pt>
                <c:pt idx="1162">
                  <c:v>234.73529032126578</c:v>
                </c:pt>
                <c:pt idx="1163">
                  <c:v>238.40651091379698</c:v>
                </c:pt>
                <c:pt idx="1164">
                  <c:v>238.16058533006338</c:v>
                </c:pt>
                <c:pt idx="1165">
                  <c:v>237.77743055319669</c:v>
                </c:pt>
                <c:pt idx="1166">
                  <c:v>237.79713177399302</c:v>
                </c:pt>
                <c:pt idx="1167">
                  <c:v>239.66874774964504</c:v>
                </c:pt>
                <c:pt idx="1168">
                  <c:v>241.30870454282979</c:v>
                </c:pt>
                <c:pt idx="1169">
                  <c:v>241.76930549799931</c:v>
                </c:pt>
                <c:pt idx="1170">
                  <c:v>242.84064429785528</c:v>
                </c:pt>
                <c:pt idx="1171">
                  <c:v>243.61918219553121</c:v>
                </c:pt>
                <c:pt idx="1172">
                  <c:v>245.00506117568733</c:v>
                </c:pt>
                <c:pt idx="1173">
                  <c:v>244.7496246577762</c:v>
                </c:pt>
                <c:pt idx="1174">
                  <c:v>242.5756968457666</c:v>
                </c:pt>
                <c:pt idx="1175">
                  <c:v>244.29242046481295</c:v>
                </c:pt>
                <c:pt idx="1176">
                  <c:v>244.43168771526982</c:v>
                </c:pt>
                <c:pt idx="1177">
                  <c:v>247.86309689603868</c:v>
                </c:pt>
                <c:pt idx="1178">
                  <c:v>247.87396653509873</c:v>
                </c:pt>
                <c:pt idx="1179">
                  <c:v>247.97722810616921</c:v>
                </c:pt>
                <c:pt idx="1180">
                  <c:v>246.14841133431614</c:v>
                </c:pt>
                <c:pt idx="1181">
                  <c:v>245.8162079905434</c:v>
                </c:pt>
                <c:pt idx="1182">
                  <c:v>245.87734971025617</c:v>
                </c:pt>
                <c:pt idx="1183">
                  <c:v>242.58113166529662</c:v>
                </c:pt>
                <c:pt idx="1184">
                  <c:v>243.56007853314222</c:v>
                </c:pt>
                <c:pt idx="1185">
                  <c:v>245.20343208853322</c:v>
                </c:pt>
                <c:pt idx="1186">
                  <c:v>244.91334859611817</c:v>
                </c:pt>
                <c:pt idx="1187">
                  <c:v>244.52747640948647</c:v>
                </c:pt>
                <c:pt idx="1188">
                  <c:v>244.07231027384697</c:v>
                </c:pt>
                <c:pt idx="1189">
                  <c:v>244.22380586824639</c:v>
                </c:pt>
                <c:pt idx="1190">
                  <c:v>243.25165252481335</c:v>
                </c:pt>
                <c:pt idx="1191">
                  <c:v>241.09267046651132</c:v>
                </c:pt>
                <c:pt idx="1192">
                  <c:v>244.85016881908166</c:v>
                </c:pt>
                <c:pt idx="1193">
                  <c:v>249.31283500567258</c:v>
                </c:pt>
                <c:pt idx="1194">
                  <c:v>251.8638034225776</c:v>
                </c:pt>
                <c:pt idx="1195">
                  <c:v>253.81830039606248</c:v>
                </c:pt>
                <c:pt idx="1196">
                  <c:v>256.47524779380296</c:v>
                </c:pt>
                <c:pt idx="1197">
                  <c:v>256.74902682762792</c:v>
                </c:pt>
                <c:pt idx="1198">
                  <c:v>254.99833558651892</c:v>
                </c:pt>
                <c:pt idx="1199">
                  <c:v>255.74086780480846</c:v>
                </c:pt>
                <c:pt idx="1200">
                  <c:v>253.9072955658666</c:v>
                </c:pt>
                <c:pt idx="1201">
                  <c:v>252.33867077901346</c:v>
                </c:pt>
                <c:pt idx="1202">
                  <c:v>254.28569487564454</c:v>
                </c:pt>
                <c:pt idx="1203">
                  <c:v>252.17087072602396</c:v>
                </c:pt>
                <c:pt idx="1204">
                  <c:v>253.85838219009639</c:v>
                </c:pt>
                <c:pt idx="1205">
                  <c:v>252.8970984857234</c:v>
                </c:pt>
                <c:pt idx="1206">
                  <c:v>254.06762274200233</c:v>
                </c:pt>
                <c:pt idx="1207">
                  <c:v>253.72726716893456</c:v>
                </c:pt>
                <c:pt idx="1208">
                  <c:v>251.08662422978418</c:v>
                </c:pt>
                <c:pt idx="1209">
                  <c:v>250.33526042975836</c:v>
                </c:pt>
                <c:pt idx="1210">
                  <c:v>250.89504684135082</c:v>
                </c:pt>
                <c:pt idx="1211">
                  <c:v>249.81895257440607</c:v>
                </c:pt>
                <c:pt idx="1212">
                  <c:v>251.01121610880509</c:v>
                </c:pt>
                <c:pt idx="1213">
                  <c:v>250.5281965230742</c:v>
                </c:pt>
                <c:pt idx="1214">
                  <c:v>252.31149668136331</c:v>
                </c:pt>
                <c:pt idx="1215">
                  <c:v>251.66747056705549</c:v>
                </c:pt>
                <c:pt idx="1216">
                  <c:v>253.88080082065775</c:v>
                </c:pt>
                <c:pt idx="1217">
                  <c:v>252.21706669202916</c:v>
                </c:pt>
                <c:pt idx="1218">
                  <c:v>251.45143649073702</c:v>
                </c:pt>
                <c:pt idx="1219">
                  <c:v>249.94802953824416</c:v>
                </c:pt>
                <c:pt idx="1220">
                  <c:v>248.28429540961557</c:v>
                </c:pt>
                <c:pt idx="1221">
                  <c:v>249.15726329662564</c:v>
                </c:pt>
                <c:pt idx="1222">
                  <c:v>247.90046128030761</c:v>
                </c:pt>
                <c:pt idx="1223">
                  <c:v>243.33249546532247</c:v>
                </c:pt>
                <c:pt idx="1224">
                  <c:v>246.38074986922464</c:v>
                </c:pt>
                <c:pt idx="1225">
                  <c:v>244.68508617585718</c:v>
                </c:pt>
                <c:pt idx="1226">
                  <c:v>242.7767851683775</c:v>
                </c:pt>
                <c:pt idx="1227">
                  <c:v>240.01861425689032</c:v>
                </c:pt>
                <c:pt idx="1228">
                  <c:v>240.86508739869157</c:v>
                </c:pt>
                <c:pt idx="1229">
                  <c:v>240.76861935203365</c:v>
                </c:pt>
                <c:pt idx="1230">
                  <c:v>243.01184111305105</c:v>
                </c:pt>
                <c:pt idx="1231">
                  <c:v>245.27340538998226</c:v>
                </c:pt>
                <c:pt idx="1232">
                  <c:v>245.6069674386375</c:v>
                </c:pt>
                <c:pt idx="1233">
                  <c:v>244.52272094239771</c:v>
                </c:pt>
                <c:pt idx="1234">
                  <c:v>243.72584052880794</c:v>
                </c:pt>
                <c:pt idx="1235">
                  <c:v>247.25643516599976</c:v>
                </c:pt>
                <c:pt idx="1236">
                  <c:v>247.23333718299716</c:v>
                </c:pt>
                <c:pt idx="1237">
                  <c:v>249.45957513298325</c:v>
                </c:pt>
                <c:pt idx="1238">
                  <c:v>252.70076563020129</c:v>
                </c:pt>
                <c:pt idx="1239">
                  <c:v>248.8080761418216</c:v>
                </c:pt>
                <c:pt idx="1240">
                  <c:v>249.19055156624705</c:v>
                </c:pt>
                <c:pt idx="1241">
                  <c:v>247.95548882804911</c:v>
                </c:pt>
                <c:pt idx="1242">
                  <c:v>247.91133091936766</c:v>
                </c:pt>
                <c:pt idx="1243">
                  <c:v>249.14979041977188</c:v>
                </c:pt>
                <c:pt idx="1244">
                  <c:v>250.14504174620751</c:v>
                </c:pt>
                <c:pt idx="1245">
                  <c:v>249.33389493135144</c:v>
                </c:pt>
                <c:pt idx="1246">
                  <c:v>249.39707470838798</c:v>
                </c:pt>
                <c:pt idx="1247">
                  <c:v>247.23741329764468</c:v>
                </c:pt>
                <c:pt idx="1248">
                  <c:v>248.77614657708273</c:v>
                </c:pt>
                <c:pt idx="1249">
                  <c:v>249.49354275504589</c:v>
                </c:pt>
                <c:pt idx="1250">
                  <c:v>251.57439928260382</c:v>
                </c:pt>
                <c:pt idx="1251">
                  <c:v>252.63962391048852</c:v>
                </c:pt>
                <c:pt idx="1252">
                  <c:v>254.54520750820319</c:v>
                </c:pt>
                <c:pt idx="1253">
                  <c:v>253.83528420709379</c:v>
                </c:pt>
                <c:pt idx="1254">
                  <c:v>253.43039015210701</c:v>
                </c:pt>
                <c:pt idx="1255">
                  <c:v>253.05131148988784</c:v>
                </c:pt>
                <c:pt idx="1256">
                  <c:v>253.33935692497911</c:v>
                </c:pt>
                <c:pt idx="1257">
                  <c:v>253.94941541722429</c:v>
                </c:pt>
                <c:pt idx="1258">
                  <c:v>255.54317624440384</c:v>
                </c:pt>
                <c:pt idx="1259">
                  <c:v>257.12742613740585</c:v>
                </c:pt>
                <c:pt idx="1260">
                  <c:v>258.02553006474227</c:v>
                </c:pt>
                <c:pt idx="1261">
                  <c:v>260.12812587042032</c:v>
                </c:pt>
                <c:pt idx="1262">
                  <c:v>260.35299152847506</c:v>
                </c:pt>
                <c:pt idx="1263">
                  <c:v>261.97596451062844</c:v>
                </c:pt>
                <c:pt idx="1264">
                  <c:v>262.70626838497543</c:v>
                </c:pt>
                <c:pt idx="1265">
                  <c:v>266.14243303283308</c:v>
                </c:pt>
                <c:pt idx="1266">
                  <c:v>265.89446939177577</c:v>
                </c:pt>
                <c:pt idx="1267">
                  <c:v>266.6573821833029</c:v>
                </c:pt>
                <c:pt idx="1268">
                  <c:v>264.74840182338193</c:v>
                </c:pt>
                <c:pt idx="1269">
                  <c:v>268.81840229892867</c:v>
                </c:pt>
                <c:pt idx="1270">
                  <c:v>266.56634895617498</c:v>
                </c:pt>
                <c:pt idx="1271">
                  <c:v>266.74433929578328</c:v>
                </c:pt>
                <c:pt idx="1272">
                  <c:v>265.45356965740257</c:v>
                </c:pt>
                <c:pt idx="1273">
                  <c:v>265.84080054891677</c:v>
                </c:pt>
                <c:pt idx="1274">
                  <c:v>266.6859149858355</c:v>
                </c:pt>
                <c:pt idx="1275">
                  <c:v>266.74026318113573</c:v>
                </c:pt>
                <c:pt idx="1276">
                  <c:v>268.08673971969915</c:v>
                </c:pt>
                <c:pt idx="1277">
                  <c:v>267.874102405587</c:v>
                </c:pt>
                <c:pt idx="1278">
                  <c:v>265.75248473155386</c:v>
                </c:pt>
                <c:pt idx="1279">
                  <c:v>266.41349465689302</c:v>
                </c:pt>
                <c:pt idx="1280">
                  <c:v>271.48282257352292</c:v>
                </c:pt>
                <c:pt idx="1281">
                  <c:v>276.18054470478739</c:v>
                </c:pt>
                <c:pt idx="1282">
                  <c:v>273.83813748734707</c:v>
                </c:pt>
                <c:pt idx="1283">
                  <c:v>275.7566287814455</c:v>
                </c:pt>
                <c:pt idx="1284">
                  <c:v>273.72536498209905</c:v>
                </c:pt>
                <c:pt idx="1285">
                  <c:v>272.70905372998459</c:v>
                </c:pt>
                <c:pt idx="1286">
                  <c:v>274.88841636152421</c:v>
                </c:pt>
                <c:pt idx="1287">
                  <c:v>275.5718449174247</c:v>
                </c:pt>
                <c:pt idx="1288">
                  <c:v>274.54194661648518</c:v>
                </c:pt>
                <c:pt idx="1289">
                  <c:v>275.38774040584514</c:v>
                </c:pt>
                <c:pt idx="1290">
                  <c:v>272.62413467482793</c:v>
                </c:pt>
                <c:pt idx="1291">
                  <c:v>272.80688048152501</c:v>
                </c:pt>
                <c:pt idx="1292">
                  <c:v>275.17238568196797</c:v>
                </c:pt>
                <c:pt idx="1293">
                  <c:v>274.6717029327645</c:v>
                </c:pt>
                <c:pt idx="1294">
                  <c:v>277.48422203955192</c:v>
                </c:pt>
                <c:pt idx="1295">
                  <c:v>277.21180171060945</c:v>
                </c:pt>
                <c:pt idx="1296">
                  <c:v>280.4027201271748</c:v>
                </c:pt>
                <c:pt idx="1297">
                  <c:v>282.33547782253953</c:v>
                </c:pt>
                <c:pt idx="1298">
                  <c:v>282.10449799251353</c:v>
                </c:pt>
                <c:pt idx="1299">
                  <c:v>280.91223445811454</c:v>
                </c:pt>
                <c:pt idx="1300">
                  <c:v>282.376918321456</c:v>
                </c:pt>
                <c:pt idx="1301">
                  <c:v>286.18808551688528</c:v>
                </c:pt>
                <c:pt idx="1302">
                  <c:v>285.20642123927473</c:v>
                </c:pt>
                <c:pt idx="1303">
                  <c:v>281.96455138961539</c:v>
                </c:pt>
                <c:pt idx="1304">
                  <c:v>282.22338466973281</c:v>
                </c:pt>
                <c:pt idx="1305">
                  <c:v>279.50189879007331</c:v>
                </c:pt>
                <c:pt idx="1306">
                  <c:v>280.73832023315373</c:v>
                </c:pt>
                <c:pt idx="1307">
                  <c:v>282.55015319397546</c:v>
                </c:pt>
                <c:pt idx="1308">
                  <c:v>284.00668482802195</c:v>
                </c:pt>
                <c:pt idx="1309">
                  <c:v>285.11334995482304</c:v>
                </c:pt>
                <c:pt idx="1310">
                  <c:v>283.86605887268252</c:v>
                </c:pt>
                <c:pt idx="1311">
                  <c:v>285.70506593115442</c:v>
                </c:pt>
                <c:pt idx="1312">
                  <c:v>285.65411449806044</c:v>
                </c:pt>
                <c:pt idx="1313">
                  <c:v>287.76757994279853</c:v>
                </c:pt>
                <c:pt idx="1314">
                  <c:v>288.99584915658392</c:v>
                </c:pt>
                <c:pt idx="1315">
                  <c:v>290.22547707525189</c:v>
                </c:pt>
                <c:pt idx="1316">
                  <c:v>291.38241428270572</c:v>
                </c:pt>
                <c:pt idx="1317">
                  <c:v>292.25877893192211</c:v>
                </c:pt>
                <c:pt idx="1318">
                  <c:v>292.6969612565303</c:v>
                </c:pt>
                <c:pt idx="1319">
                  <c:v>293.52984734950638</c:v>
                </c:pt>
                <c:pt idx="1320">
                  <c:v>290.93200361415501</c:v>
                </c:pt>
                <c:pt idx="1321">
                  <c:v>291.77236258398489</c:v>
                </c:pt>
                <c:pt idx="1322">
                  <c:v>290.49382128954682</c:v>
                </c:pt>
                <c:pt idx="1323">
                  <c:v>290.03118227705346</c:v>
                </c:pt>
                <c:pt idx="1324">
                  <c:v>291.46461592809732</c:v>
                </c:pt>
                <c:pt idx="1325">
                  <c:v>285.18672001847841</c:v>
                </c:pt>
                <c:pt idx="1326">
                  <c:v>283.83752607014998</c:v>
                </c:pt>
                <c:pt idx="1327">
                  <c:v>286.1405308459976</c:v>
                </c:pt>
                <c:pt idx="1328">
                  <c:v>286.1547972472639</c:v>
                </c:pt>
                <c:pt idx="1329">
                  <c:v>289.23090510125746</c:v>
                </c:pt>
                <c:pt idx="1330">
                  <c:v>293.10525207372331</c:v>
                </c:pt>
                <c:pt idx="1331">
                  <c:v>294.38583142548521</c:v>
                </c:pt>
                <c:pt idx="1332">
                  <c:v>298.88382393902134</c:v>
                </c:pt>
                <c:pt idx="1333">
                  <c:v>299.94972791934725</c:v>
                </c:pt>
                <c:pt idx="1334">
                  <c:v>301.09307807797609</c:v>
                </c:pt>
                <c:pt idx="1335">
                  <c:v>300.34579039259779</c:v>
                </c:pt>
                <c:pt idx="1336">
                  <c:v>299.76086794067896</c:v>
                </c:pt>
                <c:pt idx="1337">
                  <c:v>296.81315769808225</c:v>
                </c:pt>
                <c:pt idx="1338">
                  <c:v>299.10325477754606</c:v>
                </c:pt>
                <c:pt idx="1339">
                  <c:v>298.14876459758557</c:v>
                </c:pt>
                <c:pt idx="1340">
                  <c:v>296.75948885522325</c:v>
                </c:pt>
                <c:pt idx="1341">
                  <c:v>294.69493678625531</c:v>
                </c:pt>
                <c:pt idx="1342">
                  <c:v>301.23642144308047</c:v>
                </c:pt>
                <c:pt idx="1343">
                  <c:v>299.71671003199748</c:v>
                </c:pt>
                <c:pt idx="1344">
                  <c:v>301.58085313079573</c:v>
                </c:pt>
                <c:pt idx="1345">
                  <c:v>303.7636125245416</c:v>
                </c:pt>
                <c:pt idx="1346">
                  <c:v>303.40151767335374</c:v>
                </c:pt>
                <c:pt idx="1347">
                  <c:v>303.30776703646086</c:v>
                </c:pt>
                <c:pt idx="1348">
                  <c:v>298.49863110483085</c:v>
                </c:pt>
                <c:pt idx="1349">
                  <c:v>298.57200116848622</c:v>
                </c:pt>
                <c:pt idx="1350">
                  <c:v>295.8661403949755</c:v>
                </c:pt>
                <c:pt idx="1351">
                  <c:v>292.88378317787488</c:v>
                </c:pt>
                <c:pt idx="1352">
                  <c:v>293.74927818803116</c:v>
                </c:pt>
                <c:pt idx="1353">
                  <c:v>297.37702022432211</c:v>
                </c:pt>
                <c:pt idx="1354">
                  <c:v>302.81116040190494</c:v>
                </c:pt>
                <c:pt idx="1355">
                  <c:v>303.8668740956121</c:v>
                </c:pt>
                <c:pt idx="1356">
                  <c:v>307.34991406191619</c:v>
                </c:pt>
                <c:pt idx="1357">
                  <c:v>307.97355960298643</c:v>
                </c:pt>
                <c:pt idx="1358">
                  <c:v>309.51840705439577</c:v>
                </c:pt>
                <c:pt idx="1359">
                  <c:v>308.73783109939603</c:v>
                </c:pt>
                <c:pt idx="1360">
                  <c:v>308.99530567463091</c:v>
                </c:pt>
                <c:pt idx="1361">
                  <c:v>308.20250137568871</c:v>
                </c:pt>
                <c:pt idx="1362">
                  <c:v>309.55237467645838</c:v>
                </c:pt>
                <c:pt idx="1363">
                  <c:v>312.66924367692712</c:v>
                </c:pt>
                <c:pt idx="1364">
                  <c:v>311.64138343331138</c:v>
                </c:pt>
                <c:pt idx="1365">
                  <c:v>314.50485397319272</c:v>
                </c:pt>
                <c:pt idx="1366">
                  <c:v>318.99673231475759</c:v>
                </c:pt>
                <c:pt idx="1367">
                  <c:v>320.5144056685167</c:v>
                </c:pt>
                <c:pt idx="1368">
                  <c:v>322.89349791778477</c:v>
                </c:pt>
                <c:pt idx="1369">
                  <c:v>324.22978416972938</c:v>
                </c:pt>
                <c:pt idx="1370">
                  <c:v>322.44444595411659</c:v>
                </c:pt>
                <c:pt idx="1371">
                  <c:v>318.46479935325652</c:v>
                </c:pt>
                <c:pt idx="1372">
                  <c:v>311.23377196855955</c:v>
                </c:pt>
                <c:pt idx="1373">
                  <c:v>311.32548454812871</c:v>
                </c:pt>
                <c:pt idx="1374">
                  <c:v>303.52040435057302</c:v>
                </c:pt>
                <c:pt idx="1375">
                  <c:v>299.94904856690601</c:v>
                </c:pt>
                <c:pt idx="1376">
                  <c:v>297.52647776139787</c:v>
                </c:pt>
                <c:pt idx="1377">
                  <c:v>291.29409846534281</c:v>
                </c:pt>
                <c:pt idx="1378">
                  <c:v>300.49660663455592</c:v>
                </c:pt>
                <c:pt idx="1379">
                  <c:v>294.48773429167318</c:v>
                </c:pt>
                <c:pt idx="1380">
                  <c:v>297.76900658292516</c:v>
                </c:pt>
                <c:pt idx="1381">
                  <c:v>303.01360742939829</c:v>
                </c:pt>
                <c:pt idx="1382">
                  <c:v>304.47897064518099</c:v>
                </c:pt>
                <c:pt idx="1383">
                  <c:v>301.35938423494719</c:v>
                </c:pt>
                <c:pt idx="1384">
                  <c:v>303.22624474351051</c:v>
                </c:pt>
                <c:pt idx="1385">
                  <c:v>305.58020095245206</c:v>
                </c:pt>
                <c:pt idx="1386">
                  <c:v>310.73784468644487</c:v>
                </c:pt>
                <c:pt idx="1387">
                  <c:v>309.34721023920002</c:v>
                </c:pt>
                <c:pt idx="1388">
                  <c:v>299.58695371571821</c:v>
                </c:pt>
                <c:pt idx="1389">
                  <c:v>298.1711832281469</c:v>
                </c:pt>
                <c:pt idx="1390">
                  <c:v>287.18061943355599</c:v>
                </c:pt>
                <c:pt idx="1391">
                  <c:v>291.6364920957343</c:v>
                </c:pt>
                <c:pt idx="1392">
                  <c:v>287.85114029307266</c:v>
                </c:pt>
                <c:pt idx="1393">
                  <c:v>279.03925977758001</c:v>
                </c:pt>
                <c:pt idx="1394">
                  <c:v>281.87963233445879</c:v>
                </c:pt>
                <c:pt idx="1395">
                  <c:v>290.40278806241889</c:v>
                </c:pt>
                <c:pt idx="1396">
                  <c:v>289.4557707593122</c:v>
                </c:pt>
                <c:pt idx="1397">
                  <c:v>289.3953083920407</c:v>
                </c:pt>
                <c:pt idx="1398">
                  <c:v>289.55699427305893</c:v>
                </c:pt>
                <c:pt idx="1399">
                  <c:v>290.3137928926148</c:v>
                </c:pt>
                <c:pt idx="1400">
                  <c:v>290.05971507958611</c:v>
                </c:pt>
                <c:pt idx="1401">
                  <c:v>288.96935441137509</c:v>
                </c:pt>
                <c:pt idx="1402">
                  <c:v>289.62425016474299</c:v>
                </c:pt>
                <c:pt idx="1403">
                  <c:v>288.36133397645358</c:v>
                </c:pt>
                <c:pt idx="1404">
                  <c:v>287.34230531457411</c:v>
                </c:pt>
                <c:pt idx="1405">
                  <c:v>293.01082208438913</c:v>
                </c:pt>
                <c:pt idx="1406">
                  <c:v>303.27515811928072</c:v>
                </c:pt>
                <c:pt idx="1407">
                  <c:v>304.43820949870582</c:v>
                </c:pt>
                <c:pt idx="1408">
                  <c:v>305.57680419024592</c:v>
                </c:pt>
                <c:pt idx="1409">
                  <c:v>299.15760297284629</c:v>
                </c:pt>
                <c:pt idx="1410">
                  <c:v>301.56318996732313</c:v>
                </c:pt>
                <c:pt idx="1411">
                  <c:v>302.5434955400512</c:v>
                </c:pt>
                <c:pt idx="1412">
                  <c:v>301.71196815195754</c:v>
                </c:pt>
                <c:pt idx="1413">
                  <c:v>298.92798184770271</c:v>
                </c:pt>
                <c:pt idx="1414">
                  <c:v>299.01222155041813</c:v>
                </c:pt>
                <c:pt idx="1415">
                  <c:v>294.32401035333118</c:v>
                </c:pt>
                <c:pt idx="1416">
                  <c:v>288.38647001678004</c:v>
                </c:pt>
                <c:pt idx="1417">
                  <c:v>284.02163058172954</c:v>
                </c:pt>
                <c:pt idx="1418">
                  <c:v>282.93466667572471</c:v>
                </c:pt>
                <c:pt idx="1419">
                  <c:v>291.53934469663517</c:v>
                </c:pt>
                <c:pt idx="1420">
                  <c:v>294.67727362278276</c:v>
                </c:pt>
                <c:pt idx="1421">
                  <c:v>291.69695446300585</c:v>
                </c:pt>
                <c:pt idx="1422">
                  <c:v>294.69086067160782</c:v>
                </c:pt>
                <c:pt idx="1423">
                  <c:v>295.47551274125505</c:v>
                </c:pt>
                <c:pt idx="1424">
                  <c:v>296.92525085088892</c:v>
                </c:pt>
                <c:pt idx="1425">
                  <c:v>302.97080822559934</c:v>
                </c:pt>
                <c:pt idx="1426">
                  <c:v>306.49189192861365</c:v>
                </c:pt>
                <c:pt idx="1427">
                  <c:v>305.716750793144</c:v>
                </c:pt>
                <c:pt idx="1428">
                  <c:v>303.7282861975965</c:v>
                </c:pt>
                <c:pt idx="1429">
                  <c:v>307.43890923172034</c:v>
                </c:pt>
                <c:pt idx="1430">
                  <c:v>304.56932451986762</c:v>
                </c:pt>
                <c:pt idx="1431">
                  <c:v>310.30102106671922</c:v>
                </c:pt>
                <c:pt idx="1432">
                  <c:v>307.36282175830002</c:v>
                </c:pt>
                <c:pt idx="1433">
                  <c:v>307.76092228887427</c:v>
                </c:pt>
                <c:pt idx="1434">
                  <c:v>309.30169362563606</c:v>
                </c:pt>
                <c:pt idx="1435">
                  <c:v>303.25002207895437</c:v>
                </c:pt>
                <c:pt idx="1436">
                  <c:v>302.16102011562577</c:v>
                </c:pt>
                <c:pt idx="1437">
                  <c:v>304.10464745005066</c:v>
                </c:pt>
                <c:pt idx="1438">
                  <c:v>306.39610323439695</c:v>
                </c:pt>
                <c:pt idx="1439">
                  <c:v>308.84856554732028</c:v>
                </c:pt>
                <c:pt idx="1440">
                  <c:v>310.72969245714984</c:v>
                </c:pt>
                <c:pt idx="1441">
                  <c:v>310.28675466545292</c:v>
                </c:pt>
                <c:pt idx="1442">
                  <c:v>312.67196108669214</c:v>
                </c:pt>
                <c:pt idx="1443">
                  <c:v>311.90361347563498</c:v>
                </c:pt>
                <c:pt idx="1444">
                  <c:v>311.76978104470817</c:v>
                </c:pt>
                <c:pt idx="1445">
                  <c:v>312.5503569997079</c:v>
                </c:pt>
                <c:pt idx="1446">
                  <c:v>311.3159736139512</c:v>
                </c:pt>
                <c:pt idx="1447">
                  <c:v>313.68351687171793</c:v>
                </c:pt>
                <c:pt idx="1448">
                  <c:v>313.54085285905472</c:v>
                </c:pt>
                <c:pt idx="1449">
                  <c:v>317.15500784652068</c:v>
                </c:pt>
                <c:pt idx="1450">
                  <c:v>314.96069946127346</c:v>
                </c:pt>
                <c:pt idx="1451">
                  <c:v>316.27184967289179</c:v>
                </c:pt>
                <c:pt idx="1452">
                  <c:v>319.21684250572355</c:v>
                </c:pt>
                <c:pt idx="1453">
                  <c:v>316.39685052208233</c:v>
                </c:pt>
                <c:pt idx="1454">
                  <c:v>312.50619909102647</c:v>
                </c:pt>
                <c:pt idx="1455">
                  <c:v>308.01024463481411</c:v>
                </c:pt>
                <c:pt idx="1456">
                  <c:v>307.93143975162877</c:v>
                </c:pt>
                <c:pt idx="1457">
                  <c:v>307.74869394493169</c:v>
                </c:pt>
                <c:pt idx="1458">
                  <c:v>311.01434113003489</c:v>
                </c:pt>
                <c:pt idx="1459">
                  <c:v>313.63120673374141</c:v>
                </c:pt>
                <c:pt idx="1460">
                  <c:v>316.74332026712136</c:v>
                </c:pt>
                <c:pt idx="1461">
                  <c:v>316.88054946025449</c:v>
                </c:pt>
                <c:pt idx="1462">
                  <c:v>318.44985359954893</c:v>
                </c:pt>
                <c:pt idx="1463">
                  <c:v>317.51506464038476</c:v>
                </c:pt>
                <c:pt idx="1464">
                  <c:v>320.09116909761616</c:v>
                </c:pt>
                <c:pt idx="1465">
                  <c:v>322.11020455302008</c:v>
                </c:pt>
                <c:pt idx="1466">
                  <c:v>320.65367291897365</c:v>
                </c:pt>
                <c:pt idx="1467">
                  <c:v>318.79904075435292</c:v>
                </c:pt>
                <c:pt idx="1468">
                  <c:v>319.13871697497939</c:v>
                </c:pt>
                <c:pt idx="1469">
                  <c:v>323.72706336320215</c:v>
                </c:pt>
                <c:pt idx="1470">
                  <c:v>323.88331442469041</c:v>
                </c:pt>
                <c:pt idx="1471">
                  <c:v>323.17882594311101</c:v>
                </c:pt>
                <c:pt idx="1472">
                  <c:v>325.10546946650459</c:v>
                </c:pt>
                <c:pt idx="1473">
                  <c:v>324.06877764115245</c:v>
                </c:pt>
                <c:pt idx="1474">
                  <c:v>327.82491728884025</c:v>
                </c:pt>
                <c:pt idx="1475">
                  <c:v>328.9322617680827</c:v>
                </c:pt>
                <c:pt idx="1476">
                  <c:v>328.55386245830476</c:v>
                </c:pt>
                <c:pt idx="1477">
                  <c:v>328.32492068560248</c:v>
                </c:pt>
                <c:pt idx="1478">
                  <c:v>328.56337339248228</c:v>
                </c:pt>
                <c:pt idx="1479">
                  <c:v>329.10889340280846</c:v>
                </c:pt>
                <c:pt idx="1480">
                  <c:v>333.19044286985644</c:v>
                </c:pt>
                <c:pt idx="1481">
                  <c:v>333.07767036460848</c:v>
                </c:pt>
                <c:pt idx="1482">
                  <c:v>335.43026786866756</c:v>
                </c:pt>
                <c:pt idx="1483">
                  <c:v>331.66529663924348</c:v>
                </c:pt>
                <c:pt idx="1484">
                  <c:v>334.45811452523452</c:v>
                </c:pt>
                <c:pt idx="1485">
                  <c:v>336.43027466219201</c:v>
                </c:pt>
                <c:pt idx="1486">
                  <c:v>337.7183268908077</c:v>
                </c:pt>
                <c:pt idx="1487">
                  <c:v>336.25636043723125</c:v>
                </c:pt>
                <c:pt idx="1488">
                  <c:v>337.14902954503765</c:v>
                </c:pt>
                <c:pt idx="1489">
                  <c:v>338.72037174165587</c:v>
                </c:pt>
                <c:pt idx="1490">
                  <c:v>342.95885162263329</c:v>
                </c:pt>
                <c:pt idx="1491">
                  <c:v>343.53765990258086</c:v>
                </c:pt>
                <c:pt idx="1492">
                  <c:v>341.92759461681129</c:v>
                </c:pt>
                <c:pt idx="1493">
                  <c:v>344.41198649447347</c:v>
                </c:pt>
                <c:pt idx="1494">
                  <c:v>345.29718272542613</c:v>
                </c:pt>
                <c:pt idx="1495">
                  <c:v>343.47312142066187</c:v>
                </c:pt>
                <c:pt idx="1496">
                  <c:v>342.52950087976143</c:v>
                </c:pt>
                <c:pt idx="1497">
                  <c:v>346.28224376524298</c:v>
                </c:pt>
                <c:pt idx="1498">
                  <c:v>349.5322658441973</c:v>
                </c:pt>
                <c:pt idx="1499">
                  <c:v>347.82573251176979</c:v>
                </c:pt>
                <c:pt idx="1500">
                  <c:v>347.12532014483787</c:v>
                </c:pt>
                <c:pt idx="1501">
                  <c:v>348.84476117364926</c:v>
                </c:pt>
                <c:pt idx="1502">
                  <c:v>349.44530873171692</c:v>
                </c:pt>
                <c:pt idx="1503">
                  <c:v>347.69257943328421</c:v>
                </c:pt>
                <c:pt idx="1504">
                  <c:v>348.56418861541181</c:v>
                </c:pt>
                <c:pt idx="1505">
                  <c:v>349.1626981161557</c:v>
                </c:pt>
                <c:pt idx="1506">
                  <c:v>348.05807104667832</c:v>
                </c:pt>
                <c:pt idx="1507">
                  <c:v>348.38008410383225</c:v>
                </c:pt>
                <c:pt idx="1508">
                  <c:v>350.09748707531975</c:v>
                </c:pt>
                <c:pt idx="1509">
                  <c:v>351.8692382421076</c:v>
                </c:pt>
                <c:pt idx="1510">
                  <c:v>350.62126780752584</c:v>
                </c:pt>
                <c:pt idx="1511">
                  <c:v>353.36517231774673</c:v>
                </c:pt>
                <c:pt idx="1512">
                  <c:v>349.2014212053071</c:v>
                </c:pt>
                <c:pt idx="1513">
                  <c:v>348.04652205517698</c:v>
                </c:pt>
                <c:pt idx="1514">
                  <c:v>353.4487326680208</c:v>
                </c:pt>
                <c:pt idx="1515">
                  <c:v>354.33392889897351</c:v>
                </c:pt>
                <c:pt idx="1516">
                  <c:v>357.04386578713172</c:v>
                </c:pt>
                <c:pt idx="1517">
                  <c:v>358.32240708156985</c:v>
                </c:pt>
                <c:pt idx="1518">
                  <c:v>359.03029232535545</c:v>
                </c:pt>
                <c:pt idx="1519">
                  <c:v>359.31833776044675</c:v>
                </c:pt>
                <c:pt idx="1520">
                  <c:v>361.76944136848755</c:v>
                </c:pt>
                <c:pt idx="1521">
                  <c:v>362.22189009436204</c:v>
                </c:pt>
                <c:pt idx="1522">
                  <c:v>365.50112432829025</c:v>
                </c:pt>
                <c:pt idx="1523">
                  <c:v>364.99093064490927</c:v>
                </c:pt>
                <c:pt idx="1524">
                  <c:v>367.03646084552207</c:v>
                </c:pt>
                <c:pt idx="1525">
                  <c:v>367.83537931643559</c:v>
                </c:pt>
                <c:pt idx="1526">
                  <c:v>368.36663292549542</c:v>
                </c:pt>
                <c:pt idx="1527">
                  <c:v>367.92233642891597</c:v>
                </c:pt>
                <c:pt idx="1528">
                  <c:v>368.28375192766254</c:v>
                </c:pt>
                <c:pt idx="1529">
                  <c:v>372.92101169165551</c:v>
                </c:pt>
                <c:pt idx="1530">
                  <c:v>372.10714746703439</c:v>
                </c:pt>
                <c:pt idx="1531">
                  <c:v>370.64382230857547</c:v>
                </c:pt>
                <c:pt idx="1532">
                  <c:v>372.40810059850952</c:v>
                </c:pt>
                <c:pt idx="1533">
                  <c:v>374.05213350634176</c:v>
                </c:pt>
                <c:pt idx="1534">
                  <c:v>373.35104178696866</c:v>
                </c:pt>
                <c:pt idx="1535">
                  <c:v>381.59973912866258</c:v>
                </c:pt>
                <c:pt idx="1536">
                  <c:v>378.14930807953857</c:v>
                </c:pt>
                <c:pt idx="1537">
                  <c:v>372.88364730738658</c:v>
                </c:pt>
                <c:pt idx="1538">
                  <c:v>367.67641084518237</c:v>
                </c:pt>
                <c:pt idx="1539">
                  <c:v>367.86459147140943</c:v>
                </c:pt>
                <c:pt idx="1540">
                  <c:v>368.67302087650052</c:v>
                </c:pt>
                <c:pt idx="1541">
                  <c:v>366.44066875454314</c:v>
                </c:pt>
                <c:pt idx="1542">
                  <c:v>369.40875957037753</c:v>
                </c:pt>
                <c:pt idx="1543">
                  <c:v>371.57181774332707</c:v>
                </c:pt>
                <c:pt idx="1544">
                  <c:v>375.95907580893891</c:v>
                </c:pt>
                <c:pt idx="1545">
                  <c:v>373.42848796527153</c:v>
                </c:pt>
                <c:pt idx="1546">
                  <c:v>371.07113499412361</c:v>
                </c:pt>
                <c:pt idx="1547">
                  <c:v>370.68186604528563</c:v>
                </c:pt>
                <c:pt idx="1548">
                  <c:v>372.7403039422822</c:v>
                </c:pt>
                <c:pt idx="1549">
                  <c:v>372.40606254118575</c:v>
                </c:pt>
                <c:pt idx="1550">
                  <c:v>373.39180293344384</c:v>
                </c:pt>
                <c:pt idx="1551">
                  <c:v>375.9522822845264</c:v>
                </c:pt>
                <c:pt idx="1552">
                  <c:v>375.25458732735956</c:v>
                </c:pt>
                <c:pt idx="1553">
                  <c:v>371.50999667117304</c:v>
                </c:pt>
                <c:pt idx="1554">
                  <c:v>373.42237379330021</c:v>
                </c:pt>
                <c:pt idx="1555">
                  <c:v>374.89724794326048</c:v>
                </c:pt>
                <c:pt idx="1556">
                  <c:v>374.59493610690288</c:v>
                </c:pt>
                <c:pt idx="1557">
                  <c:v>379.16697803653557</c:v>
                </c:pt>
                <c:pt idx="1558">
                  <c:v>380.91019640079077</c:v>
                </c:pt>
                <c:pt idx="1559">
                  <c:v>379.19415213418569</c:v>
                </c:pt>
                <c:pt idx="1560">
                  <c:v>382.34974422380589</c:v>
                </c:pt>
                <c:pt idx="1561">
                  <c:v>387.85521640772015</c:v>
                </c:pt>
                <c:pt idx="1562">
                  <c:v>386.15411789482266</c:v>
                </c:pt>
                <c:pt idx="1563">
                  <c:v>388.12016385980883</c:v>
                </c:pt>
                <c:pt idx="1564">
                  <c:v>383.72203615513695</c:v>
                </c:pt>
                <c:pt idx="1565">
                  <c:v>385.42653143024069</c:v>
                </c:pt>
                <c:pt idx="1566">
                  <c:v>394.04139973776995</c:v>
                </c:pt>
                <c:pt idx="1567">
                  <c:v>394.22754230667329</c:v>
                </c:pt>
                <c:pt idx="1568">
                  <c:v>394.05226937683</c:v>
                </c:pt>
                <c:pt idx="1569">
                  <c:v>396.63652606335643</c:v>
                </c:pt>
                <c:pt idx="1570">
                  <c:v>395.72959055428367</c:v>
                </c:pt>
                <c:pt idx="1571">
                  <c:v>395.09099925950585</c:v>
                </c:pt>
                <c:pt idx="1572">
                  <c:v>395.07741221068079</c:v>
                </c:pt>
                <c:pt idx="1573">
                  <c:v>396.54277542646349</c:v>
                </c:pt>
                <c:pt idx="1574">
                  <c:v>398.60121332346006</c:v>
                </c:pt>
                <c:pt idx="1575">
                  <c:v>386.92246550587981</c:v>
                </c:pt>
                <c:pt idx="1576">
                  <c:v>380.62418902302323</c:v>
                </c:pt>
                <c:pt idx="1577">
                  <c:v>375.72198180694164</c:v>
                </c:pt>
                <c:pt idx="1578">
                  <c:v>374.45702756132852</c:v>
                </c:pt>
                <c:pt idx="1579">
                  <c:v>368.30141509113514</c:v>
                </c:pt>
                <c:pt idx="1580">
                  <c:v>371.6696444948675</c:v>
                </c:pt>
                <c:pt idx="1581">
                  <c:v>377.20636689107943</c:v>
                </c:pt>
                <c:pt idx="1582">
                  <c:v>382.68398562490233</c:v>
                </c:pt>
                <c:pt idx="1583">
                  <c:v>387.84638482598388</c:v>
                </c:pt>
                <c:pt idx="1584">
                  <c:v>389.65278296727558</c:v>
                </c:pt>
                <c:pt idx="1585">
                  <c:v>386.2723252196007</c:v>
                </c:pt>
                <c:pt idx="1586">
                  <c:v>375.4971161488869</c:v>
                </c:pt>
                <c:pt idx="1587">
                  <c:v>383.01347155891006</c:v>
                </c:pt>
                <c:pt idx="1588">
                  <c:v>380.55081895936792</c:v>
                </c:pt>
                <c:pt idx="1589">
                  <c:v>384.23155048607669</c:v>
                </c:pt>
                <c:pt idx="1590">
                  <c:v>385.04677341558028</c:v>
                </c:pt>
                <c:pt idx="1591">
                  <c:v>386.59162086698956</c:v>
                </c:pt>
                <c:pt idx="1592">
                  <c:v>392.86068519487225</c:v>
                </c:pt>
                <c:pt idx="1593">
                  <c:v>391.60727994076046</c:v>
                </c:pt>
                <c:pt idx="1594">
                  <c:v>390.72548047201406</c:v>
                </c:pt>
                <c:pt idx="1595">
                  <c:v>390.11949809441637</c:v>
                </c:pt>
                <c:pt idx="1596">
                  <c:v>388.50263928423425</c:v>
                </c:pt>
                <c:pt idx="1597">
                  <c:v>391.79817797675258</c:v>
                </c:pt>
                <c:pt idx="1598">
                  <c:v>390.13308514324149</c:v>
                </c:pt>
                <c:pt idx="1599">
                  <c:v>394.40892940848784</c:v>
                </c:pt>
                <c:pt idx="1600">
                  <c:v>398.17254193302944</c:v>
                </c:pt>
                <c:pt idx="1601">
                  <c:v>397.98707871656734</c:v>
                </c:pt>
                <c:pt idx="1602">
                  <c:v>399.88926555207576</c:v>
                </c:pt>
                <c:pt idx="1603">
                  <c:v>403.08290137840612</c:v>
                </c:pt>
                <c:pt idx="1604">
                  <c:v>401.77310987167033</c:v>
                </c:pt>
                <c:pt idx="1605">
                  <c:v>401.03737117779332</c:v>
                </c:pt>
                <c:pt idx="1606">
                  <c:v>402.87298147405892</c:v>
                </c:pt>
                <c:pt idx="1607">
                  <c:v>407.82614012323455</c:v>
                </c:pt>
                <c:pt idx="1608">
                  <c:v>408.65630880644568</c:v>
                </c:pt>
                <c:pt idx="1609">
                  <c:v>405.7310171944103</c:v>
                </c:pt>
                <c:pt idx="1610">
                  <c:v>403.73711777933272</c:v>
                </c:pt>
                <c:pt idx="1611">
                  <c:v>407.49801289410931</c:v>
                </c:pt>
                <c:pt idx="1612">
                  <c:v>406.97151475213826</c:v>
                </c:pt>
                <c:pt idx="1613">
                  <c:v>407.42260477313027</c:v>
                </c:pt>
                <c:pt idx="1614">
                  <c:v>408.45046501674602</c:v>
                </c:pt>
                <c:pt idx="1615">
                  <c:v>409.70319091841657</c:v>
                </c:pt>
                <c:pt idx="1616">
                  <c:v>407.24393508108074</c:v>
                </c:pt>
                <c:pt idx="1617">
                  <c:v>408.65087398691566</c:v>
                </c:pt>
                <c:pt idx="1618">
                  <c:v>406.76091549534982</c:v>
                </c:pt>
                <c:pt idx="1619">
                  <c:v>409.38933009055768</c:v>
                </c:pt>
                <c:pt idx="1620">
                  <c:v>409.49734712871691</c:v>
                </c:pt>
                <c:pt idx="1621">
                  <c:v>411.62236156495629</c:v>
                </c:pt>
                <c:pt idx="1622">
                  <c:v>413.73310959992932</c:v>
                </c:pt>
                <c:pt idx="1623">
                  <c:v>407.57274166264716</c:v>
                </c:pt>
                <c:pt idx="1624">
                  <c:v>407.88931990027106</c:v>
                </c:pt>
                <c:pt idx="1625">
                  <c:v>404.84038614392762</c:v>
                </c:pt>
                <c:pt idx="1626">
                  <c:v>408.04896772396552</c:v>
                </c:pt>
                <c:pt idx="1627">
                  <c:v>406.3105048267991</c:v>
                </c:pt>
                <c:pt idx="1628">
                  <c:v>410.04830195857306</c:v>
                </c:pt>
                <c:pt idx="1629">
                  <c:v>407.1107820025951</c:v>
                </c:pt>
                <c:pt idx="1630">
                  <c:v>405.1902526511729</c:v>
                </c:pt>
                <c:pt idx="1631">
                  <c:v>409.56732043016598</c:v>
                </c:pt>
                <c:pt idx="1632">
                  <c:v>408.45386177895227</c:v>
                </c:pt>
                <c:pt idx="1633">
                  <c:v>410.56053369927787</c:v>
                </c:pt>
                <c:pt idx="1634">
                  <c:v>416.04426660507204</c:v>
                </c:pt>
                <c:pt idx="1635">
                  <c:v>412.04016331632687</c:v>
                </c:pt>
                <c:pt idx="1636">
                  <c:v>411.66516076875524</c:v>
                </c:pt>
                <c:pt idx="1637">
                  <c:v>412.06462000421197</c:v>
                </c:pt>
                <c:pt idx="1638">
                  <c:v>415.95323337794412</c:v>
                </c:pt>
                <c:pt idx="1639">
                  <c:v>412.55918858144418</c:v>
                </c:pt>
                <c:pt idx="1640">
                  <c:v>415.10676023614292</c:v>
                </c:pt>
                <c:pt idx="1641">
                  <c:v>418.17743327060646</c:v>
                </c:pt>
                <c:pt idx="1642">
                  <c:v>419.12852668836064</c:v>
                </c:pt>
                <c:pt idx="1643">
                  <c:v>417.11084993783925</c:v>
                </c:pt>
                <c:pt idx="1644">
                  <c:v>409.20794298874313</c:v>
                </c:pt>
                <c:pt idx="1645">
                  <c:v>403.12909734441132</c:v>
                </c:pt>
                <c:pt idx="1646">
                  <c:v>399.37091963939974</c:v>
                </c:pt>
                <c:pt idx="1647">
                  <c:v>401.62636974435969</c:v>
                </c:pt>
                <c:pt idx="1648">
                  <c:v>399.04958593468706</c:v>
                </c:pt>
                <c:pt idx="1649">
                  <c:v>399.04211305783326</c:v>
                </c:pt>
                <c:pt idx="1650">
                  <c:v>405.28943810759586</c:v>
                </c:pt>
                <c:pt idx="1651">
                  <c:v>411.93690174525642</c:v>
                </c:pt>
                <c:pt idx="1652">
                  <c:v>411.06800997289383</c:v>
                </c:pt>
                <c:pt idx="1653">
                  <c:v>410.54558794557028</c:v>
                </c:pt>
                <c:pt idx="1654">
                  <c:v>411.2983104504786</c:v>
                </c:pt>
                <c:pt idx="1655">
                  <c:v>405.95995896711253</c:v>
                </c:pt>
                <c:pt idx="1656">
                  <c:v>405.45520010326157</c:v>
                </c:pt>
                <c:pt idx="1657">
                  <c:v>404.30641512510277</c:v>
                </c:pt>
                <c:pt idx="1658">
                  <c:v>403.29282128275327</c:v>
                </c:pt>
                <c:pt idx="1659">
                  <c:v>398.3960488862017</c:v>
                </c:pt>
                <c:pt idx="1660">
                  <c:v>402.86075313011639</c:v>
                </c:pt>
                <c:pt idx="1661">
                  <c:v>405.75411517741287</c:v>
                </c:pt>
                <c:pt idx="1662">
                  <c:v>407.13048322339148</c:v>
                </c:pt>
                <c:pt idx="1663">
                  <c:v>410.18009633217616</c:v>
                </c:pt>
                <c:pt idx="1664">
                  <c:v>413.14343168092176</c:v>
                </c:pt>
                <c:pt idx="1665">
                  <c:v>409.68756581226774</c:v>
                </c:pt>
                <c:pt idx="1666">
                  <c:v>412.49532945196637</c:v>
                </c:pt>
                <c:pt idx="1667">
                  <c:v>413.54560832614351</c:v>
                </c:pt>
                <c:pt idx="1668">
                  <c:v>410.19572143832499</c:v>
                </c:pt>
                <c:pt idx="1669">
                  <c:v>409.05033322237244</c:v>
                </c:pt>
                <c:pt idx="1670">
                  <c:v>413.39954755127411</c:v>
                </c:pt>
                <c:pt idx="1671">
                  <c:v>415.82551511898856</c:v>
                </c:pt>
                <c:pt idx="1672">
                  <c:v>419.37173486232922</c:v>
                </c:pt>
                <c:pt idx="1673">
                  <c:v>417.88734977819144</c:v>
                </c:pt>
                <c:pt idx="1674">
                  <c:v>415.10200476905413</c:v>
                </c:pt>
                <c:pt idx="1675">
                  <c:v>418.15977010713385</c:v>
                </c:pt>
                <c:pt idx="1676">
                  <c:v>414.91042738062077</c:v>
                </c:pt>
                <c:pt idx="1677">
                  <c:v>415.3037724441063</c:v>
                </c:pt>
                <c:pt idx="1678">
                  <c:v>407.6196169810936</c:v>
                </c:pt>
                <c:pt idx="1679">
                  <c:v>399.88518943742827</c:v>
                </c:pt>
                <c:pt idx="1680">
                  <c:v>389.25807919890758</c:v>
                </c:pt>
                <c:pt idx="1681">
                  <c:v>385.037941833844</c:v>
                </c:pt>
                <c:pt idx="1682">
                  <c:v>384.60994979585456</c:v>
                </c:pt>
                <c:pt idx="1683">
                  <c:v>393.12155653231338</c:v>
                </c:pt>
                <c:pt idx="1684">
                  <c:v>388.69965149219763</c:v>
                </c:pt>
                <c:pt idx="1685">
                  <c:v>394.17319411137305</c:v>
                </c:pt>
                <c:pt idx="1686">
                  <c:v>391.87358609773162</c:v>
                </c:pt>
                <c:pt idx="1687">
                  <c:v>389.83960488862016</c:v>
                </c:pt>
                <c:pt idx="1688">
                  <c:v>394.93746560778266</c:v>
                </c:pt>
                <c:pt idx="1689">
                  <c:v>403.77719957336666</c:v>
                </c:pt>
                <c:pt idx="1690">
                  <c:v>394.18066698822685</c:v>
                </c:pt>
                <c:pt idx="1691">
                  <c:v>382.49512564623399</c:v>
                </c:pt>
                <c:pt idx="1692">
                  <c:v>387.96730956052693</c:v>
                </c:pt>
                <c:pt idx="1693">
                  <c:v>382.73765446776133</c:v>
                </c:pt>
                <c:pt idx="1694">
                  <c:v>380.25665935230541</c:v>
                </c:pt>
                <c:pt idx="1695">
                  <c:v>367.17776615330268</c:v>
                </c:pt>
                <c:pt idx="1696">
                  <c:v>378.43939157195359</c:v>
                </c:pt>
                <c:pt idx="1697">
                  <c:v>381.21182888470707</c:v>
                </c:pt>
                <c:pt idx="1698">
                  <c:v>379.29809305769743</c:v>
                </c:pt>
                <c:pt idx="1699">
                  <c:v>386.77844278833413</c:v>
                </c:pt>
                <c:pt idx="1700">
                  <c:v>389.01758843470401</c:v>
                </c:pt>
                <c:pt idx="1701">
                  <c:v>393.36476470628196</c:v>
                </c:pt>
                <c:pt idx="1702">
                  <c:v>392.84438073628218</c:v>
                </c:pt>
                <c:pt idx="1703">
                  <c:v>386.42789692864761</c:v>
                </c:pt>
                <c:pt idx="1704">
                  <c:v>389.25739984646634</c:v>
                </c:pt>
                <c:pt idx="1705">
                  <c:v>392.95511518420642</c:v>
                </c:pt>
                <c:pt idx="1706">
                  <c:v>397.79346327081026</c:v>
                </c:pt>
                <c:pt idx="1707">
                  <c:v>397.64264702885208</c:v>
                </c:pt>
                <c:pt idx="1708">
                  <c:v>399.2989082806269</c:v>
                </c:pt>
                <c:pt idx="1709">
                  <c:v>393.24587802906268</c:v>
                </c:pt>
                <c:pt idx="1710">
                  <c:v>394.97890610669907</c:v>
                </c:pt>
                <c:pt idx="1711">
                  <c:v>390.11474262732764</c:v>
                </c:pt>
                <c:pt idx="1712">
                  <c:v>387.37763164151932</c:v>
                </c:pt>
                <c:pt idx="1713">
                  <c:v>394.03460621335745</c:v>
                </c:pt>
                <c:pt idx="1714">
                  <c:v>395.72823184940114</c:v>
                </c:pt>
                <c:pt idx="1715">
                  <c:v>398.90895997934769</c:v>
                </c:pt>
                <c:pt idx="1716">
                  <c:v>392.4408453861779</c:v>
                </c:pt>
                <c:pt idx="1717">
                  <c:v>381.84974082704366</c:v>
                </c:pt>
                <c:pt idx="1718">
                  <c:v>387.41839278799449</c:v>
                </c:pt>
                <c:pt idx="1719">
                  <c:v>398.95243853558787</c:v>
                </c:pt>
                <c:pt idx="1720">
                  <c:v>398.51425621097968</c:v>
                </c:pt>
                <c:pt idx="1721">
                  <c:v>399.27716900250681</c:v>
                </c:pt>
                <c:pt idx="1722">
                  <c:v>397.10731730514476</c:v>
                </c:pt>
                <c:pt idx="1723">
                  <c:v>393.99588312420599</c:v>
                </c:pt>
                <c:pt idx="1724">
                  <c:v>396.59033009735123</c:v>
                </c:pt>
                <c:pt idx="1725">
                  <c:v>401.66373412862856</c:v>
                </c:pt>
                <c:pt idx="1726">
                  <c:v>404.79079341571611</c:v>
                </c:pt>
                <c:pt idx="1727">
                  <c:v>408.61758571729428</c:v>
                </c:pt>
                <c:pt idx="1728">
                  <c:v>408.83769590826023</c:v>
                </c:pt>
                <c:pt idx="1729">
                  <c:v>410.13729712837721</c:v>
                </c:pt>
                <c:pt idx="1730">
                  <c:v>408.44706825453977</c:v>
                </c:pt>
                <c:pt idx="1731">
                  <c:v>413.19913858110448</c:v>
                </c:pt>
                <c:pt idx="1732">
                  <c:v>408.36079049450063</c:v>
                </c:pt>
                <c:pt idx="1733">
                  <c:v>410.60672966528307</c:v>
                </c:pt>
                <c:pt idx="1734">
                  <c:v>412.23106135231899</c:v>
                </c:pt>
                <c:pt idx="1735">
                  <c:v>416.92470736893591</c:v>
                </c:pt>
                <c:pt idx="1736">
                  <c:v>413.40498237080413</c:v>
                </c:pt>
                <c:pt idx="1737">
                  <c:v>409.04897451748991</c:v>
                </c:pt>
                <c:pt idx="1738">
                  <c:v>405.02924612259596</c:v>
                </c:pt>
                <c:pt idx="1739">
                  <c:v>408.20250137568871</c:v>
                </c:pt>
                <c:pt idx="1740">
                  <c:v>405.89338242786977</c:v>
                </c:pt>
                <c:pt idx="1741">
                  <c:v>401.83221353405935</c:v>
                </c:pt>
                <c:pt idx="1742">
                  <c:v>393.51897771044639</c:v>
                </c:pt>
                <c:pt idx="1743">
                  <c:v>400.44225843925568</c:v>
                </c:pt>
                <c:pt idx="1744">
                  <c:v>398.36683673122781</c:v>
                </c:pt>
                <c:pt idx="1745">
                  <c:v>407.32138125938354</c:v>
                </c:pt>
                <c:pt idx="1746">
                  <c:v>412.48989463243635</c:v>
                </c:pt>
                <c:pt idx="1747">
                  <c:v>415.54358385586858</c:v>
                </c:pt>
                <c:pt idx="1748">
                  <c:v>414.71137711533368</c:v>
                </c:pt>
                <c:pt idx="1749">
                  <c:v>420.7107385240389</c:v>
                </c:pt>
                <c:pt idx="1750">
                  <c:v>412.14410423983861</c:v>
                </c:pt>
                <c:pt idx="1751">
                  <c:v>408.79285864713756</c:v>
                </c:pt>
                <c:pt idx="1752">
                  <c:v>405.10737165334001</c:v>
                </c:pt>
                <c:pt idx="1753">
                  <c:v>407.10127106841759</c:v>
                </c:pt>
                <c:pt idx="1754">
                  <c:v>405.14337733272646</c:v>
                </c:pt>
                <c:pt idx="1755">
                  <c:v>402.40626634691813</c:v>
                </c:pt>
                <c:pt idx="1756">
                  <c:v>398.83966603033986</c:v>
                </c:pt>
                <c:pt idx="1757">
                  <c:v>396.43407903586302</c:v>
                </c:pt>
                <c:pt idx="1758">
                  <c:v>403.66170965835363</c:v>
                </c:pt>
                <c:pt idx="1759">
                  <c:v>401.6508264322448</c:v>
                </c:pt>
                <c:pt idx="1760">
                  <c:v>395.34643577741696</c:v>
                </c:pt>
                <c:pt idx="1761">
                  <c:v>393.35932988675194</c:v>
                </c:pt>
                <c:pt idx="1762">
                  <c:v>388.35861656668862</c:v>
                </c:pt>
                <c:pt idx="1763">
                  <c:v>394.76626879258691</c:v>
                </c:pt>
                <c:pt idx="1764">
                  <c:v>386.03998668469217</c:v>
                </c:pt>
                <c:pt idx="1765">
                  <c:v>389.53865175714509</c:v>
                </c:pt>
                <c:pt idx="1766">
                  <c:v>395.99114124416604</c:v>
                </c:pt>
                <c:pt idx="1767">
                  <c:v>394.3620540900414</c:v>
                </c:pt>
                <c:pt idx="1768">
                  <c:v>392.67590133085145</c:v>
                </c:pt>
                <c:pt idx="1769">
                  <c:v>401.82609936208803</c:v>
                </c:pt>
                <c:pt idx="1770">
                  <c:v>402.59784373535143</c:v>
                </c:pt>
                <c:pt idx="1771">
                  <c:v>406.64746363766056</c:v>
                </c:pt>
                <c:pt idx="1772">
                  <c:v>404.48712287447603</c:v>
                </c:pt>
                <c:pt idx="1773">
                  <c:v>399.92255382169714</c:v>
                </c:pt>
                <c:pt idx="1774">
                  <c:v>403.24186984965928</c:v>
                </c:pt>
                <c:pt idx="1775">
                  <c:v>401.75272929843271</c:v>
                </c:pt>
                <c:pt idx="1776">
                  <c:v>404.03942961569032</c:v>
                </c:pt>
                <c:pt idx="1777">
                  <c:v>409.2847098146047</c:v>
                </c:pt>
                <c:pt idx="1778">
                  <c:v>405.85873545336585</c:v>
                </c:pt>
                <c:pt idx="1779">
                  <c:v>408.7154124688347</c:v>
                </c:pt>
                <c:pt idx="1780">
                  <c:v>396.53462319716846</c:v>
                </c:pt>
                <c:pt idx="1781">
                  <c:v>393.52509188241766</c:v>
                </c:pt>
                <c:pt idx="1782">
                  <c:v>385.42789013512322</c:v>
                </c:pt>
                <c:pt idx="1783">
                  <c:v>384.87625595282577</c:v>
                </c:pt>
                <c:pt idx="1784">
                  <c:v>382.94078084769598</c:v>
                </c:pt>
                <c:pt idx="1785">
                  <c:v>381.42174878905428</c:v>
                </c:pt>
                <c:pt idx="1786">
                  <c:v>386.60656662069715</c:v>
                </c:pt>
                <c:pt idx="1787">
                  <c:v>387.33075632307282</c:v>
                </c:pt>
                <c:pt idx="1788">
                  <c:v>394.1765908735793</c:v>
                </c:pt>
                <c:pt idx="1789">
                  <c:v>396.73163540513184</c:v>
                </c:pt>
                <c:pt idx="1790">
                  <c:v>394.44765249763924</c:v>
                </c:pt>
                <c:pt idx="1791">
                  <c:v>397.04957234763822</c:v>
                </c:pt>
                <c:pt idx="1792">
                  <c:v>391.98296184077338</c:v>
                </c:pt>
                <c:pt idx="1793">
                  <c:v>388.2213873735555</c:v>
                </c:pt>
                <c:pt idx="1794">
                  <c:v>387.60657341422154</c:v>
                </c:pt>
                <c:pt idx="1795">
                  <c:v>390.72683917689659</c:v>
                </c:pt>
                <c:pt idx="1796">
                  <c:v>384.3266598278521</c:v>
                </c:pt>
                <c:pt idx="1797">
                  <c:v>381.27229125197863</c:v>
                </c:pt>
                <c:pt idx="1798">
                  <c:v>379.26344608319351</c:v>
                </c:pt>
                <c:pt idx="1799">
                  <c:v>381.23764427747471</c:v>
                </c:pt>
                <c:pt idx="1800">
                  <c:v>373.24845956833946</c:v>
                </c:pt>
                <c:pt idx="1801">
                  <c:v>366.83129640826365</c:v>
                </c:pt>
                <c:pt idx="1802">
                  <c:v>368.40263860488182</c:v>
                </c:pt>
                <c:pt idx="1803">
                  <c:v>363.72733510417868</c:v>
                </c:pt>
                <c:pt idx="1804">
                  <c:v>342.18167242983986</c:v>
                </c:pt>
                <c:pt idx="1805">
                  <c:v>349.67357115197791</c:v>
                </c:pt>
                <c:pt idx="1806">
                  <c:v>340.16331632687724</c:v>
                </c:pt>
                <c:pt idx="1807">
                  <c:v>358.66615941684387</c:v>
                </c:pt>
                <c:pt idx="1808">
                  <c:v>358.72458372679159</c:v>
                </c:pt>
                <c:pt idx="1809">
                  <c:v>355.85160225273273</c:v>
                </c:pt>
                <c:pt idx="1810">
                  <c:v>359.92975495757446</c:v>
                </c:pt>
                <c:pt idx="1811">
                  <c:v>359.83668367312276</c:v>
                </c:pt>
                <c:pt idx="1812">
                  <c:v>358.77825256965059</c:v>
                </c:pt>
                <c:pt idx="1813">
                  <c:v>364.49704142011836</c:v>
                </c:pt>
                <c:pt idx="1814">
                  <c:v>366.2552055380811</c:v>
                </c:pt>
                <c:pt idx="1815">
                  <c:v>351.93717348623289</c:v>
                </c:pt>
                <c:pt idx="1816">
                  <c:v>353.59343473800772</c:v>
                </c:pt>
                <c:pt idx="1817">
                  <c:v>345.39772688673156</c:v>
                </c:pt>
                <c:pt idx="1818">
                  <c:v>346.25914578224035</c:v>
                </c:pt>
                <c:pt idx="1819">
                  <c:v>342.83588883076652</c:v>
                </c:pt>
                <c:pt idx="1820">
                  <c:v>353.04587667035781</c:v>
                </c:pt>
                <c:pt idx="1821">
                  <c:v>350.89708489867456</c:v>
                </c:pt>
                <c:pt idx="1822">
                  <c:v>353.91137168051415</c:v>
                </c:pt>
                <c:pt idx="1823">
                  <c:v>349.01527863640376</c:v>
                </c:pt>
                <c:pt idx="1824">
                  <c:v>353.49085251937856</c:v>
                </c:pt>
                <c:pt idx="1825">
                  <c:v>355.70010665833325</c:v>
                </c:pt>
                <c:pt idx="1826">
                  <c:v>348.12872370056863</c:v>
                </c:pt>
                <c:pt idx="1827">
                  <c:v>351.65048675602418</c:v>
                </c:pt>
                <c:pt idx="1828">
                  <c:v>350.2442272026305</c:v>
                </c:pt>
                <c:pt idx="1829">
                  <c:v>357.35704726254932</c:v>
                </c:pt>
                <c:pt idx="1830">
                  <c:v>363.80274322515777</c:v>
                </c:pt>
                <c:pt idx="1831">
                  <c:v>366.6567028308616</c:v>
                </c:pt>
                <c:pt idx="1832">
                  <c:v>362.84281822566732</c:v>
                </c:pt>
                <c:pt idx="1833">
                  <c:v>358.5112670602382</c:v>
                </c:pt>
                <c:pt idx="1834">
                  <c:v>352.01801642674201</c:v>
                </c:pt>
                <c:pt idx="1835">
                  <c:v>347.80535193853217</c:v>
                </c:pt>
                <c:pt idx="1836">
                  <c:v>354.01531260402584</c:v>
                </c:pt>
                <c:pt idx="1837">
                  <c:v>350.06827492034591</c:v>
                </c:pt>
                <c:pt idx="1838">
                  <c:v>346.70480098370234</c:v>
                </c:pt>
                <c:pt idx="1839">
                  <c:v>345.52408644080464</c:v>
                </c:pt>
                <c:pt idx="1840">
                  <c:v>349.95618176753919</c:v>
                </c:pt>
                <c:pt idx="1841">
                  <c:v>355.99562497027836</c:v>
                </c:pt>
                <c:pt idx="1842">
                  <c:v>351.49627375185975</c:v>
                </c:pt>
                <c:pt idx="1843">
                  <c:v>346.92898728931584</c:v>
                </c:pt>
                <c:pt idx="1844">
                  <c:v>337.37253649820991</c:v>
                </c:pt>
                <c:pt idx="1845">
                  <c:v>348.43239424180877</c:v>
                </c:pt>
                <c:pt idx="1846">
                  <c:v>339.92078750534995</c:v>
                </c:pt>
                <c:pt idx="1847">
                  <c:v>333.0586484962534</c:v>
                </c:pt>
                <c:pt idx="1848">
                  <c:v>359.20080978810995</c:v>
                </c:pt>
                <c:pt idx="1849">
                  <c:v>355.7721180171061</c:v>
                </c:pt>
                <c:pt idx="1850">
                  <c:v>363.38018600669841</c:v>
                </c:pt>
                <c:pt idx="1851">
                  <c:v>354.73067072466529</c:v>
                </c:pt>
                <c:pt idx="1852">
                  <c:v>355.09004816608814</c:v>
                </c:pt>
                <c:pt idx="1853">
                  <c:v>368.30820861554764</c:v>
                </c:pt>
                <c:pt idx="1854">
                  <c:v>373.537184355872</c:v>
                </c:pt>
                <c:pt idx="1855">
                  <c:v>365.24976392502668</c:v>
                </c:pt>
                <c:pt idx="1856">
                  <c:v>365.37136801201098</c:v>
                </c:pt>
                <c:pt idx="1857">
                  <c:v>366.13835691818559</c:v>
                </c:pt>
                <c:pt idx="1858">
                  <c:v>358.85705745283593</c:v>
                </c:pt>
                <c:pt idx="1859">
                  <c:v>357.32172093560416</c:v>
                </c:pt>
                <c:pt idx="1860">
                  <c:v>350.57303378419687</c:v>
                </c:pt>
                <c:pt idx="1861">
                  <c:v>346.57844142962932</c:v>
                </c:pt>
                <c:pt idx="1862">
                  <c:v>343.05871643149749</c:v>
                </c:pt>
                <c:pt idx="1863">
                  <c:v>340.29850746268659</c:v>
                </c:pt>
                <c:pt idx="1864">
                  <c:v>353.42903144722447</c:v>
                </c:pt>
                <c:pt idx="1865">
                  <c:v>353.54723877200252</c:v>
                </c:pt>
                <c:pt idx="1866">
                  <c:v>363.31360946745559</c:v>
                </c:pt>
                <c:pt idx="1867">
                  <c:v>359.97459221869713</c:v>
                </c:pt>
                <c:pt idx="1868">
                  <c:v>353.90865427074914</c:v>
                </c:pt>
                <c:pt idx="1869">
                  <c:v>348.85495146026801</c:v>
                </c:pt>
                <c:pt idx="1870">
                  <c:v>341.3392754026861</c:v>
                </c:pt>
                <c:pt idx="1871">
                  <c:v>346.70140422149609</c:v>
                </c:pt>
                <c:pt idx="1872">
                  <c:v>352.65592836907865</c:v>
                </c:pt>
                <c:pt idx="1873">
                  <c:v>345.70615289506043</c:v>
                </c:pt>
                <c:pt idx="1874">
                  <c:v>347.48265952893701</c:v>
                </c:pt>
                <c:pt idx="1875">
                  <c:v>343.69526966895154</c:v>
                </c:pt>
                <c:pt idx="1876">
                  <c:v>352.3638068193398</c:v>
                </c:pt>
                <c:pt idx="1877">
                  <c:v>352.17970230776024</c:v>
                </c:pt>
                <c:pt idx="1878">
                  <c:v>349.02886568522882</c:v>
                </c:pt>
                <c:pt idx="1879">
                  <c:v>348.77410851975895</c:v>
                </c:pt>
                <c:pt idx="1880">
                  <c:v>352.7123146217026</c:v>
                </c:pt>
                <c:pt idx="1881">
                  <c:v>347.83388474106482</c:v>
                </c:pt>
                <c:pt idx="1882">
                  <c:v>352.0404350573034</c:v>
                </c:pt>
                <c:pt idx="1883">
                  <c:v>343.80940087908203</c:v>
                </c:pt>
                <c:pt idx="1884">
                  <c:v>338.93029164600307</c:v>
                </c:pt>
                <c:pt idx="1885">
                  <c:v>338.28966229390147</c:v>
                </c:pt>
                <c:pt idx="1886">
                  <c:v>342.09403596491825</c:v>
                </c:pt>
                <c:pt idx="1887">
                  <c:v>341.71495730269908</c:v>
                </c:pt>
                <c:pt idx="1888">
                  <c:v>337.19794292080792</c:v>
                </c:pt>
                <c:pt idx="1889">
                  <c:v>330.24748809434845</c:v>
                </c:pt>
                <c:pt idx="1890">
                  <c:v>332.17549032262446</c:v>
                </c:pt>
                <c:pt idx="1891">
                  <c:v>329.65509276557583</c:v>
                </c:pt>
                <c:pt idx="1892">
                  <c:v>329.8419146869204</c:v>
                </c:pt>
                <c:pt idx="1893">
                  <c:v>325.80927859564264</c:v>
                </c:pt>
                <c:pt idx="1894">
                  <c:v>326.99610731051166</c:v>
                </c:pt>
                <c:pt idx="1895">
                  <c:v>323.51306734420751</c:v>
                </c:pt>
                <c:pt idx="1896">
                  <c:v>324.37312753483377</c:v>
                </c:pt>
                <c:pt idx="1897">
                  <c:v>318.23178146590669</c:v>
                </c:pt>
                <c:pt idx="1898">
                  <c:v>317.3778354472517</c:v>
                </c:pt>
                <c:pt idx="1899">
                  <c:v>314.97156910033362</c:v>
                </c:pt>
                <c:pt idx="1900">
                  <c:v>316.17266421646889</c:v>
                </c:pt>
                <c:pt idx="1901">
                  <c:v>311.19776628917316</c:v>
                </c:pt>
                <c:pt idx="1902">
                  <c:v>305.52857016691695</c:v>
                </c:pt>
                <c:pt idx="1903">
                  <c:v>292.92250626702628</c:v>
                </c:pt>
                <c:pt idx="1904">
                  <c:v>282.48697341693895</c:v>
                </c:pt>
                <c:pt idx="1905">
                  <c:v>283.93399411680781</c:v>
                </c:pt>
                <c:pt idx="1906">
                  <c:v>291.29477781778411</c:v>
                </c:pt>
                <c:pt idx="1907">
                  <c:v>292.52440573645202</c:v>
                </c:pt>
                <c:pt idx="1908">
                  <c:v>293.24859543882769</c:v>
                </c:pt>
                <c:pt idx="1909">
                  <c:v>281.88778456375377</c:v>
                </c:pt>
                <c:pt idx="1910">
                  <c:v>276.2050013926725</c:v>
                </c:pt>
                <c:pt idx="1911">
                  <c:v>275.10037432319513</c:v>
                </c:pt>
                <c:pt idx="1912">
                  <c:v>270.05346503712661</c:v>
                </c:pt>
                <c:pt idx="1913">
                  <c:v>267.69135659888991</c:v>
                </c:pt>
                <c:pt idx="1914">
                  <c:v>273.50049932404431</c:v>
                </c:pt>
                <c:pt idx="1915">
                  <c:v>264.34758388304266</c:v>
                </c:pt>
                <c:pt idx="1916">
                  <c:v>264.63834672789898</c:v>
                </c:pt>
                <c:pt idx="1917">
                  <c:v>261.37949306720833</c:v>
                </c:pt>
                <c:pt idx="1918">
                  <c:v>253.33188404812532</c:v>
                </c:pt>
                <c:pt idx="1919">
                  <c:v>245.90995862743634</c:v>
                </c:pt>
                <c:pt idx="1920">
                  <c:v>246.2543903151516</c:v>
                </c:pt>
                <c:pt idx="1921">
                  <c:v>240.2937519955978</c:v>
                </c:pt>
                <c:pt idx="1922">
                  <c:v>236.51859047955489</c:v>
                </c:pt>
                <c:pt idx="1923">
                  <c:v>230.22710752111087</c:v>
                </c:pt>
                <c:pt idx="1924">
                  <c:v>240.27608883212523</c:v>
                </c:pt>
                <c:pt idx="1925">
                  <c:v>236.48394350505097</c:v>
                </c:pt>
                <c:pt idx="1926">
                  <c:v>230.65917567374777</c:v>
                </c:pt>
                <c:pt idx="1927">
                  <c:v>237.47579806928036</c:v>
                </c:pt>
                <c:pt idx="1928">
                  <c:v>228.35141543081136</c:v>
                </c:pt>
                <c:pt idx="1929">
                  <c:v>230.32561362509256</c:v>
                </c:pt>
                <c:pt idx="1930">
                  <c:v>241.43642280178534</c:v>
                </c:pt>
                <c:pt idx="1931">
                  <c:v>252.45823680867397</c:v>
                </c:pt>
                <c:pt idx="1932">
                  <c:v>256.29929551151844</c:v>
                </c:pt>
                <c:pt idx="1933">
                  <c:v>250.21841180986283</c:v>
                </c:pt>
                <c:pt idx="1934">
                  <c:v>259.31629970312298</c:v>
                </c:pt>
                <c:pt idx="1935">
                  <c:v>255.09480363317687</c:v>
                </c:pt>
                <c:pt idx="1936">
                  <c:v>252.00918484500573</c:v>
                </c:pt>
                <c:pt idx="1937">
                  <c:v>245.37734631349397</c:v>
                </c:pt>
                <c:pt idx="1938">
                  <c:v>242.22650969096259</c:v>
                </c:pt>
                <c:pt idx="1939">
                  <c:v>247.19936956093451</c:v>
                </c:pt>
                <c:pt idx="1940">
                  <c:v>247.2503209940285</c:v>
                </c:pt>
                <c:pt idx="1941">
                  <c:v>247.2428481171747</c:v>
                </c:pt>
                <c:pt idx="1942">
                  <c:v>249.67289179953667</c:v>
                </c:pt>
                <c:pt idx="1943">
                  <c:v>261.99294832165981</c:v>
                </c:pt>
                <c:pt idx="1944">
                  <c:v>260.73886371510673</c:v>
                </c:pt>
                <c:pt idx="1945">
                  <c:v>259.10366238901082</c:v>
                </c:pt>
                <c:pt idx="1946">
                  <c:v>258.49428324920683</c:v>
                </c:pt>
                <c:pt idx="1947">
                  <c:v>266.17911806466077</c:v>
                </c:pt>
                <c:pt idx="1948">
                  <c:v>264.71715161108432</c:v>
                </c:pt>
                <c:pt idx="1949">
                  <c:v>250.35292359323094</c:v>
                </c:pt>
                <c:pt idx="1950">
                  <c:v>250.55061515363556</c:v>
                </c:pt>
                <c:pt idx="1951">
                  <c:v>249.57506504799625</c:v>
                </c:pt>
                <c:pt idx="1952">
                  <c:v>249.19123091868829</c:v>
                </c:pt>
                <c:pt idx="1953">
                  <c:v>238.09672620058561</c:v>
                </c:pt>
                <c:pt idx="1954">
                  <c:v>237.06207243255727</c:v>
                </c:pt>
                <c:pt idx="1955">
                  <c:v>236.44522041589957</c:v>
                </c:pt>
                <c:pt idx="1956">
                  <c:v>242.44526117704604</c:v>
                </c:pt>
                <c:pt idx="1957">
                  <c:v>241.13003485078025</c:v>
                </c:pt>
                <c:pt idx="1958">
                  <c:v>238.20881935339236</c:v>
                </c:pt>
                <c:pt idx="1959">
                  <c:v>239.65040523373119</c:v>
                </c:pt>
                <c:pt idx="1960">
                  <c:v>245.66471239614398</c:v>
                </c:pt>
                <c:pt idx="1961">
                  <c:v>246.57912078207053</c:v>
                </c:pt>
                <c:pt idx="1962">
                  <c:v>243.98331510404282</c:v>
                </c:pt>
                <c:pt idx="1963">
                  <c:v>249.02818633278758</c:v>
                </c:pt>
                <c:pt idx="1964">
                  <c:v>247.0118682871487</c:v>
                </c:pt>
                <c:pt idx="1965">
                  <c:v>239.50570316374433</c:v>
                </c:pt>
                <c:pt idx="1966">
                  <c:v>232.18635996168453</c:v>
                </c:pt>
                <c:pt idx="1967">
                  <c:v>245.03155592089621</c:v>
                </c:pt>
                <c:pt idx="1968">
                  <c:v>244.73603760895114</c:v>
                </c:pt>
                <c:pt idx="1969">
                  <c:v>239.30937030822221</c:v>
                </c:pt>
                <c:pt idx="1970">
                  <c:v>231.23458719148908</c:v>
                </c:pt>
                <c:pt idx="1971">
                  <c:v>237.22783442822302</c:v>
                </c:pt>
                <c:pt idx="1972">
                  <c:v>230.0504758863851</c:v>
                </c:pt>
                <c:pt idx="1973">
                  <c:v>224.18698496593046</c:v>
                </c:pt>
                <c:pt idx="1974">
                  <c:v>223.71619372414216</c:v>
                </c:pt>
                <c:pt idx="1975">
                  <c:v>228.05929388107256</c:v>
                </c:pt>
                <c:pt idx="1976">
                  <c:v>256.29182263466464</c:v>
                </c:pt>
                <c:pt idx="1977">
                  <c:v>250.74151318962765</c:v>
                </c:pt>
                <c:pt idx="1978">
                  <c:v>242.86306292841664</c:v>
                </c:pt>
                <c:pt idx="1979">
                  <c:v>241.49552646417436</c:v>
                </c:pt>
                <c:pt idx="1980">
                  <c:v>248.02342407217441</c:v>
                </c:pt>
                <c:pt idx="1981">
                  <c:v>240.87323962798661</c:v>
                </c:pt>
                <c:pt idx="1982">
                  <c:v>218.78545370552789</c:v>
                </c:pt>
                <c:pt idx="1983">
                  <c:v>217.60066304798266</c:v>
                </c:pt>
                <c:pt idx="1984">
                  <c:v>218.60406660371333</c:v>
                </c:pt>
                <c:pt idx="1985">
                  <c:v>219.82350423576247</c:v>
                </c:pt>
                <c:pt idx="1986">
                  <c:v>228.19584372176442</c:v>
                </c:pt>
                <c:pt idx="1987">
                  <c:v>205.62503821357481</c:v>
                </c:pt>
                <c:pt idx="1988">
                  <c:v>201.77650663387658</c:v>
                </c:pt>
                <c:pt idx="1989">
                  <c:v>192.80294023736573</c:v>
                </c:pt>
                <c:pt idx="1990">
                  <c:v>189.60998376347666</c:v>
                </c:pt>
                <c:pt idx="1991">
                  <c:v>173.90199661682487</c:v>
                </c:pt>
                <c:pt idx="1992">
                  <c:v>183.61198105965394</c:v>
                </c:pt>
                <c:pt idx="1993">
                  <c:v>186.72341524059266</c:v>
                </c:pt>
                <c:pt idx="1994">
                  <c:v>177.59495648747611</c:v>
                </c:pt>
                <c:pt idx="1995">
                  <c:v>166.2001779903396</c:v>
                </c:pt>
                <c:pt idx="1996">
                  <c:v>168.19815352006466</c:v>
                </c:pt>
                <c:pt idx="1997">
                  <c:v>171.99437496178641</c:v>
                </c:pt>
                <c:pt idx="1998">
                  <c:v>169.90604555737471</c:v>
                </c:pt>
                <c:pt idx="1999">
                  <c:v>159.1974130259037</c:v>
                </c:pt>
                <c:pt idx="2000">
                  <c:v>159.23613611505513</c:v>
                </c:pt>
                <c:pt idx="2001">
                  <c:v>150.51664753157291</c:v>
                </c:pt>
                <c:pt idx="2002">
                  <c:v>142.6755616546308</c:v>
                </c:pt>
                <c:pt idx="2003">
                  <c:v>145.22381266177078</c:v>
                </c:pt>
                <c:pt idx="2004">
                  <c:v>160.02486429934987</c:v>
                </c:pt>
                <c:pt idx="2005">
                  <c:v>165.89446939177574</c:v>
                </c:pt>
                <c:pt idx="2006">
                  <c:v>168.67573828626553</c:v>
                </c:pt>
                <c:pt idx="2007">
                  <c:v>171.96040733972376</c:v>
                </c:pt>
                <c:pt idx="2008">
                  <c:v>180.66359146461593</c:v>
                </c:pt>
                <c:pt idx="2009">
                  <c:v>178.63640377991698</c:v>
                </c:pt>
                <c:pt idx="2010">
                  <c:v>167.26472326578306</c:v>
                </c:pt>
                <c:pt idx="2011">
                  <c:v>170.15944401796207</c:v>
                </c:pt>
                <c:pt idx="2012">
                  <c:v>170.74300776499842</c:v>
                </c:pt>
                <c:pt idx="2013">
                  <c:v>162.42977194138544</c:v>
                </c:pt>
                <c:pt idx="2014">
                  <c:v>155.27415267766764</c:v>
                </c:pt>
                <c:pt idx="2015">
                  <c:v>150.97249301965368</c:v>
                </c:pt>
                <c:pt idx="2016">
                  <c:v>151.78228112962722</c:v>
                </c:pt>
                <c:pt idx="2017">
                  <c:v>146.5865936589243</c:v>
                </c:pt>
                <c:pt idx="2018">
                  <c:v>146.20887370158763</c:v>
                </c:pt>
                <c:pt idx="2019">
                  <c:v>138.53083241054625</c:v>
                </c:pt>
                <c:pt idx="2020">
                  <c:v>133.64289159573096</c:v>
                </c:pt>
                <c:pt idx="2021">
                  <c:v>133.13949143676248</c:v>
                </c:pt>
                <c:pt idx="2022">
                  <c:v>144.5431015156353</c:v>
                </c:pt>
                <c:pt idx="2023">
                  <c:v>148.00440220381932</c:v>
                </c:pt>
                <c:pt idx="2024">
                  <c:v>148.53565581287916</c:v>
                </c:pt>
                <c:pt idx="2025">
                  <c:v>150.93105252073724</c:v>
                </c:pt>
                <c:pt idx="2026">
                  <c:v>149.8719420648238</c:v>
                </c:pt>
                <c:pt idx="2027">
                  <c:v>139.38953389629009</c:v>
                </c:pt>
                <c:pt idx="2028">
                  <c:v>142.50164742967004</c:v>
                </c:pt>
                <c:pt idx="2029">
                  <c:v>141.73533787593666</c:v>
                </c:pt>
                <c:pt idx="2030">
                  <c:v>141.53357020088453</c:v>
                </c:pt>
                <c:pt idx="2031">
                  <c:v>138.00025815392769</c:v>
                </c:pt>
                <c:pt idx="2032">
                  <c:v>146.98809095170483</c:v>
                </c:pt>
                <c:pt idx="2033">
                  <c:v>149.68308208615551</c:v>
                </c:pt>
                <c:pt idx="2034">
                  <c:v>152.92902805046231</c:v>
                </c:pt>
                <c:pt idx="2035">
                  <c:v>154.13827539589263</c:v>
                </c:pt>
                <c:pt idx="2036">
                  <c:v>148.96636526063355</c:v>
                </c:pt>
                <c:pt idx="2037">
                  <c:v>153.15253500363454</c:v>
                </c:pt>
                <c:pt idx="2038">
                  <c:v>154.25716207311191</c:v>
                </c:pt>
                <c:pt idx="2039">
                  <c:v>159.55407305756154</c:v>
                </c:pt>
                <c:pt idx="2040">
                  <c:v>160.49633489357942</c:v>
                </c:pt>
                <c:pt idx="2041">
                  <c:v>153.03840379350402</c:v>
                </c:pt>
                <c:pt idx="2042">
                  <c:v>152.18921324193778</c:v>
                </c:pt>
                <c:pt idx="2043">
                  <c:v>151.5010292189485</c:v>
                </c:pt>
                <c:pt idx="2044">
                  <c:v>152.16135979184642</c:v>
                </c:pt>
                <c:pt idx="2045">
                  <c:v>155.31559317658409</c:v>
                </c:pt>
                <c:pt idx="2046">
                  <c:v>154.59344153153214</c:v>
                </c:pt>
                <c:pt idx="2047">
                  <c:v>152.53228622477056</c:v>
                </c:pt>
                <c:pt idx="2048">
                  <c:v>158.24428155082575</c:v>
                </c:pt>
                <c:pt idx="2049">
                  <c:v>158.71303473529031</c:v>
                </c:pt>
                <c:pt idx="2050">
                  <c:v>158.38694556348889</c:v>
                </c:pt>
                <c:pt idx="2051">
                  <c:v>161.41753680391852</c:v>
                </c:pt>
                <c:pt idx="2052">
                  <c:v>160.79524996773077</c:v>
                </c:pt>
                <c:pt idx="2053">
                  <c:v>157.35025373813679</c:v>
                </c:pt>
                <c:pt idx="2054">
                  <c:v>154.45825039572279</c:v>
                </c:pt>
                <c:pt idx="2055">
                  <c:v>149.81963192684734</c:v>
                </c:pt>
                <c:pt idx="2056">
                  <c:v>144.20953946698006</c:v>
                </c:pt>
                <c:pt idx="2057">
                  <c:v>141.97107317305148</c:v>
                </c:pt>
                <c:pt idx="2058">
                  <c:v>144.93712593156204</c:v>
                </c:pt>
                <c:pt idx="2059">
                  <c:v>138.76113288813104</c:v>
                </c:pt>
                <c:pt idx="2060">
                  <c:v>134.17346585234955</c:v>
                </c:pt>
                <c:pt idx="2061">
                  <c:v>134.54846839992121</c:v>
                </c:pt>
                <c:pt idx="2062">
                  <c:v>134.28284159539126</c:v>
                </c:pt>
                <c:pt idx="2063">
                  <c:v>130.05455200103262</c:v>
                </c:pt>
                <c:pt idx="2064">
                  <c:v>137.85895284614705</c:v>
                </c:pt>
                <c:pt idx="2065">
                  <c:v>138.38545098811812</c:v>
                </c:pt>
                <c:pt idx="2066">
                  <c:v>143.60083967961739</c:v>
                </c:pt>
                <c:pt idx="2067">
                  <c:v>140.2156264648537</c:v>
                </c:pt>
                <c:pt idx="2068">
                  <c:v>136.71967880216579</c:v>
                </c:pt>
                <c:pt idx="2069">
                  <c:v>132.1476368725331</c:v>
                </c:pt>
                <c:pt idx="2070">
                  <c:v>137.20201903545541</c:v>
                </c:pt>
                <c:pt idx="2071">
                  <c:v>142.69594222786839</c:v>
                </c:pt>
                <c:pt idx="2072">
                  <c:v>141.53696696309078</c:v>
                </c:pt>
                <c:pt idx="2073">
                  <c:v>145.69324519867661</c:v>
                </c:pt>
                <c:pt idx="2074">
                  <c:v>149.01256122663875</c:v>
                </c:pt>
                <c:pt idx="2075">
                  <c:v>145.0994911650215</c:v>
                </c:pt>
                <c:pt idx="2076">
                  <c:v>142.70884992425221</c:v>
                </c:pt>
                <c:pt idx="2077">
                  <c:v>139.26249498977572</c:v>
                </c:pt>
                <c:pt idx="2078">
                  <c:v>141.4180802858715</c:v>
                </c:pt>
                <c:pt idx="2079">
                  <c:v>136.82294037323624</c:v>
                </c:pt>
                <c:pt idx="2080">
                  <c:v>130.89491097086258</c:v>
                </c:pt>
                <c:pt idx="2081">
                  <c:v>129.28552503753423</c:v>
                </c:pt>
                <c:pt idx="2082">
                  <c:v>130.28281442129361</c:v>
                </c:pt>
                <c:pt idx="2083">
                  <c:v>125.26375858531648</c:v>
                </c:pt>
                <c:pt idx="2084">
                  <c:v>125.42068899924591</c:v>
                </c:pt>
                <c:pt idx="2085">
                  <c:v>123.76782450967737</c:v>
                </c:pt>
                <c:pt idx="2086">
                  <c:v>123.90641240769298</c:v>
                </c:pt>
                <c:pt idx="2087">
                  <c:v>128.05929388107256</c:v>
                </c:pt>
                <c:pt idx="2088">
                  <c:v>124.40098098492517</c:v>
                </c:pt>
                <c:pt idx="2089">
                  <c:v>117.71887037276069</c:v>
                </c:pt>
                <c:pt idx="2090">
                  <c:v>117.08299648774788</c:v>
                </c:pt>
                <c:pt idx="2091">
                  <c:v>121.05041474466539</c:v>
                </c:pt>
                <c:pt idx="2092">
                  <c:v>116.19168608482394</c:v>
                </c:pt>
                <c:pt idx="2093">
                  <c:v>115.10472217881915</c:v>
                </c:pt>
                <c:pt idx="2094">
                  <c:v>112.65905339030836</c:v>
                </c:pt>
                <c:pt idx="2095">
                  <c:v>118.93083512795603</c:v>
                </c:pt>
                <c:pt idx="2096">
                  <c:v>120.03750025475716</c:v>
                </c:pt>
                <c:pt idx="2097">
                  <c:v>121.05584956419541</c:v>
                </c:pt>
                <c:pt idx="2098">
                  <c:v>123.12447774781079</c:v>
                </c:pt>
                <c:pt idx="2099">
                  <c:v>125.46756431769238</c:v>
                </c:pt>
                <c:pt idx="2100">
                  <c:v>124.47503040102174</c:v>
                </c:pt>
                <c:pt idx="2101">
                  <c:v>123.82624881962514</c:v>
                </c:pt>
                <c:pt idx="2102">
                  <c:v>130.35686383739019</c:v>
                </c:pt>
                <c:pt idx="2103">
                  <c:v>128.09122344581147</c:v>
                </c:pt>
                <c:pt idx="2104">
                  <c:v>132.47780215898206</c:v>
                </c:pt>
                <c:pt idx="2105">
                  <c:v>132.10076155408663</c:v>
                </c:pt>
                <c:pt idx="2106">
                  <c:v>132.98595778503929</c:v>
                </c:pt>
                <c:pt idx="2107">
                  <c:v>133.17345905882513</c:v>
                </c:pt>
                <c:pt idx="2108">
                  <c:v>129.8262895807716</c:v>
                </c:pt>
                <c:pt idx="2109">
                  <c:v>122.82080720657069</c:v>
                </c:pt>
                <c:pt idx="2110">
                  <c:v>128.18701214002812</c:v>
                </c:pt>
                <c:pt idx="2111">
                  <c:v>129.81406123682905</c:v>
                </c:pt>
                <c:pt idx="2112">
                  <c:v>141.02677327970977</c:v>
                </c:pt>
                <c:pt idx="2113">
                  <c:v>142.13343840651092</c:v>
                </c:pt>
                <c:pt idx="2114">
                  <c:v>140.99891982961839</c:v>
                </c:pt>
                <c:pt idx="2115">
                  <c:v>135.96016277284491</c:v>
                </c:pt>
                <c:pt idx="2116">
                  <c:v>135.32904435492088</c:v>
                </c:pt>
                <c:pt idx="2117">
                  <c:v>139.79986277080687</c:v>
                </c:pt>
                <c:pt idx="2118">
                  <c:v>143.93576043315508</c:v>
                </c:pt>
                <c:pt idx="2119">
                  <c:v>141.80327312006196</c:v>
                </c:pt>
                <c:pt idx="2120">
                  <c:v>145.24147582524338</c:v>
                </c:pt>
                <c:pt idx="2121">
                  <c:v>146.93849822349335</c:v>
                </c:pt>
                <c:pt idx="2122">
                  <c:v>138.57770772899272</c:v>
                </c:pt>
                <c:pt idx="2123">
                  <c:v>138.1402047568258</c:v>
                </c:pt>
                <c:pt idx="2124">
                  <c:v>141.77541966997057</c:v>
                </c:pt>
                <c:pt idx="2125">
                  <c:v>141.41468352366525</c:v>
                </c:pt>
                <c:pt idx="2126">
                  <c:v>146.60357746995561</c:v>
                </c:pt>
                <c:pt idx="2127">
                  <c:v>144.73060278942111</c:v>
                </c:pt>
                <c:pt idx="2128">
                  <c:v>141.40856935169396</c:v>
                </c:pt>
                <c:pt idx="2129">
                  <c:v>146.5403976929191</c:v>
                </c:pt>
                <c:pt idx="2130">
                  <c:v>150.31487985652078</c:v>
                </c:pt>
                <c:pt idx="2131">
                  <c:v>149.77139790351836</c:v>
                </c:pt>
                <c:pt idx="2132">
                  <c:v>155.90866785779795</c:v>
                </c:pt>
                <c:pt idx="2133">
                  <c:v>157.29794360016032</c:v>
                </c:pt>
                <c:pt idx="2134">
                  <c:v>158.01669848300597</c:v>
                </c:pt>
                <c:pt idx="2135">
                  <c:v>158.33531477795364</c:v>
                </c:pt>
                <c:pt idx="2136">
                  <c:v>162.00925278024988</c:v>
                </c:pt>
                <c:pt idx="2137">
                  <c:v>160.01467401273106</c:v>
                </c:pt>
                <c:pt idx="2138">
                  <c:v>158.0479486953036</c:v>
                </c:pt>
                <c:pt idx="2139">
                  <c:v>152.30538250939205</c:v>
                </c:pt>
                <c:pt idx="2140">
                  <c:v>153.89982268901284</c:v>
                </c:pt>
                <c:pt idx="2141">
                  <c:v>156.17972948185786</c:v>
                </c:pt>
                <c:pt idx="2142">
                  <c:v>157.96846445967705</c:v>
                </c:pt>
                <c:pt idx="2143">
                  <c:v>162.21713462727331</c:v>
                </c:pt>
                <c:pt idx="2144">
                  <c:v>164.65193377672404</c:v>
                </c:pt>
                <c:pt idx="2145">
                  <c:v>161.58397815202548</c:v>
                </c:pt>
                <c:pt idx="2146">
                  <c:v>163.36048478590209</c:v>
                </c:pt>
                <c:pt idx="2147">
                  <c:v>163.63086705752076</c:v>
                </c:pt>
                <c:pt idx="2148">
                  <c:v>164.01198377706368</c:v>
                </c:pt>
                <c:pt idx="2149">
                  <c:v>165.52626036861665</c:v>
                </c:pt>
                <c:pt idx="2150">
                  <c:v>162.1199872281741</c:v>
                </c:pt>
                <c:pt idx="2151">
                  <c:v>164.3041053268025</c:v>
                </c:pt>
                <c:pt idx="2152">
                  <c:v>170.07384561036417</c:v>
                </c:pt>
                <c:pt idx="2153">
                  <c:v>172.64179783830053</c:v>
                </c:pt>
                <c:pt idx="2154">
                  <c:v>168.20902315912471</c:v>
                </c:pt>
                <c:pt idx="2155">
                  <c:v>166.80072554840726</c:v>
                </c:pt>
                <c:pt idx="2156">
                  <c:v>166.64583319180159</c:v>
                </c:pt>
                <c:pt idx="2157">
                  <c:v>162.91211217467512</c:v>
                </c:pt>
                <c:pt idx="2158">
                  <c:v>165.48210245993519</c:v>
                </c:pt>
                <c:pt idx="2159">
                  <c:v>167.29529412563946</c:v>
                </c:pt>
                <c:pt idx="2160">
                  <c:v>170.17982459119969</c:v>
                </c:pt>
                <c:pt idx="2161">
                  <c:v>169.89857268052091</c:v>
                </c:pt>
                <c:pt idx="2162">
                  <c:v>163.86388494487053</c:v>
                </c:pt>
                <c:pt idx="2163">
                  <c:v>165.04867560241578</c:v>
                </c:pt>
                <c:pt idx="2164">
                  <c:v>160.00516307855355</c:v>
                </c:pt>
                <c:pt idx="2165">
                  <c:v>161.08873022235204</c:v>
                </c:pt>
                <c:pt idx="2166">
                  <c:v>162.57447401137236</c:v>
                </c:pt>
                <c:pt idx="2167">
                  <c:v>156.97525119056516</c:v>
                </c:pt>
                <c:pt idx="2168">
                  <c:v>157.76669678462488</c:v>
                </c:pt>
                <c:pt idx="2169">
                  <c:v>161.77351748313507</c:v>
                </c:pt>
                <c:pt idx="2170">
                  <c:v>159.48002364146498</c:v>
                </c:pt>
                <c:pt idx="2171">
                  <c:v>161.75925108186877</c:v>
                </c:pt>
                <c:pt idx="2172">
                  <c:v>165.31498175938694</c:v>
                </c:pt>
                <c:pt idx="2173">
                  <c:v>162.6852084592966</c:v>
                </c:pt>
                <c:pt idx="2174">
                  <c:v>166.74501864822449</c:v>
                </c:pt>
                <c:pt idx="2175">
                  <c:v>161.73003892689488</c:v>
                </c:pt>
                <c:pt idx="2176">
                  <c:v>160.91413664495002</c:v>
                </c:pt>
                <c:pt idx="2177">
                  <c:v>157.70079959782336</c:v>
                </c:pt>
                <c:pt idx="2178">
                  <c:v>157.55270076563019</c:v>
                </c:pt>
                <c:pt idx="2179">
                  <c:v>152.83867417577565</c:v>
                </c:pt>
                <c:pt idx="2180">
                  <c:v>155.29113648869898</c:v>
                </c:pt>
                <c:pt idx="2181">
                  <c:v>153.0023981141176</c:v>
                </c:pt>
                <c:pt idx="2182">
                  <c:v>156.14508250735398</c:v>
                </c:pt>
                <c:pt idx="2183">
                  <c:v>159.0139878667654</c:v>
                </c:pt>
                <c:pt idx="2184">
                  <c:v>165.40601498651486</c:v>
                </c:pt>
                <c:pt idx="2185">
                  <c:v>165.97599168472613</c:v>
                </c:pt>
                <c:pt idx="2186">
                  <c:v>166.35167358473902</c:v>
                </c:pt>
                <c:pt idx="2187">
                  <c:v>170.23689019626491</c:v>
                </c:pt>
                <c:pt idx="2188">
                  <c:v>171.94070611892741</c:v>
                </c:pt>
                <c:pt idx="2189">
                  <c:v>172.42848117174708</c:v>
                </c:pt>
                <c:pt idx="2190">
                  <c:v>175.24303833585824</c:v>
                </c:pt>
                <c:pt idx="2191">
                  <c:v>174.77496450383495</c:v>
                </c:pt>
                <c:pt idx="2192">
                  <c:v>175.89793408922614</c:v>
                </c:pt>
                <c:pt idx="2193">
                  <c:v>173.10171944102882</c:v>
                </c:pt>
                <c:pt idx="2194">
                  <c:v>173.03106678713849</c:v>
                </c:pt>
                <c:pt idx="2195">
                  <c:v>176.37687756030951</c:v>
                </c:pt>
                <c:pt idx="2196">
                  <c:v>178.51140293072643</c:v>
                </c:pt>
                <c:pt idx="2197">
                  <c:v>184.90410940291713</c:v>
                </c:pt>
                <c:pt idx="2198">
                  <c:v>183.99921195116815</c:v>
                </c:pt>
                <c:pt idx="2199">
                  <c:v>183.78385722729095</c:v>
                </c:pt>
                <c:pt idx="2200">
                  <c:v>183.53657293867485</c:v>
                </c:pt>
                <c:pt idx="2201">
                  <c:v>183.74309608081577</c:v>
                </c:pt>
                <c:pt idx="2202">
                  <c:v>182.98833551858368</c:v>
                </c:pt>
                <c:pt idx="2203">
                  <c:v>180.21318079606519</c:v>
                </c:pt>
                <c:pt idx="2204">
                  <c:v>183.18806513631208</c:v>
                </c:pt>
                <c:pt idx="2205">
                  <c:v>187.21934252270736</c:v>
                </c:pt>
                <c:pt idx="2206">
                  <c:v>185.67585377618053</c:v>
                </c:pt>
                <c:pt idx="2207">
                  <c:v>179.24238615751466</c:v>
                </c:pt>
                <c:pt idx="2208">
                  <c:v>181.95096434079036</c:v>
                </c:pt>
                <c:pt idx="2209">
                  <c:v>182.6846649773436</c:v>
                </c:pt>
                <c:pt idx="2210">
                  <c:v>186.61336014510968</c:v>
                </c:pt>
                <c:pt idx="2211">
                  <c:v>192.63378147949373</c:v>
                </c:pt>
                <c:pt idx="2212">
                  <c:v>196.73707022466186</c:v>
                </c:pt>
                <c:pt idx="2213">
                  <c:v>199.57132860956935</c:v>
                </c:pt>
                <c:pt idx="2214">
                  <c:v>195.18542924883999</c:v>
                </c:pt>
                <c:pt idx="2215">
                  <c:v>193.5278092921827</c:v>
                </c:pt>
                <c:pt idx="2216">
                  <c:v>196.89196258126753</c:v>
                </c:pt>
                <c:pt idx="2217">
                  <c:v>194.59099586274363</c:v>
                </c:pt>
                <c:pt idx="2218">
                  <c:v>189.38851486762817</c:v>
                </c:pt>
                <c:pt idx="2219">
                  <c:v>186.19691709862158</c:v>
                </c:pt>
                <c:pt idx="2220">
                  <c:v>187.1031732552531</c:v>
                </c:pt>
                <c:pt idx="2221">
                  <c:v>189.66637001610064</c:v>
                </c:pt>
                <c:pt idx="2222">
                  <c:v>194.17387346381429</c:v>
                </c:pt>
                <c:pt idx="2223">
                  <c:v>197.84713211366926</c:v>
                </c:pt>
                <c:pt idx="2224">
                  <c:v>200.43274750507817</c:v>
                </c:pt>
                <c:pt idx="2225">
                  <c:v>200.85394601865502</c:v>
                </c:pt>
                <c:pt idx="2226">
                  <c:v>204.19160456253098</c:v>
                </c:pt>
                <c:pt idx="2227">
                  <c:v>203.87774373467212</c:v>
                </c:pt>
                <c:pt idx="2228">
                  <c:v>204.62503142005042</c:v>
                </c:pt>
                <c:pt idx="2229">
                  <c:v>209.71881602456537</c:v>
                </c:pt>
                <c:pt idx="2230">
                  <c:v>212.27657796588292</c:v>
                </c:pt>
                <c:pt idx="2231">
                  <c:v>210.67058879476085</c:v>
                </c:pt>
                <c:pt idx="2232">
                  <c:v>207.48646390260802</c:v>
                </c:pt>
                <c:pt idx="2233">
                  <c:v>209.96610031318147</c:v>
                </c:pt>
                <c:pt idx="2234">
                  <c:v>211.08771119369018</c:v>
                </c:pt>
                <c:pt idx="2235">
                  <c:v>206.86961188595032</c:v>
                </c:pt>
                <c:pt idx="2236">
                  <c:v>204.61687919075538</c:v>
                </c:pt>
                <c:pt idx="2237">
                  <c:v>206.70384989028457</c:v>
                </c:pt>
                <c:pt idx="2238">
                  <c:v>205.46403168499785</c:v>
                </c:pt>
                <c:pt idx="2239">
                  <c:v>207.20657069681181</c:v>
                </c:pt>
                <c:pt idx="2240">
                  <c:v>203.24186984965931</c:v>
                </c:pt>
                <c:pt idx="2241">
                  <c:v>199.41983301516993</c:v>
                </c:pt>
                <c:pt idx="2242">
                  <c:v>202.73507292848456</c:v>
                </c:pt>
                <c:pt idx="2243">
                  <c:v>210.27248826418656</c:v>
                </c:pt>
                <c:pt idx="2244">
                  <c:v>209.18960047282928</c:v>
                </c:pt>
                <c:pt idx="2245">
                  <c:v>213.99601899469425</c:v>
                </c:pt>
                <c:pt idx="2246">
                  <c:v>213.4274010013655</c:v>
                </c:pt>
                <c:pt idx="2247">
                  <c:v>216.27592578753931</c:v>
                </c:pt>
                <c:pt idx="2248">
                  <c:v>213.94302950427652</c:v>
                </c:pt>
                <c:pt idx="2249">
                  <c:v>220.00013587048824</c:v>
                </c:pt>
                <c:pt idx="2250">
                  <c:v>221.17541559385594</c:v>
                </c:pt>
                <c:pt idx="2251">
                  <c:v>219.09795582850427</c:v>
                </c:pt>
                <c:pt idx="2252">
                  <c:v>222.95056352285002</c:v>
                </c:pt>
                <c:pt idx="2253">
                  <c:v>222.73860556117907</c:v>
                </c:pt>
                <c:pt idx="2254">
                  <c:v>223.52597504059131</c:v>
                </c:pt>
                <c:pt idx="2255">
                  <c:v>220.54565588081439</c:v>
                </c:pt>
                <c:pt idx="2256">
                  <c:v>218.89550880101086</c:v>
                </c:pt>
                <c:pt idx="2257">
                  <c:v>215.1026841214954</c:v>
                </c:pt>
                <c:pt idx="2258">
                  <c:v>211.45727892173181</c:v>
                </c:pt>
                <c:pt idx="2259">
                  <c:v>202.62297977567783</c:v>
                </c:pt>
                <c:pt idx="2260">
                  <c:v>208.80440763863885</c:v>
                </c:pt>
                <c:pt idx="2261">
                  <c:v>203.85328704678699</c:v>
                </c:pt>
                <c:pt idx="2262">
                  <c:v>205.91104559134234</c:v>
                </c:pt>
                <c:pt idx="2263">
                  <c:v>201.42120530710127</c:v>
                </c:pt>
                <c:pt idx="2264">
                  <c:v>208.29353460281661</c:v>
                </c:pt>
                <c:pt idx="2265">
                  <c:v>211.13934197922541</c:v>
                </c:pt>
                <c:pt idx="2266">
                  <c:v>210.86895970760671</c:v>
                </c:pt>
                <c:pt idx="2267">
                  <c:v>217.18625805881834</c:v>
                </c:pt>
                <c:pt idx="2268">
                  <c:v>216.19236543726521</c:v>
                </c:pt>
                <c:pt idx="2269">
                  <c:v>218.94034606213359</c:v>
                </c:pt>
                <c:pt idx="2270">
                  <c:v>219.69578597680692</c:v>
                </c:pt>
                <c:pt idx="2271">
                  <c:v>220.2161699468067</c:v>
                </c:pt>
                <c:pt idx="2272">
                  <c:v>225.36362339418068</c:v>
                </c:pt>
                <c:pt idx="2273">
                  <c:v>221.31672090163656</c:v>
                </c:pt>
                <c:pt idx="2274">
                  <c:v>223.82964558183139</c:v>
                </c:pt>
                <c:pt idx="2275">
                  <c:v>215.78339526763088</c:v>
                </c:pt>
                <c:pt idx="2276">
                  <c:v>213.92332828348017</c:v>
                </c:pt>
                <c:pt idx="2277">
                  <c:v>219.91453746289037</c:v>
                </c:pt>
                <c:pt idx="2278">
                  <c:v>217.93150768687286</c:v>
                </c:pt>
                <c:pt idx="2279">
                  <c:v>219.6828782804231</c:v>
                </c:pt>
                <c:pt idx="2280">
                  <c:v>211.2983104504786</c:v>
                </c:pt>
                <c:pt idx="2281">
                  <c:v>213.91177929197889</c:v>
                </c:pt>
                <c:pt idx="2282">
                  <c:v>210.6984422448522</c:v>
                </c:pt>
                <c:pt idx="2283">
                  <c:v>218.12240572286495</c:v>
                </c:pt>
                <c:pt idx="2284">
                  <c:v>219.09048295165047</c:v>
                </c:pt>
                <c:pt idx="2285">
                  <c:v>219.01711288799515</c:v>
                </c:pt>
                <c:pt idx="2286">
                  <c:v>218.64890386483603</c:v>
                </c:pt>
                <c:pt idx="2287">
                  <c:v>217.30990020312638</c:v>
                </c:pt>
                <c:pt idx="2288">
                  <c:v>212.44981283840244</c:v>
                </c:pt>
                <c:pt idx="2289">
                  <c:v>209.03878423087113</c:v>
                </c:pt>
                <c:pt idx="2290">
                  <c:v>210.3587660242257</c:v>
                </c:pt>
                <c:pt idx="2291">
                  <c:v>209.47696655547932</c:v>
                </c:pt>
                <c:pt idx="2292">
                  <c:v>212.08364187256706</c:v>
                </c:pt>
                <c:pt idx="2293">
                  <c:v>210.70931188391225</c:v>
                </c:pt>
                <c:pt idx="2294">
                  <c:v>213.7222399608693</c:v>
                </c:pt>
                <c:pt idx="2295">
                  <c:v>208.40562775562333</c:v>
                </c:pt>
                <c:pt idx="2296">
                  <c:v>206.00479622823525</c:v>
                </c:pt>
                <c:pt idx="2297">
                  <c:v>209.37370498440885</c:v>
                </c:pt>
                <c:pt idx="2298">
                  <c:v>210.50143003688885</c:v>
                </c:pt>
                <c:pt idx="2299">
                  <c:v>212.38187759427714</c:v>
                </c:pt>
                <c:pt idx="2300">
                  <c:v>212.32685004653564</c:v>
                </c:pt>
                <c:pt idx="2301">
                  <c:v>213.48106984422449</c:v>
                </c:pt>
                <c:pt idx="2302">
                  <c:v>215.6733401721479</c:v>
                </c:pt>
                <c:pt idx="2303">
                  <c:v>213.37984633047779</c:v>
                </c:pt>
                <c:pt idx="2304">
                  <c:v>214.0992805657647</c:v>
                </c:pt>
                <c:pt idx="2305">
                  <c:v>220.29633353487455</c:v>
                </c:pt>
                <c:pt idx="2306">
                  <c:v>221.84865386313766</c:v>
                </c:pt>
                <c:pt idx="2307">
                  <c:v>221.0110123030727</c:v>
                </c:pt>
                <c:pt idx="2308">
                  <c:v>220.27323555187195</c:v>
                </c:pt>
                <c:pt idx="2309">
                  <c:v>222.33982567816358</c:v>
                </c:pt>
                <c:pt idx="2310">
                  <c:v>224.58576484894598</c:v>
                </c:pt>
                <c:pt idx="2311">
                  <c:v>220.99674590180641</c:v>
                </c:pt>
                <c:pt idx="2312">
                  <c:v>220.96074022241999</c:v>
                </c:pt>
                <c:pt idx="2313">
                  <c:v>222.87991086895971</c:v>
                </c:pt>
                <c:pt idx="2314">
                  <c:v>218.69170306863498</c:v>
                </c:pt>
                <c:pt idx="2315">
                  <c:v>219.34931623176789</c:v>
                </c:pt>
                <c:pt idx="2316">
                  <c:v>218.52865848273424</c:v>
                </c:pt>
                <c:pt idx="2317">
                  <c:v>213.04356687205754</c:v>
                </c:pt>
                <c:pt idx="2318">
                  <c:v>209.64816337067506</c:v>
                </c:pt>
                <c:pt idx="2319">
                  <c:v>208.70726023953966</c:v>
                </c:pt>
                <c:pt idx="2320">
                  <c:v>207.99054341401776</c:v>
                </c:pt>
                <c:pt idx="2321">
                  <c:v>206.73170334037596</c:v>
                </c:pt>
                <c:pt idx="2322">
                  <c:v>203.92597775800107</c:v>
                </c:pt>
                <c:pt idx="2323">
                  <c:v>200.80571199532605</c:v>
                </c:pt>
                <c:pt idx="2324">
                  <c:v>202.02582897981642</c:v>
                </c:pt>
                <c:pt idx="2325">
                  <c:v>203.37638163302739</c:v>
                </c:pt>
                <c:pt idx="2326">
                  <c:v>206.18414527272603</c:v>
                </c:pt>
                <c:pt idx="2327">
                  <c:v>204.34106209960666</c:v>
                </c:pt>
                <c:pt idx="2328">
                  <c:v>196.49725881289953</c:v>
                </c:pt>
                <c:pt idx="2329">
                  <c:v>191.3450498984368</c:v>
                </c:pt>
                <c:pt idx="2330">
                  <c:v>191.39056651200076</c:v>
                </c:pt>
                <c:pt idx="2331">
                  <c:v>193.16571444099483</c:v>
                </c:pt>
                <c:pt idx="2332">
                  <c:v>194.02509527917988</c:v>
                </c:pt>
                <c:pt idx="2333">
                  <c:v>192.86679936684354</c:v>
                </c:pt>
                <c:pt idx="2334">
                  <c:v>191.69831316788836</c:v>
                </c:pt>
                <c:pt idx="2335">
                  <c:v>191.61475281761426</c:v>
                </c:pt>
                <c:pt idx="2336">
                  <c:v>194.61477319818749</c:v>
                </c:pt>
                <c:pt idx="2337">
                  <c:v>197.23231815433527</c:v>
                </c:pt>
                <c:pt idx="2338">
                  <c:v>197.8478114661105</c:v>
                </c:pt>
                <c:pt idx="2339">
                  <c:v>196.94902818633278</c:v>
                </c:pt>
                <c:pt idx="2340">
                  <c:v>197.97756778238983</c:v>
                </c:pt>
                <c:pt idx="2341">
                  <c:v>194.95444941881399</c:v>
                </c:pt>
                <c:pt idx="2342">
                  <c:v>195.13991263527606</c:v>
                </c:pt>
                <c:pt idx="2343">
                  <c:v>190.87018254200098</c:v>
                </c:pt>
                <c:pt idx="2344">
                  <c:v>194.76626879258691</c:v>
                </c:pt>
                <c:pt idx="2345">
                  <c:v>194.04615520485874</c:v>
                </c:pt>
                <c:pt idx="2346">
                  <c:v>196.1120659787091</c:v>
                </c:pt>
                <c:pt idx="2347">
                  <c:v>199.14061916181495</c:v>
                </c:pt>
                <c:pt idx="2348">
                  <c:v>197.57674984205056</c:v>
                </c:pt>
                <c:pt idx="2349">
                  <c:v>199.87160238860318</c:v>
                </c:pt>
                <c:pt idx="2350">
                  <c:v>201.10530642191861</c:v>
                </c:pt>
                <c:pt idx="2351">
                  <c:v>200.21127860922968</c:v>
                </c:pt>
                <c:pt idx="2352">
                  <c:v>203.3852132147637</c:v>
                </c:pt>
                <c:pt idx="2353">
                  <c:v>203.20450546539038</c:v>
                </c:pt>
                <c:pt idx="2354">
                  <c:v>205.80642531538936</c:v>
                </c:pt>
                <c:pt idx="2355">
                  <c:v>202.31183635758396</c:v>
                </c:pt>
                <c:pt idx="2356">
                  <c:v>205.1223174070476</c:v>
                </c:pt>
                <c:pt idx="2357">
                  <c:v>206.37708136604189</c:v>
                </c:pt>
                <c:pt idx="2358">
                  <c:v>203.82883035890188</c:v>
                </c:pt>
                <c:pt idx="2359">
                  <c:v>201.7432183642552</c:v>
                </c:pt>
                <c:pt idx="2360">
                  <c:v>201.33832430926842</c:v>
                </c:pt>
                <c:pt idx="2361">
                  <c:v>202.09104681417674</c:v>
                </c:pt>
                <c:pt idx="2362">
                  <c:v>199.1052928348698</c:v>
                </c:pt>
                <c:pt idx="2363">
                  <c:v>200.83424479785867</c:v>
                </c:pt>
                <c:pt idx="2364">
                  <c:v>200.89674522245394</c:v>
                </c:pt>
                <c:pt idx="2365">
                  <c:v>203.04485764169593</c:v>
                </c:pt>
                <c:pt idx="2366">
                  <c:v>202.53602266319743</c:v>
                </c:pt>
                <c:pt idx="2367">
                  <c:v>203.3865719196462</c:v>
                </c:pt>
                <c:pt idx="2368">
                  <c:v>206.1311557823083</c:v>
                </c:pt>
                <c:pt idx="2369">
                  <c:v>205.36756363833993</c:v>
                </c:pt>
                <c:pt idx="2370">
                  <c:v>205.98101889279138</c:v>
                </c:pt>
                <c:pt idx="2371">
                  <c:v>205.33495472115979</c:v>
                </c:pt>
                <c:pt idx="2372">
                  <c:v>208.87234288276414</c:v>
                </c:pt>
                <c:pt idx="2373">
                  <c:v>211.33703353963003</c:v>
                </c:pt>
                <c:pt idx="2374">
                  <c:v>210.93349818952575</c:v>
                </c:pt>
                <c:pt idx="2375">
                  <c:v>212.89071257277564</c:v>
                </c:pt>
                <c:pt idx="2376">
                  <c:v>212.85402754094795</c:v>
                </c:pt>
                <c:pt idx="2377">
                  <c:v>209.83838205422592</c:v>
                </c:pt>
                <c:pt idx="2378">
                  <c:v>207.86961867947471</c:v>
                </c:pt>
                <c:pt idx="2379">
                  <c:v>209.27791629019219</c:v>
                </c:pt>
                <c:pt idx="2380">
                  <c:v>207.83089559032331</c:v>
                </c:pt>
                <c:pt idx="2381">
                  <c:v>204.07067982798796</c:v>
                </c:pt>
                <c:pt idx="2382">
                  <c:v>205.69229410525887</c:v>
                </c:pt>
                <c:pt idx="2383">
                  <c:v>206.13183513474956</c:v>
                </c:pt>
                <c:pt idx="2384">
                  <c:v>199.40828402366864</c:v>
                </c:pt>
                <c:pt idx="2385">
                  <c:v>194.78461130850073</c:v>
                </c:pt>
                <c:pt idx="2386">
                  <c:v>198.28055897118867</c:v>
                </c:pt>
                <c:pt idx="2387">
                  <c:v>198.90692192202391</c:v>
                </c:pt>
                <c:pt idx="2388">
                  <c:v>197.62634257026201</c:v>
                </c:pt>
                <c:pt idx="2389">
                  <c:v>191.79953668163506</c:v>
                </c:pt>
                <c:pt idx="2390">
                  <c:v>187.43333854170206</c:v>
                </c:pt>
                <c:pt idx="2391">
                  <c:v>183.400023097983</c:v>
                </c:pt>
                <c:pt idx="2392">
                  <c:v>175.81573244383452</c:v>
                </c:pt>
                <c:pt idx="2393">
                  <c:v>188.44149756452148</c:v>
                </c:pt>
                <c:pt idx="2394">
                  <c:v>185.42177596315193</c:v>
                </c:pt>
                <c:pt idx="2395">
                  <c:v>188.32057282997846</c:v>
                </c:pt>
                <c:pt idx="2396">
                  <c:v>187.06445016610166</c:v>
                </c:pt>
                <c:pt idx="2397">
                  <c:v>179.52567612551715</c:v>
                </c:pt>
                <c:pt idx="2398">
                  <c:v>176.1819034096699</c:v>
                </c:pt>
                <c:pt idx="2399">
                  <c:v>179.86603169858492</c:v>
                </c:pt>
                <c:pt idx="2400">
                  <c:v>175.86804258181104</c:v>
                </c:pt>
                <c:pt idx="2401">
                  <c:v>173.54261917540202</c:v>
                </c:pt>
                <c:pt idx="2402">
                  <c:v>175.71858504473536</c:v>
                </c:pt>
                <c:pt idx="2403">
                  <c:v>174.26137405824767</c:v>
                </c:pt>
                <c:pt idx="2404">
                  <c:v>169.00930033492077</c:v>
                </c:pt>
                <c:pt idx="2405">
                  <c:v>171.43458855019395</c:v>
                </c:pt>
                <c:pt idx="2406">
                  <c:v>176.9767457659359</c:v>
                </c:pt>
                <c:pt idx="2407">
                  <c:v>177.3007968804136</c:v>
                </c:pt>
                <c:pt idx="2408">
                  <c:v>177.04400165761999</c:v>
                </c:pt>
                <c:pt idx="2409">
                  <c:v>179.00121604086985</c:v>
                </c:pt>
                <c:pt idx="2410">
                  <c:v>178.24034130666649</c:v>
                </c:pt>
                <c:pt idx="2411">
                  <c:v>180.70435261109111</c:v>
                </c:pt>
                <c:pt idx="2412">
                  <c:v>175.73421015088417</c:v>
                </c:pt>
                <c:pt idx="2413">
                  <c:v>173.14723605459275</c:v>
                </c:pt>
                <c:pt idx="2414">
                  <c:v>171.49505091746548</c:v>
                </c:pt>
                <c:pt idx="2415">
                  <c:v>176.09630500207203</c:v>
                </c:pt>
                <c:pt idx="2416">
                  <c:v>179.79537904469458</c:v>
                </c:pt>
                <c:pt idx="2417">
                  <c:v>181.59973912866255</c:v>
                </c:pt>
                <c:pt idx="2418">
                  <c:v>185.74039225809958</c:v>
                </c:pt>
                <c:pt idx="2419">
                  <c:v>187.7736941147698</c:v>
                </c:pt>
                <c:pt idx="2420">
                  <c:v>188.34570887030483</c:v>
                </c:pt>
                <c:pt idx="2421">
                  <c:v>188.75467903993913</c:v>
                </c:pt>
                <c:pt idx="2422">
                  <c:v>190.14463413474277</c:v>
                </c:pt>
                <c:pt idx="2423">
                  <c:v>191.12154294526457</c:v>
                </c:pt>
                <c:pt idx="2424">
                  <c:v>189.52234729855502</c:v>
                </c:pt>
                <c:pt idx="2425">
                  <c:v>187.3429846670154</c:v>
                </c:pt>
                <c:pt idx="2426">
                  <c:v>186.14324825576261</c:v>
                </c:pt>
                <c:pt idx="2427">
                  <c:v>184.80288588917045</c:v>
                </c:pt>
                <c:pt idx="2428">
                  <c:v>187.48564867967852</c:v>
                </c:pt>
                <c:pt idx="2429">
                  <c:v>181.32188398019008</c:v>
                </c:pt>
                <c:pt idx="2430">
                  <c:v>182.5141475145891</c:v>
                </c:pt>
                <c:pt idx="2431">
                  <c:v>181.98968742994177</c:v>
                </c:pt>
                <c:pt idx="2432">
                  <c:v>184.01415770487571</c:v>
                </c:pt>
                <c:pt idx="2433">
                  <c:v>182.7220293616125</c:v>
                </c:pt>
                <c:pt idx="2434">
                  <c:v>188.03592415709346</c:v>
                </c:pt>
                <c:pt idx="2435">
                  <c:v>190.08281306258874</c:v>
                </c:pt>
                <c:pt idx="2436">
                  <c:v>191.72344920821473</c:v>
                </c:pt>
                <c:pt idx="2437">
                  <c:v>191.84505329519902</c:v>
                </c:pt>
                <c:pt idx="2438">
                  <c:v>191.29545717022535</c:v>
                </c:pt>
                <c:pt idx="2439">
                  <c:v>195.70920998104606</c:v>
                </c:pt>
                <c:pt idx="2440">
                  <c:v>196.50609039463583</c:v>
                </c:pt>
                <c:pt idx="2441">
                  <c:v>197.35596029864334</c:v>
                </c:pt>
                <c:pt idx="2442">
                  <c:v>194.71124124484541</c:v>
                </c:pt>
                <c:pt idx="2443">
                  <c:v>193.5971032411905</c:v>
                </c:pt>
                <c:pt idx="2444">
                  <c:v>192.39872553482022</c:v>
                </c:pt>
                <c:pt idx="2445">
                  <c:v>193.51829835800515</c:v>
                </c:pt>
                <c:pt idx="2446">
                  <c:v>197.94563821765092</c:v>
                </c:pt>
                <c:pt idx="2447">
                  <c:v>198.16574840861691</c:v>
                </c:pt>
                <c:pt idx="2448">
                  <c:v>200.7486463902608</c:v>
                </c:pt>
                <c:pt idx="2449">
                  <c:v>201.26495424561307</c:v>
                </c:pt>
                <c:pt idx="2450">
                  <c:v>201.14063274886379</c:v>
                </c:pt>
                <c:pt idx="2451">
                  <c:v>202.30164607096515</c:v>
                </c:pt>
                <c:pt idx="2452">
                  <c:v>201.04688211197086</c:v>
                </c:pt>
                <c:pt idx="2453">
                  <c:v>208.01635880678538</c:v>
                </c:pt>
                <c:pt idx="2454">
                  <c:v>208.56119946467027</c:v>
                </c:pt>
                <c:pt idx="2455">
                  <c:v>207.89067860515357</c:v>
                </c:pt>
                <c:pt idx="2456">
                  <c:v>208.10603332903077</c:v>
                </c:pt>
                <c:pt idx="2457">
                  <c:v>207.70181862648522</c:v>
                </c:pt>
                <c:pt idx="2458">
                  <c:v>209.3166393793436</c:v>
                </c:pt>
                <c:pt idx="2459">
                  <c:v>205.28943810759583</c:v>
                </c:pt>
                <c:pt idx="2460">
                  <c:v>198.54414771839481</c:v>
                </c:pt>
                <c:pt idx="2461">
                  <c:v>197.73096284621499</c:v>
                </c:pt>
                <c:pt idx="2462">
                  <c:v>196.67932526715535</c:v>
                </c:pt>
                <c:pt idx="2463">
                  <c:v>197.5849020713456</c:v>
                </c:pt>
                <c:pt idx="2464">
                  <c:v>199.70516104049619</c:v>
                </c:pt>
                <c:pt idx="2465">
                  <c:v>199.02444989436069</c:v>
                </c:pt>
                <c:pt idx="2466">
                  <c:v>196.57810175340865</c:v>
                </c:pt>
                <c:pt idx="2467">
                  <c:v>192.15891412305791</c:v>
                </c:pt>
                <c:pt idx="2468">
                  <c:v>193.43609671261353</c:v>
                </c:pt>
                <c:pt idx="2469">
                  <c:v>190.44694597110035</c:v>
                </c:pt>
                <c:pt idx="2470">
                  <c:v>189.76487612008233</c:v>
                </c:pt>
                <c:pt idx="2471">
                  <c:v>192.19084368779679</c:v>
                </c:pt>
                <c:pt idx="2472">
                  <c:v>193.544793103214</c:v>
                </c:pt>
                <c:pt idx="2473">
                  <c:v>192.87495159613857</c:v>
                </c:pt>
                <c:pt idx="2474">
                  <c:v>192.7112276577966</c:v>
                </c:pt>
                <c:pt idx="2475">
                  <c:v>198.19767797335581</c:v>
                </c:pt>
                <c:pt idx="2476">
                  <c:v>198.58015339778123</c:v>
                </c:pt>
                <c:pt idx="2477">
                  <c:v>200.394703768368</c:v>
                </c:pt>
                <c:pt idx="2478">
                  <c:v>201.30979150673579</c:v>
                </c:pt>
                <c:pt idx="2479">
                  <c:v>197.86343657225933</c:v>
                </c:pt>
                <c:pt idx="2480">
                  <c:v>200.62704230327651</c:v>
                </c:pt>
                <c:pt idx="2481">
                  <c:v>201.74050095449019</c:v>
                </c:pt>
                <c:pt idx="2482">
                  <c:v>201.63723938341971</c:v>
                </c:pt>
                <c:pt idx="2483">
                  <c:v>204.31184994463277</c:v>
                </c:pt>
                <c:pt idx="2484">
                  <c:v>205.62571756601608</c:v>
                </c:pt>
                <c:pt idx="2485">
                  <c:v>206.16580275681221</c:v>
                </c:pt>
                <c:pt idx="2486">
                  <c:v>205.67802770399254</c:v>
                </c:pt>
                <c:pt idx="2487">
                  <c:v>202.94295477550799</c:v>
                </c:pt>
                <c:pt idx="2488">
                  <c:v>205.10193683381002</c:v>
                </c:pt>
                <c:pt idx="2489">
                  <c:v>204.85397319275268</c:v>
                </c:pt>
                <c:pt idx="2490">
                  <c:v>205.85805610092459</c:v>
                </c:pt>
                <c:pt idx="2491">
                  <c:v>204.5903844455465</c:v>
                </c:pt>
                <c:pt idx="2492">
                  <c:v>207.74529718272544</c:v>
                </c:pt>
                <c:pt idx="2493">
                  <c:v>206.65493651451436</c:v>
                </c:pt>
                <c:pt idx="2494">
                  <c:v>207.0489609304411</c:v>
                </c:pt>
                <c:pt idx="2495">
                  <c:v>206.51770732138127</c:v>
                </c:pt>
                <c:pt idx="2496">
                  <c:v>207.05847186461864</c:v>
                </c:pt>
                <c:pt idx="2497">
                  <c:v>207.80779760732071</c:v>
                </c:pt>
                <c:pt idx="2498">
                  <c:v>206.5951534996841</c:v>
                </c:pt>
                <c:pt idx="2499">
                  <c:v>211.40632748863783</c:v>
                </c:pt>
                <c:pt idx="2500">
                  <c:v>213.24465519466844</c:v>
                </c:pt>
                <c:pt idx="2501">
                  <c:v>214.52863130863662</c:v>
                </c:pt>
                <c:pt idx="2502">
                  <c:v>214.1991453746289</c:v>
                </c:pt>
                <c:pt idx="2503">
                  <c:v>214.52251713666533</c:v>
                </c:pt>
                <c:pt idx="2504">
                  <c:v>212.55511246679666</c:v>
                </c:pt>
                <c:pt idx="2505">
                  <c:v>217.23653013947106</c:v>
                </c:pt>
                <c:pt idx="2506">
                  <c:v>218.697137888165</c:v>
                </c:pt>
                <c:pt idx="2507">
                  <c:v>217.84387122195125</c:v>
                </c:pt>
                <c:pt idx="2508">
                  <c:v>218.23721628543672</c:v>
                </c:pt>
                <c:pt idx="2509">
                  <c:v>214.43691872906746</c:v>
                </c:pt>
                <c:pt idx="2510">
                  <c:v>217.00690901432753</c:v>
                </c:pt>
                <c:pt idx="2511">
                  <c:v>217.98517652973186</c:v>
                </c:pt>
                <c:pt idx="2512">
                  <c:v>216.64141740093342</c:v>
                </c:pt>
                <c:pt idx="2513">
                  <c:v>217.39889537293053</c:v>
                </c:pt>
                <c:pt idx="2514">
                  <c:v>216.64617286802221</c:v>
                </c:pt>
                <c:pt idx="2515">
                  <c:v>214.1441178268874</c:v>
                </c:pt>
                <c:pt idx="2516">
                  <c:v>217.31193826045015</c:v>
                </c:pt>
                <c:pt idx="2517">
                  <c:v>218.19781384384405</c:v>
                </c:pt>
                <c:pt idx="2518">
                  <c:v>218.12784054239498</c:v>
                </c:pt>
                <c:pt idx="2519">
                  <c:v>220.74538549854279</c:v>
                </c:pt>
                <c:pt idx="2520">
                  <c:v>218.94917764386986</c:v>
                </c:pt>
                <c:pt idx="2521">
                  <c:v>226.30928199240483</c:v>
                </c:pt>
                <c:pt idx="2522">
                  <c:v>223.79907472197502</c:v>
                </c:pt>
                <c:pt idx="2523">
                  <c:v>221.3955257848219</c:v>
                </c:pt>
                <c:pt idx="2524">
                  <c:v>222.6618387353175</c:v>
                </c:pt>
                <c:pt idx="2525">
                  <c:v>218.27526002214688</c:v>
                </c:pt>
                <c:pt idx="2526">
                  <c:v>217.63259261272157</c:v>
                </c:pt>
                <c:pt idx="2527">
                  <c:v>217.63123390783903</c:v>
                </c:pt>
                <c:pt idx="2528">
                  <c:v>217.69848979952309</c:v>
                </c:pt>
                <c:pt idx="2529">
                  <c:v>212.61829224383317</c:v>
                </c:pt>
                <c:pt idx="2530">
                  <c:v>213.11421952594787</c:v>
                </c:pt>
                <c:pt idx="2531">
                  <c:v>216.47973151991522</c:v>
                </c:pt>
                <c:pt idx="2532">
                  <c:v>217.16655683802199</c:v>
                </c:pt>
                <c:pt idx="2533">
                  <c:v>214.97428651009858</c:v>
                </c:pt>
                <c:pt idx="2534">
                  <c:v>209.19095917771182</c:v>
                </c:pt>
                <c:pt idx="2535">
                  <c:v>210.59993614087051</c:v>
                </c:pt>
                <c:pt idx="2536">
                  <c:v>210.49871262712384</c:v>
                </c:pt>
                <c:pt idx="2537">
                  <c:v>207.1270864611852</c:v>
                </c:pt>
                <c:pt idx="2538">
                  <c:v>201.83493094382433</c:v>
                </c:pt>
                <c:pt idx="2539">
                  <c:v>200.70177107181433</c:v>
                </c:pt>
                <c:pt idx="2540">
                  <c:v>205.17191013525908</c:v>
                </c:pt>
                <c:pt idx="2541">
                  <c:v>209.86012133234601</c:v>
                </c:pt>
                <c:pt idx="2542">
                  <c:v>211.69233486640533</c:v>
                </c:pt>
                <c:pt idx="2543">
                  <c:v>209.98444282909531</c:v>
                </c:pt>
                <c:pt idx="2544">
                  <c:v>213.12848592721417</c:v>
                </c:pt>
                <c:pt idx="2545">
                  <c:v>212.56734081073921</c:v>
                </c:pt>
                <c:pt idx="2546">
                  <c:v>213.84724081005984</c:v>
                </c:pt>
                <c:pt idx="2547">
                  <c:v>214.28949924931555</c:v>
                </c:pt>
                <c:pt idx="2548">
                  <c:v>216.82755996983676</c:v>
                </c:pt>
                <c:pt idx="2549">
                  <c:v>217.33707430077649</c:v>
                </c:pt>
                <c:pt idx="2550">
                  <c:v>215.54630126563359</c:v>
                </c:pt>
                <c:pt idx="2551">
                  <c:v>213.82006671240973</c:v>
                </c:pt>
                <c:pt idx="2552">
                  <c:v>211.67670976025653</c:v>
                </c:pt>
                <c:pt idx="2553">
                  <c:v>212.55850922900291</c:v>
                </c:pt>
                <c:pt idx="2554">
                  <c:v>214.69507265674358</c:v>
                </c:pt>
                <c:pt idx="2555">
                  <c:v>214.88461198785319</c:v>
                </c:pt>
                <c:pt idx="2556">
                  <c:v>214.67197467374098</c:v>
                </c:pt>
                <c:pt idx="2557">
                  <c:v>214.97632456742232</c:v>
                </c:pt>
                <c:pt idx="2558">
                  <c:v>213.89004001385879</c:v>
                </c:pt>
                <c:pt idx="2559">
                  <c:v>213.91517605418514</c:v>
                </c:pt>
                <c:pt idx="2560">
                  <c:v>215.5809482401375</c:v>
                </c:pt>
                <c:pt idx="2561">
                  <c:v>215.28339187086868</c:v>
                </c:pt>
                <c:pt idx="2562">
                  <c:v>216.90432679569835</c:v>
                </c:pt>
                <c:pt idx="2563">
                  <c:v>217.10609447075049</c:v>
                </c:pt>
                <c:pt idx="2564">
                  <c:v>218.57960991582823</c:v>
                </c:pt>
                <c:pt idx="2565">
                  <c:v>216.55310158357054</c:v>
                </c:pt>
                <c:pt idx="2566">
                  <c:v>216.07212005516342</c:v>
                </c:pt>
                <c:pt idx="2567">
                  <c:v>215.83366734828363</c:v>
                </c:pt>
                <c:pt idx="2568">
                  <c:v>212.97019680840222</c:v>
                </c:pt>
                <c:pt idx="2569">
                  <c:v>213.3363677742376</c:v>
                </c:pt>
                <c:pt idx="2570">
                  <c:v>217.32960142392272</c:v>
                </c:pt>
                <c:pt idx="2571">
                  <c:v>222.09525879931249</c:v>
                </c:pt>
                <c:pt idx="2572">
                  <c:v>222.52053342753686</c:v>
                </c:pt>
                <c:pt idx="2573">
                  <c:v>221.27324234539637</c:v>
                </c:pt>
                <c:pt idx="2574">
                  <c:v>224.46755752416797</c:v>
                </c:pt>
                <c:pt idx="2575">
                  <c:v>223.93018974313685</c:v>
                </c:pt>
                <c:pt idx="2576">
                  <c:v>221.71278337488707</c:v>
                </c:pt>
                <c:pt idx="2577">
                  <c:v>225.15845895692226</c:v>
                </c:pt>
                <c:pt idx="2578">
                  <c:v>228.07016352013261</c:v>
                </c:pt>
                <c:pt idx="2579">
                  <c:v>225.22911161081257</c:v>
                </c:pt>
                <c:pt idx="2580">
                  <c:v>226.51580513454576</c:v>
                </c:pt>
                <c:pt idx="2581">
                  <c:v>227.98388576009347</c:v>
                </c:pt>
                <c:pt idx="2582">
                  <c:v>225.35954727953316</c:v>
                </c:pt>
                <c:pt idx="2583">
                  <c:v>226.56200110055096</c:v>
                </c:pt>
                <c:pt idx="2584">
                  <c:v>231.90986351809454</c:v>
                </c:pt>
                <c:pt idx="2585">
                  <c:v>232.44655194668442</c:v>
                </c:pt>
                <c:pt idx="2586">
                  <c:v>230.11365566342164</c:v>
                </c:pt>
                <c:pt idx="2587">
                  <c:v>230.13335688421796</c:v>
                </c:pt>
                <c:pt idx="2588">
                  <c:v>231.96149430362979</c:v>
                </c:pt>
                <c:pt idx="2589">
                  <c:v>233.20199186135775</c:v>
                </c:pt>
                <c:pt idx="2590">
                  <c:v>233.22644854924286</c:v>
                </c:pt>
                <c:pt idx="2591">
                  <c:v>231.60483427197195</c:v>
                </c:pt>
                <c:pt idx="2592">
                  <c:v>231.35075645894332</c:v>
                </c:pt>
                <c:pt idx="2593">
                  <c:v>231.13200497285987</c:v>
                </c:pt>
                <c:pt idx="2594">
                  <c:v>232.32223044993512</c:v>
                </c:pt>
                <c:pt idx="2595">
                  <c:v>233.65444058723224</c:v>
                </c:pt>
                <c:pt idx="2596">
                  <c:v>236.15174016127827</c:v>
                </c:pt>
                <c:pt idx="2597">
                  <c:v>236.77742375967227</c:v>
                </c:pt>
                <c:pt idx="2598">
                  <c:v>234.05593788001278</c:v>
                </c:pt>
                <c:pt idx="2599">
                  <c:v>232.28486606566619</c:v>
                </c:pt>
                <c:pt idx="2600">
                  <c:v>231.72304159674997</c:v>
                </c:pt>
                <c:pt idx="2601">
                  <c:v>230.2339010455234</c:v>
                </c:pt>
                <c:pt idx="2602">
                  <c:v>231.89559711682824</c:v>
                </c:pt>
                <c:pt idx="2603">
                  <c:v>234.53556070353739</c:v>
                </c:pt>
                <c:pt idx="2604">
                  <c:v>232.63609127779401</c:v>
                </c:pt>
                <c:pt idx="2605">
                  <c:v>232.06543522714148</c:v>
                </c:pt>
                <c:pt idx="2606">
                  <c:v>232.42753007832934</c:v>
                </c:pt>
                <c:pt idx="2607">
                  <c:v>232.91666383603149</c:v>
                </c:pt>
                <c:pt idx="2608">
                  <c:v>232.48935115048334</c:v>
                </c:pt>
                <c:pt idx="2609">
                  <c:v>232.02739149043131</c:v>
                </c:pt>
                <c:pt idx="2610">
                  <c:v>232.66054796567911</c:v>
                </c:pt>
                <c:pt idx="2611">
                  <c:v>227.81404764978024</c:v>
                </c:pt>
                <c:pt idx="2612">
                  <c:v>224.97503379778396</c:v>
                </c:pt>
                <c:pt idx="2613">
                  <c:v>224.64826527354126</c:v>
                </c:pt>
                <c:pt idx="2614">
                  <c:v>219.96005407645433</c:v>
                </c:pt>
                <c:pt idx="2615">
                  <c:v>216.73652674270886</c:v>
                </c:pt>
                <c:pt idx="2616">
                  <c:v>221.90368141087916</c:v>
                </c:pt>
                <c:pt idx="2617">
                  <c:v>223.4002948389595</c:v>
                </c:pt>
                <c:pt idx="2618">
                  <c:v>228.66052079158146</c:v>
                </c:pt>
                <c:pt idx="2619">
                  <c:v>229.24408453861778</c:v>
                </c:pt>
                <c:pt idx="2620">
                  <c:v>228.32356198071997</c:v>
                </c:pt>
                <c:pt idx="2621">
                  <c:v>229.8955835297794</c:v>
                </c:pt>
                <c:pt idx="2622">
                  <c:v>229.01582211835679</c:v>
                </c:pt>
                <c:pt idx="2623">
                  <c:v>228.385383052874</c:v>
                </c:pt>
                <c:pt idx="2624">
                  <c:v>228.00358698088982</c:v>
                </c:pt>
                <c:pt idx="2625">
                  <c:v>229.96827424099348</c:v>
                </c:pt>
                <c:pt idx="2626">
                  <c:v>229.59666845562811</c:v>
                </c:pt>
                <c:pt idx="2627">
                  <c:v>232.22100693618842</c:v>
                </c:pt>
                <c:pt idx="2628">
                  <c:v>233.81137100116169</c:v>
                </c:pt>
                <c:pt idx="2629">
                  <c:v>234.51110401565228</c:v>
                </c:pt>
                <c:pt idx="2630">
                  <c:v>237.09604005461995</c:v>
                </c:pt>
                <c:pt idx="2631">
                  <c:v>235.84399350539067</c:v>
                </c:pt>
                <c:pt idx="2632">
                  <c:v>239.65991616790876</c:v>
                </c:pt>
                <c:pt idx="2633">
                  <c:v>239.86643931004966</c:v>
                </c:pt>
                <c:pt idx="2634">
                  <c:v>237.43775433257019</c:v>
                </c:pt>
                <c:pt idx="2635">
                  <c:v>239.55869265416206</c:v>
                </c:pt>
                <c:pt idx="2636">
                  <c:v>238.35148336605548</c:v>
                </c:pt>
                <c:pt idx="2637">
                  <c:v>238.78491022357488</c:v>
                </c:pt>
                <c:pt idx="2638">
                  <c:v>231.43431680921745</c:v>
                </c:pt>
                <c:pt idx="2639">
                  <c:v>233.29913926045694</c:v>
                </c:pt>
                <c:pt idx="2640">
                  <c:v>239.65855746302626</c:v>
                </c:pt>
                <c:pt idx="2641">
                  <c:v>240.78356510574122</c:v>
                </c:pt>
                <c:pt idx="2642">
                  <c:v>242.02745942567543</c:v>
                </c:pt>
                <c:pt idx="2643">
                  <c:v>243.76796038016562</c:v>
                </c:pt>
                <c:pt idx="2644">
                  <c:v>248.18782736295762</c:v>
                </c:pt>
                <c:pt idx="2645">
                  <c:v>248.94666403983723</c:v>
                </c:pt>
                <c:pt idx="2646">
                  <c:v>249.88824652341387</c:v>
                </c:pt>
                <c:pt idx="2647">
                  <c:v>248.29856181088186</c:v>
                </c:pt>
                <c:pt idx="2648">
                  <c:v>247.47790406184825</c:v>
                </c:pt>
                <c:pt idx="2649">
                  <c:v>243.3406476946175</c:v>
                </c:pt>
                <c:pt idx="2650">
                  <c:v>242.62189281177183</c:v>
                </c:pt>
                <c:pt idx="2651">
                  <c:v>237.94523060618619</c:v>
                </c:pt>
                <c:pt idx="2652">
                  <c:v>241.20136685711179</c:v>
                </c:pt>
                <c:pt idx="2653">
                  <c:v>242.33520608156306</c:v>
                </c:pt>
                <c:pt idx="2654">
                  <c:v>239.09197752702124</c:v>
                </c:pt>
                <c:pt idx="2655">
                  <c:v>237.49481993763544</c:v>
                </c:pt>
                <c:pt idx="2656">
                  <c:v>237.45202073383652</c:v>
                </c:pt>
                <c:pt idx="2657">
                  <c:v>234.60009918545643</c:v>
                </c:pt>
                <c:pt idx="2658">
                  <c:v>236.22578957737485</c:v>
                </c:pt>
                <c:pt idx="2659">
                  <c:v>238.44727206027216</c:v>
                </c:pt>
                <c:pt idx="2660">
                  <c:v>237.19590486348412</c:v>
                </c:pt>
                <c:pt idx="2661">
                  <c:v>231.80524324214159</c:v>
                </c:pt>
                <c:pt idx="2662">
                  <c:v>232.53079164939979</c:v>
                </c:pt>
                <c:pt idx="2663">
                  <c:v>233.52468427095292</c:v>
                </c:pt>
                <c:pt idx="2664">
                  <c:v>234.32835820895522</c:v>
                </c:pt>
                <c:pt idx="2665">
                  <c:v>238.40786961867948</c:v>
                </c:pt>
                <c:pt idx="2666">
                  <c:v>238.05188893946291</c:v>
                </c:pt>
                <c:pt idx="2667">
                  <c:v>241.24008994626323</c:v>
                </c:pt>
                <c:pt idx="2668">
                  <c:v>239.5220076223344</c:v>
                </c:pt>
                <c:pt idx="2669">
                  <c:v>237.46764583998532</c:v>
                </c:pt>
                <c:pt idx="2670">
                  <c:v>238.41466314309201</c:v>
                </c:pt>
                <c:pt idx="2671">
                  <c:v>237.3236231224397</c:v>
                </c:pt>
                <c:pt idx="2672">
                  <c:v>239.57363840786962</c:v>
                </c:pt>
                <c:pt idx="2673">
                  <c:v>236.38068193398053</c:v>
                </c:pt>
                <c:pt idx="2674">
                  <c:v>236.88815820759652</c:v>
                </c:pt>
                <c:pt idx="2675">
                  <c:v>231.47779536545764</c:v>
                </c:pt>
                <c:pt idx="2676">
                  <c:v>233.1809319356789</c:v>
                </c:pt>
                <c:pt idx="2677">
                  <c:v>236.34060013994659</c:v>
                </c:pt>
                <c:pt idx="2678">
                  <c:v>230.50700072690711</c:v>
                </c:pt>
                <c:pt idx="2679">
                  <c:v>226.92273724685629</c:v>
                </c:pt>
                <c:pt idx="2680">
                  <c:v>230.29708082255993</c:v>
                </c:pt>
                <c:pt idx="2681">
                  <c:v>229.1326707382523</c:v>
                </c:pt>
                <c:pt idx="2682">
                  <c:v>232.39356245626669</c:v>
                </c:pt>
                <c:pt idx="2683">
                  <c:v>232.68432530112298</c:v>
                </c:pt>
                <c:pt idx="2684">
                  <c:v>225.74677817104737</c:v>
                </c:pt>
                <c:pt idx="2685">
                  <c:v>224.98794149416776</c:v>
                </c:pt>
                <c:pt idx="2686">
                  <c:v>226.16525927485921</c:v>
                </c:pt>
                <c:pt idx="2687">
                  <c:v>227.67274234199959</c:v>
                </c:pt>
                <c:pt idx="2688">
                  <c:v>231.53146420831663</c:v>
                </c:pt>
                <c:pt idx="2689">
                  <c:v>235.38339255022112</c:v>
                </c:pt>
                <c:pt idx="2690">
                  <c:v>236.75092901446342</c:v>
                </c:pt>
                <c:pt idx="2691">
                  <c:v>237.41329764468509</c:v>
                </c:pt>
                <c:pt idx="2692">
                  <c:v>237.16397529874524</c:v>
                </c:pt>
                <c:pt idx="2693">
                  <c:v>233.27739998233685</c:v>
                </c:pt>
                <c:pt idx="2694">
                  <c:v>235.52198044823675</c:v>
                </c:pt>
                <c:pt idx="2695">
                  <c:v>233.19180157473895</c:v>
                </c:pt>
                <c:pt idx="2696">
                  <c:v>225.5769400607341</c:v>
                </c:pt>
                <c:pt idx="2697">
                  <c:v>223.49064871364615</c:v>
                </c:pt>
                <c:pt idx="2698">
                  <c:v>227.34733252263942</c:v>
                </c:pt>
                <c:pt idx="2699">
                  <c:v>225.57218459364535</c:v>
                </c:pt>
                <c:pt idx="2700">
                  <c:v>225.05315932852804</c:v>
                </c:pt>
                <c:pt idx="2701">
                  <c:v>219.85883056270762</c:v>
                </c:pt>
                <c:pt idx="2702">
                  <c:v>224.49473162181809</c:v>
                </c:pt>
                <c:pt idx="2703">
                  <c:v>228.1455716411117</c:v>
                </c:pt>
                <c:pt idx="2704">
                  <c:v>234.28012418562625</c:v>
                </c:pt>
                <c:pt idx="2705">
                  <c:v>235.3867893124274</c:v>
                </c:pt>
                <c:pt idx="2706">
                  <c:v>233.82224064022174</c:v>
                </c:pt>
                <c:pt idx="2707">
                  <c:v>235.92891256054727</c:v>
                </c:pt>
                <c:pt idx="2708">
                  <c:v>232.62454228629269</c:v>
                </c:pt>
                <c:pt idx="2709">
                  <c:v>232.15239233962188</c:v>
                </c:pt>
                <c:pt idx="2710">
                  <c:v>232.58513984470002</c:v>
                </c:pt>
                <c:pt idx="2711">
                  <c:v>226.54773469928463</c:v>
                </c:pt>
                <c:pt idx="2712">
                  <c:v>222.64077880963865</c:v>
                </c:pt>
                <c:pt idx="2713">
                  <c:v>221.55789101828137</c:v>
                </c:pt>
                <c:pt idx="2714">
                  <c:v>214.21273242345396</c:v>
                </c:pt>
                <c:pt idx="2715">
                  <c:v>211.7711397495907</c:v>
                </c:pt>
                <c:pt idx="2716">
                  <c:v>204.53671560268751</c:v>
                </c:pt>
                <c:pt idx="2717">
                  <c:v>204.0659243608992</c:v>
                </c:pt>
                <c:pt idx="2718">
                  <c:v>197.81724060625413</c:v>
                </c:pt>
                <c:pt idx="2719">
                  <c:v>203.41646342706133</c:v>
                </c:pt>
                <c:pt idx="2720">
                  <c:v>210.29490689474792</c:v>
                </c:pt>
                <c:pt idx="2721">
                  <c:v>214.19642796486389</c:v>
                </c:pt>
                <c:pt idx="2722">
                  <c:v>212.05307101271069</c:v>
                </c:pt>
                <c:pt idx="2723">
                  <c:v>213.84656145761861</c:v>
                </c:pt>
                <c:pt idx="2724">
                  <c:v>203.83494453087317</c:v>
                </c:pt>
                <c:pt idx="2725">
                  <c:v>202.99254750371946</c:v>
                </c:pt>
                <c:pt idx="2726">
                  <c:v>204.27040944571635</c:v>
                </c:pt>
                <c:pt idx="2727">
                  <c:v>206.6963770134308</c:v>
                </c:pt>
                <c:pt idx="2728">
                  <c:v>210.14612871011352</c:v>
                </c:pt>
                <c:pt idx="2729">
                  <c:v>205.94976868049375</c:v>
                </c:pt>
                <c:pt idx="2730">
                  <c:v>203.68005217426747</c:v>
                </c:pt>
                <c:pt idx="2731">
                  <c:v>208.51092738401755</c:v>
                </c:pt>
                <c:pt idx="2732">
                  <c:v>209.06052350899122</c:v>
                </c:pt>
                <c:pt idx="2733">
                  <c:v>213.12508916500792</c:v>
                </c:pt>
                <c:pt idx="2734">
                  <c:v>212.33092616118316</c:v>
                </c:pt>
                <c:pt idx="2735">
                  <c:v>207.49054001725554</c:v>
                </c:pt>
                <c:pt idx="2736">
                  <c:v>199.36956093451721</c:v>
                </c:pt>
                <c:pt idx="2737">
                  <c:v>196.97756098886541</c:v>
                </c:pt>
                <c:pt idx="2738">
                  <c:v>201.37025387400729</c:v>
                </c:pt>
                <c:pt idx="2739">
                  <c:v>203.10328195164368</c:v>
                </c:pt>
                <c:pt idx="2740">
                  <c:v>194.32808646797872</c:v>
                </c:pt>
                <c:pt idx="2741">
                  <c:v>188.67111868966501</c:v>
                </c:pt>
                <c:pt idx="2742">
                  <c:v>190.89260117256231</c:v>
                </c:pt>
                <c:pt idx="2743">
                  <c:v>192.66299363446763</c:v>
                </c:pt>
                <c:pt idx="2744">
                  <c:v>199.06996650792465</c:v>
                </c:pt>
                <c:pt idx="2745">
                  <c:v>199.80910196400791</c:v>
                </c:pt>
                <c:pt idx="2746">
                  <c:v>194.06653577809632</c:v>
                </c:pt>
                <c:pt idx="2747">
                  <c:v>198.79075265456967</c:v>
                </c:pt>
                <c:pt idx="2748">
                  <c:v>196.21261014001453</c:v>
                </c:pt>
                <c:pt idx="2749">
                  <c:v>186.50126699230293</c:v>
                </c:pt>
                <c:pt idx="2750">
                  <c:v>188.09231040971747</c:v>
                </c:pt>
                <c:pt idx="2751">
                  <c:v>191.87358609773165</c:v>
                </c:pt>
                <c:pt idx="2752">
                  <c:v>201.16712749407264</c:v>
                </c:pt>
                <c:pt idx="2753">
                  <c:v>197.04889299519698</c:v>
                </c:pt>
                <c:pt idx="2754">
                  <c:v>198.89061746343384</c:v>
                </c:pt>
                <c:pt idx="2755">
                  <c:v>194.79616030000204</c:v>
                </c:pt>
                <c:pt idx="2756">
                  <c:v>190.95781900692259</c:v>
                </c:pt>
                <c:pt idx="2757">
                  <c:v>187.28184294730264</c:v>
                </c:pt>
                <c:pt idx="2758">
                  <c:v>192.46666077894551</c:v>
                </c:pt>
                <c:pt idx="2759">
                  <c:v>197.86343657225933</c:v>
                </c:pt>
                <c:pt idx="2760">
                  <c:v>200.95313147507795</c:v>
                </c:pt>
                <c:pt idx="2761">
                  <c:v>205.35533529439738</c:v>
                </c:pt>
                <c:pt idx="2762">
                  <c:v>203.23779373501179</c:v>
                </c:pt>
                <c:pt idx="2763">
                  <c:v>207.8281781805583</c:v>
                </c:pt>
                <c:pt idx="2764">
                  <c:v>204.97761533706071</c:v>
                </c:pt>
                <c:pt idx="2765">
                  <c:v>208.64000434785561</c:v>
                </c:pt>
                <c:pt idx="2766">
                  <c:v>205.81118078247815</c:v>
                </c:pt>
                <c:pt idx="2767">
                  <c:v>203.06184145272726</c:v>
                </c:pt>
                <c:pt idx="2768">
                  <c:v>206.84855196027146</c:v>
                </c:pt>
                <c:pt idx="2769">
                  <c:v>201.81047425593923</c:v>
                </c:pt>
                <c:pt idx="2770">
                  <c:v>208.41581804224214</c:v>
                </c:pt>
                <c:pt idx="2771">
                  <c:v>209.462700154213</c:v>
                </c:pt>
                <c:pt idx="2772">
                  <c:v>207.62505180062365</c:v>
                </c:pt>
                <c:pt idx="2773">
                  <c:v>207.04488481579358</c:v>
                </c:pt>
                <c:pt idx="2774">
                  <c:v>216.70052106332244</c:v>
                </c:pt>
                <c:pt idx="2775">
                  <c:v>214.73787186054253</c:v>
                </c:pt>
                <c:pt idx="2776">
                  <c:v>208.94299553665445</c:v>
                </c:pt>
                <c:pt idx="2777">
                  <c:v>197.6643863069722</c:v>
                </c:pt>
                <c:pt idx="2778">
                  <c:v>200.85870148574378</c:v>
                </c:pt>
                <c:pt idx="2779">
                  <c:v>204.80777722674748</c:v>
                </c:pt>
                <c:pt idx="2780">
                  <c:v>202.70246401130441</c:v>
                </c:pt>
                <c:pt idx="2781">
                  <c:v>201.9368338100123</c:v>
                </c:pt>
                <c:pt idx="2782">
                  <c:v>203.93073322508985</c:v>
                </c:pt>
                <c:pt idx="2783">
                  <c:v>197.96194267624099</c:v>
                </c:pt>
                <c:pt idx="2784">
                  <c:v>198.61480037228515</c:v>
                </c:pt>
                <c:pt idx="2785">
                  <c:v>205.62911432822233</c:v>
                </c:pt>
                <c:pt idx="2786">
                  <c:v>201.74118030693143</c:v>
                </c:pt>
                <c:pt idx="2787">
                  <c:v>199.21398922547027</c:v>
                </c:pt>
                <c:pt idx="2788">
                  <c:v>199.07404262257216</c:v>
                </c:pt>
                <c:pt idx="2789">
                  <c:v>196.93679984239023</c:v>
                </c:pt>
                <c:pt idx="2790">
                  <c:v>196.27986603169859</c:v>
                </c:pt>
                <c:pt idx="2791">
                  <c:v>189.81854496294133</c:v>
                </c:pt>
                <c:pt idx="2792">
                  <c:v>189.57873355117903</c:v>
                </c:pt>
                <c:pt idx="2793">
                  <c:v>184.79133689766914</c:v>
                </c:pt>
                <c:pt idx="2794">
                  <c:v>183.48358344825712</c:v>
                </c:pt>
                <c:pt idx="2795">
                  <c:v>184.20301768354403</c:v>
                </c:pt>
                <c:pt idx="2796">
                  <c:v>191.71325892159592</c:v>
                </c:pt>
                <c:pt idx="2797">
                  <c:v>193.94900780575955</c:v>
                </c:pt>
                <c:pt idx="2798">
                  <c:v>201.42120530710127</c:v>
                </c:pt>
                <c:pt idx="2799">
                  <c:v>200.0156251061488</c:v>
                </c:pt>
                <c:pt idx="2800">
                  <c:v>199.99184777070496</c:v>
                </c:pt>
                <c:pt idx="2801">
                  <c:v>201.83696900114811</c:v>
                </c:pt>
                <c:pt idx="2802">
                  <c:v>198.89741098784637</c:v>
                </c:pt>
                <c:pt idx="2803">
                  <c:v>198.47009830229825</c:v>
                </c:pt>
                <c:pt idx="2804">
                  <c:v>195.17863572442747</c:v>
                </c:pt>
                <c:pt idx="2805">
                  <c:v>197.98436130680236</c:v>
                </c:pt>
                <c:pt idx="2806">
                  <c:v>192.65891751982011</c:v>
                </c:pt>
                <c:pt idx="2807">
                  <c:v>191.36882723388067</c:v>
                </c:pt>
                <c:pt idx="2808">
                  <c:v>186.66023546355615</c:v>
                </c:pt>
                <c:pt idx="2809">
                  <c:v>189.27166624773267</c:v>
                </c:pt>
                <c:pt idx="2810">
                  <c:v>188.61541178948227</c:v>
                </c:pt>
                <c:pt idx="2811">
                  <c:v>188.38986677898626</c:v>
                </c:pt>
                <c:pt idx="2812">
                  <c:v>192.25674087459834</c:v>
                </c:pt>
                <c:pt idx="2813">
                  <c:v>190.65075170347623</c:v>
                </c:pt>
                <c:pt idx="2814">
                  <c:v>192.06516348616498</c:v>
                </c:pt>
                <c:pt idx="2815">
                  <c:v>193.3742756404595</c:v>
                </c:pt>
                <c:pt idx="2816">
                  <c:v>193.81993084192149</c:v>
                </c:pt>
                <c:pt idx="2817">
                  <c:v>191.08553726587817</c:v>
                </c:pt>
                <c:pt idx="2818">
                  <c:v>192.03119586410233</c:v>
                </c:pt>
                <c:pt idx="2819">
                  <c:v>194.87700324051113</c:v>
                </c:pt>
                <c:pt idx="2820">
                  <c:v>196.41641587239044</c:v>
                </c:pt>
                <c:pt idx="2821">
                  <c:v>199.84239023362932</c:v>
                </c:pt>
                <c:pt idx="2822">
                  <c:v>196.64128153044518</c:v>
                </c:pt>
                <c:pt idx="2823">
                  <c:v>191.55496980278397</c:v>
                </c:pt>
                <c:pt idx="2824">
                  <c:v>190.29545037670093</c:v>
                </c:pt>
                <c:pt idx="2825">
                  <c:v>189.03661030305912</c:v>
                </c:pt>
                <c:pt idx="2826">
                  <c:v>192.53595472795331</c:v>
                </c:pt>
                <c:pt idx="2827">
                  <c:v>190.82942139552577</c:v>
                </c:pt>
                <c:pt idx="2828">
                  <c:v>192.63038471728748</c:v>
                </c:pt>
                <c:pt idx="2829">
                  <c:v>190.20577585445554</c:v>
                </c:pt>
                <c:pt idx="2830">
                  <c:v>191.5998070639067</c:v>
                </c:pt>
                <c:pt idx="2831">
                  <c:v>193.47346109688246</c:v>
                </c:pt>
                <c:pt idx="2832">
                  <c:v>194.21735202005448</c:v>
                </c:pt>
                <c:pt idx="2833">
                  <c:v>196.99250674257297</c:v>
                </c:pt>
                <c:pt idx="2834">
                  <c:v>197.12430111617607</c:v>
                </c:pt>
                <c:pt idx="2835">
                  <c:v>198.51221815365594</c:v>
                </c:pt>
                <c:pt idx="2836">
                  <c:v>196.47416082989693</c:v>
                </c:pt>
                <c:pt idx="2837">
                  <c:v>196.34644257094138</c:v>
                </c:pt>
                <c:pt idx="2838">
                  <c:v>200.63043906548279</c:v>
                </c:pt>
                <c:pt idx="2839">
                  <c:v>198.98436810032678</c:v>
                </c:pt>
                <c:pt idx="2840">
                  <c:v>197.24590520316033</c:v>
                </c:pt>
                <c:pt idx="2841">
                  <c:v>197.90012160408699</c:v>
                </c:pt>
                <c:pt idx="2842">
                  <c:v>202.40286958471185</c:v>
                </c:pt>
                <c:pt idx="2843">
                  <c:v>201.60123370403332</c:v>
                </c:pt>
                <c:pt idx="2844">
                  <c:v>203.69160116576879</c:v>
                </c:pt>
                <c:pt idx="2845">
                  <c:v>203.43412659053391</c:v>
                </c:pt>
                <c:pt idx="2846">
                  <c:v>205.17802430723034</c:v>
                </c:pt>
                <c:pt idx="2847">
                  <c:v>204.18413168567722</c:v>
                </c:pt>
                <c:pt idx="2848">
                  <c:v>205.50751024123804</c:v>
                </c:pt>
                <c:pt idx="2849">
                  <c:v>201.59919564670955</c:v>
                </c:pt>
                <c:pt idx="2850">
                  <c:v>203.60872016793593</c:v>
                </c:pt>
                <c:pt idx="2851">
                  <c:v>202.66713768435926</c:v>
                </c:pt>
                <c:pt idx="2852">
                  <c:v>202.73371422360205</c:v>
                </c:pt>
                <c:pt idx="2853">
                  <c:v>202.29213513678761</c:v>
                </c:pt>
                <c:pt idx="2854">
                  <c:v>206.14813959333964</c:v>
                </c:pt>
                <c:pt idx="2855">
                  <c:v>208.63456952832558</c:v>
                </c:pt>
                <c:pt idx="2856">
                  <c:v>207.31662579229479</c:v>
                </c:pt>
                <c:pt idx="2857">
                  <c:v>205.15832308643402</c:v>
                </c:pt>
                <c:pt idx="2858">
                  <c:v>205.40221061284385</c:v>
                </c:pt>
                <c:pt idx="2859">
                  <c:v>208.6997873626859</c:v>
                </c:pt>
                <c:pt idx="2860">
                  <c:v>208.03266326537545</c:v>
                </c:pt>
                <c:pt idx="2861">
                  <c:v>208.34720344567558</c:v>
                </c:pt>
                <c:pt idx="2862">
                  <c:v>207.82749882811703</c:v>
                </c:pt>
                <c:pt idx="2863">
                  <c:v>209.81256666145831</c:v>
                </c:pt>
                <c:pt idx="2864">
                  <c:v>207.69978056916148</c:v>
                </c:pt>
                <c:pt idx="2865">
                  <c:v>206.67124097310443</c:v>
                </c:pt>
                <c:pt idx="2866">
                  <c:v>201.11821411830243</c:v>
                </c:pt>
                <c:pt idx="2867">
                  <c:v>202.06523142140912</c:v>
                </c:pt>
                <c:pt idx="2868">
                  <c:v>206.04283996494541</c:v>
                </c:pt>
                <c:pt idx="2869">
                  <c:v>204.33087181298785</c:v>
                </c:pt>
                <c:pt idx="2870">
                  <c:v>204.12774543305321</c:v>
                </c:pt>
                <c:pt idx="2871">
                  <c:v>207.18143465648544</c:v>
                </c:pt>
                <c:pt idx="2872">
                  <c:v>207.55032303208583</c:v>
                </c:pt>
                <c:pt idx="2873">
                  <c:v>208.22899612089756</c:v>
                </c:pt>
                <c:pt idx="2874">
                  <c:v>210.68621390090965</c:v>
                </c:pt>
                <c:pt idx="2875">
                  <c:v>212.19913178758009</c:v>
                </c:pt>
                <c:pt idx="2876">
                  <c:v>211.5686927220973</c:v>
                </c:pt>
                <c:pt idx="2877">
                  <c:v>210.62846894340313</c:v>
                </c:pt>
                <c:pt idx="2878">
                  <c:v>208.5768245708191</c:v>
                </c:pt>
                <c:pt idx="2879">
                  <c:v>209.88321931534861</c:v>
                </c:pt>
                <c:pt idx="2880">
                  <c:v>212.17943056678374</c:v>
                </c:pt>
                <c:pt idx="2881">
                  <c:v>211.84790657545227</c:v>
                </c:pt>
                <c:pt idx="2882">
                  <c:v>209.02247977228106</c:v>
                </c:pt>
                <c:pt idx="2883">
                  <c:v>206.27993396694271</c:v>
                </c:pt>
                <c:pt idx="2884">
                  <c:v>208.36418725670691</c:v>
                </c:pt>
                <c:pt idx="2885">
                  <c:v>210.31664617286802</c:v>
                </c:pt>
                <c:pt idx="2886">
                  <c:v>208.75277685310363</c:v>
                </c:pt>
                <c:pt idx="2887">
                  <c:v>201.02853959605704</c:v>
                </c:pt>
                <c:pt idx="2888">
                  <c:v>199.75611247359018</c:v>
                </c:pt>
                <c:pt idx="2889">
                  <c:v>196.39195918450534</c:v>
                </c:pt>
                <c:pt idx="2890">
                  <c:v>198.77105143377332</c:v>
                </c:pt>
                <c:pt idx="2891">
                  <c:v>200.18002839693204</c:v>
                </c:pt>
                <c:pt idx="2892">
                  <c:v>195.7187209152236</c:v>
                </c:pt>
                <c:pt idx="2893">
                  <c:v>195.25404384540656</c:v>
                </c:pt>
                <c:pt idx="2894">
                  <c:v>199.93478216563972</c:v>
                </c:pt>
                <c:pt idx="2895">
                  <c:v>197.37226475723341</c:v>
                </c:pt>
                <c:pt idx="2896">
                  <c:v>196.05771778340886</c:v>
                </c:pt>
                <c:pt idx="2897">
                  <c:v>198.85936725113621</c:v>
                </c:pt>
                <c:pt idx="2898">
                  <c:v>194.29276014103357</c:v>
                </c:pt>
                <c:pt idx="2899">
                  <c:v>198.54618577571858</c:v>
                </c:pt>
                <c:pt idx="2900">
                  <c:v>199.66372054157978</c:v>
                </c:pt>
                <c:pt idx="2901">
                  <c:v>199.2832831744781</c:v>
                </c:pt>
                <c:pt idx="2902">
                  <c:v>202.14947112412449</c:v>
                </c:pt>
                <c:pt idx="2903">
                  <c:v>200.41304628428182</c:v>
                </c:pt>
                <c:pt idx="2904">
                  <c:v>200.66168927778043</c:v>
                </c:pt>
                <c:pt idx="2905">
                  <c:v>198.94088954408659</c:v>
                </c:pt>
                <c:pt idx="2906">
                  <c:v>198.73029028729815</c:v>
                </c:pt>
                <c:pt idx="2907">
                  <c:v>196.77986942846078</c:v>
                </c:pt>
                <c:pt idx="2908">
                  <c:v>197.59848912017065</c:v>
                </c:pt>
                <c:pt idx="2909">
                  <c:v>196.45717701886562</c:v>
                </c:pt>
                <c:pt idx="2910">
                  <c:v>194.81450281591586</c:v>
                </c:pt>
                <c:pt idx="2911">
                  <c:v>197.29821534113682</c:v>
                </c:pt>
                <c:pt idx="2912">
                  <c:v>197.15623068091494</c:v>
                </c:pt>
                <c:pt idx="2913">
                  <c:v>192.78799448365817</c:v>
                </c:pt>
                <c:pt idx="2914">
                  <c:v>190.10862845535635</c:v>
                </c:pt>
                <c:pt idx="2915">
                  <c:v>188.35386109959987</c:v>
                </c:pt>
                <c:pt idx="2916">
                  <c:v>186.47613095197659</c:v>
                </c:pt>
                <c:pt idx="2917">
                  <c:v>185.90955101597157</c:v>
                </c:pt>
                <c:pt idx="2918">
                  <c:v>186.5855066950183</c:v>
                </c:pt>
                <c:pt idx="2919">
                  <c:v>189.36745494194932</c:v>
                </c:pt>
                <c:pt idx="2920">
                  <c:v>183.19417930828334</c:v>
                </c:pt>
                <c:pt idx="2921">
                  <c:v>185.17924714162461</c:v>
                </c:pt>
                <c:pt idx="2922">
                  <c:v>184.65139029477103</c:v>
                </c:pt>
                <c:pt idx="2923">
                  <c:v>184.69758626077623</c:v>
                </c:pt>
                <c:pt idx="2924">
                  <c:v>184.2267950189879</c:v>
                </c:pt>
                <c:pt idx="2925">
                  <c:v>180.04877750528198</c:v>
                </c:pt>
                <c:pt idx="2926">
                  <c:v>179.69687294071292</c:v>
                </c:pt>
                <c:pt idx="2927">
                  <c:v>177.73626179525678</c:v>
                </c:pt>
                <c:pt idx="2928">
                  <c:v>179.2199675269533</c:v>
                </c:pt>
                <c:pt idx="2929">
                  <c:v>178.66221917268459</c:v>
                </c:pt>
                <c:pt idx="2930">
                  <c:v>183.05151529562022</c:v>
                </c:pt>
                <c:pt idx="2931">
                  <c:v>184.67312957289113</c:v>
                </c:pt>
                <c:pt idx="2932">
                  <c:v>184.16157718462762</c:v>
                </c:pt>
                <c:pt idx="2933">
                  <c:v>184.31443148390954</c:v>
                </c:pt>
                <c:pt idx="2934">
                  <c:v>184.42312787451002</c:v>
                </c:pt>
                <c:pt idx="2935">
                  <c:v>185.58074443440512</c:v>
                </c:pt>
                <c:pt idx="2936">
                  <c:v>186.89461205578843</c:v>
                </c:pt>
                <c:pt idx="2937">
                  <c:v>188.79136407176679</c:v>
                </c:pt>
                <c:pt idx="2938">
                  <c:v>188.14462054769393</c:v>
                </c:pt>
                <c:pt idx="2939">
                  <c:v>192.2859530295722</c:v>
                </c:pt>
                <c:pt idx="2940">
                  <c:v>194.72007282658171</c:v>
                </c:pt>
                <c:pt idx="2941">
                  <c:v>192.33282834801867</c:v>
                </c:pt>
                <c:pt idx="2942">
                  <c:v>190.67656709624387</c:v>
                </c:pt>
                <c:pt idx="2943">
                  <c:v>187.48768673700229</c:v>
                </c:pt>
                <c:pt idx="2944">
                  <c:v>187.97138567517442</c:v>
                </c:pt>
                <c:pt idx="2945">
                  <c:v>189.92860005842431</c:v>
                </c:pt>
                <c:pt idx="2946">
                  <c:v>189.47615133254982</c:v>
                </c:pt>
                <c:pt idx="2947">
                  <c:v>196.96669134980536</c:v>
                </c:pt>
                <c:pt idx="2948">
                  <c:v>197.50134172107147</c:v>
                </c:pt>
                <c:pt idx="2949">
                  <c:v>198.31112983104504</c:v>
                </c:pt>
                <c:pt idx="2950">
                  <c:v>196.00201088322612</c:v>
                </c:pt>
                <c:pt idx="2951">
                  <c:v>193.10729013104708</c:v>
                </c:pt>
                <c:pt idx="2952">
                  <c:v>190.6283330729149</c:v>
                </c:pt>
                <c:pt idx="2953">
                  <c:v>190.56719135320213</c:v>
                </c:pt>
                <c:pt idx="2954">
                  <c:v>190.67656709624387</c:v>
                </c:pt>
                <c:pt idx="2955">
                  <c:v>191.76488970713118</c:v>
                </c:pt>
                <c:pt idx="2956">
                  <c:v>188.90073981480853</c:v>
                </c:pt>
                <c:pt idx="2957">
                  <c:v>193.48568944082501</c:v>
                </c:pt>
                <c:pt idx="2958">
                  <c:v>194.47142983308311</c:v>
                </c:pt>
                <c:pt idx="2959">
                  <c:v>193.22074198873634</c:v>
                </c:pt>
                <c:pt idx="2960">
                  <c:v>195.76559623367007</c:v>
                </c:pt>
                <c:pt idx="2961">
                  <c:v>197.41098784638481</c:v>
                </c:pt>
                <c:pt idx="2962">
                  <c:v>192.35660568346253</c:v>
                </c:pt>
                <c:pt idx="2963">
                  <c:v>187.30969639739399</c:v>
                </c:pt>
                <c:pt idx="2964">
                  <c:v>185.8701485743789</c:v>
                </c:pt>
                <c:pt idx="2965">
                  <c:v>185.85927893531886</c:v>
                </c:pt>
                <c:pt idx="2966">
                  <c:v>193.59982065095551</c:v>
                </c:pt>
                <c:pt idx="2967">
                  <c:v>196.51152521416586</c:v>
                </c:pt>
                <c:pt idx="2968">
                  <c:v>196.32334458793878</c:v>
                </c:pt>
                <c:pt idx="2969">
                  <c:v>195.35662606403577</c:v>
                </c:pt>
                <c:pt idx="2970">
                  <c:v>195.82402054361782</c:v>
                </c:pt>
                <c:pt idx="2971">
                  <c:v>190.77371449534303</c:v>
                </c:pt>
                <c:pt idx="2972">
                  <c:v>197.58829883355185</c:v>
                </c:pt>
                <c:pt idx="2973">
                  <c:v>199.78872139077032</c:v>
                </c:pt>
                <c:pt idx="2974">
                  <c:v>201.57338025394193</c:v>
                </c:pt>
                <c:pt idx="2975">
                  <c:v>200.91984320545654</c:v>
                </c:pt>
                <c:pt idx="2976">
                  <c:v>200.05774495750651</c:v>
                </c:pt>
                <c:pt idx="2977">
                  <c:v>200.20312637993464</c:v>
                </c:pt>
                <c:pt idx="2978">
                  <c:v>200.65421640092663</c:v>
                </c:pt>
                <c:pt idx="2979">
                  <c:v>202.24050435125238</c:v>
                </c:pt>
                <c:pt idx="2980">
                  <c:v>201.60870658088709</c:v>
                </c:pt>
                <c:pt idx="2981">
                  <c:v>204.02108709977648</c:v>
                </c:pt>
                <c:pt idx="2982">
                  <c:v>203.7724441062779</c:v>
                </c:pt>
                <c:pt idx="2983">
                  <c:v>203.76429187698287</c:v>
                </c:pt>
                <c:pt idx="2984">
                  <c:v>205.74120748102908</c:v>
                </c:pt>
                <c:pt idx="2985">
                  <c:v>203.63249750337977</c:v>
                </c:pt>
                <c:pt idx="2986">
                  <c:v>204.4966338086536</c:v>
                </c:pt>
                <c:pt idx="2987">
                  <c:v>204.06320695113419</c:v>
                </c:pt>
                <c:pt idx="2988">
                  <c:v>205.08291496545493</c:v>
                </c:pt>
                <c:pt idx="2989">
                  <c:v>204.60397149437156</c:v>
                </c:pt>
                <c:pt idx="2990">
                  <c:v>203.50138248221793</c:v>
                </c:pt>
                <c:pt idx="2991">
                  <c:v>201.79077303514291</c:v>
                </c:pt>
                <c:pt idx="2992">
                  <c:v>204.31184994463277</c:v>
                </c:pt>
                <c:pt idx="2993">
                  <c:v>205.75275647253039</c:v>
                </c:pt>
                <c:pt idx="2994">
                  <c:v>204.2276102419174</c:v>
                </c:pt>
                <c:pt idx="2995">
                  <c:v>204.45315525241341</c:v>
                </c:pt>
                <c:pt idx="2996">
                  <c:v>208.22084389160253</c:v>
                </c:pt>
                <c:pt idx="2997">
                  <c:v>211.1148852913403</c:v>
                </c:pt>
                <c:pt idx="2998">
                  <c:v>211.02656947397742</c:v>
                </c:pt>
                <c:pt idx="2999">
                  <c:v>212.54424282773661</c:v>
                </c:pt>
                <c:pt idx="3000">
                  <c:v>215.09181448243535</c:v>
                </c:pt>
                <c:pt idx="3001">
                  <c:v>214.25213486504663</c:v>
                </c:pt>
                <c:pt idx="3002">
                  <c:v>219.75964510628469</c:v>
                </c:pt>
                <c:pt idx="3003">
                  <c:v>218.25352074402679</c:v>
                </c:pt>
                <c:pt idx="3004">
                  <c:v>215.3180388453726</c:v>
                </c:pt>
                <c:pt idx="3005">
                  <c:v>216.0592123587796</c:v>
                </c:pt>
                <c:pt idx="3006">
                  <c:v>215.16110843144315</c:v>
                </c:pt>
                <c:pt idx="3007">
                  <c:v>216.75826602082896</c:v>
                </c:pt>
                <c:pt idx="3008">
                  <c:v>214.69031718965482</c:v>
                </c:pt>
                <c:pt idx="3009">
                  <c:v>215.81328677504604</c:v>
                </c:pt>
                <c:pt idx="3010">
                  <c:v>210.34721703272442</c:v>
                </c:pt>
                <c:pt idx="3011">
                  <c:v>211.46271374126184</c:v>
                </c:pt>
                <c:pt idx="3012">
                  <c:v>208.90970726703307</c:v>
                </c:pt>
                <c:pt idx="3013">
                  <c:v>210.98784638482599</c:v>
                </c:pt>
                <c:pt idx="3014">
                  <c:v>212.28880630982547</c:v>
                </c:pt>
                <c:pt idx="3015">
                  <c:v>212.02046209553055</c:v>
                </c:pt>
                <c:pt idx="3016">
                  <c:v>213.19642117133947</c:v>
                </c:pt>
                <c:pt idx="3017">
                  <c:v>215.99331517197808</c:v>
                </c:pt>
                <c:pt idx="3018">
                  <c:v>212.6033464901256</c:v>
                </c:pt>
                <c:pt idx="3019">
                  <c:v>209.77452292474814</c:v>
                </c:pt>
                <c:pt idx="3020">
                  <c:v>209.96474160829897</c:v>
                </c:pt>
                <c:pt idx="3021">
                  <c:v>211.32072908103996</c:v>
                </c:pt>
                <c:pt idx="3022">
                  <c:v>211.02113465444737</c:v>
                </c:pt>
                <c:pt idx="3023">
                  <c:v>211.3214084334812</c:v>
                </c:pt>
                <c:pt idx="3024">
                  <c:v>215.23311979021597</c:v>
                </c:pt>
                <c:pt idx="3025">
                  <c:v>217.44373263405322</c:v>
                </c:pt>
                <c:pt idx="3026">
                  <c:v>216.41451368555494</c:v>
                </c:pt>
                <c:pt idx="3027">
                  <c:v>213.42196618183547</c:v>
                </c:pt>
                <c:pt idx="3028">
                  <c:v>212.61421612918565</c:v>
                </c:pt>
                <c:pt idx="3029">
                  <c:v>207.96268996392638</c:v>
                </c:pt>
                <c:pt idx="3030">
                  <c:v>208.0591580105843</c:v>
                </c:pt>
                <c:pt idx="3031">
                  <c:v>208.28606172596281</c:v>
                </c:pt>
                <c:pt idx="3032">
                  <c:v>209.1332142202053</c:v>
                </c:pt>
                <c:pt idx="3033">
                  <c:v>206.58835997527157</c:v>
                </c:pt>
                <c:pt idx="3034">
                  <c:v>208.68008614188955</c:v>
                </c:pt>
                <c:pt idx="3035">
                  <c:v>208.14543577062344</c:v>
                </c:pt>
                <c:pt idx="3036">
                  <c:v>209.44775440050543</c:v>
                </c:pt>
                <c:pt idx="3037">
                  <c:v>207.40630031454018</c:v>
                </c:pt>
                <c:pt idx="3038">
                  <c:v>205.22829638788306</c:v>
                </c:pt>
                <c:pt idx="3039">
                  <c:v>206.60874054850916</c:v>
                </c:pt>
                <c:pt idx="3040">
                  <c:v>203.57067643122576</c:v>
                </c:pt>
                <c:pt idx="3041">
                  <c:v>201.98438848090001</c:v>
                </c:pt>
                <c:pt idx="3042">
                  <c:v>200.43003009531316</c:v>
                </c:pt>
                <c:pt idx="3043">
                  <c:v>200.10665833327673</c:v>
                </c:pt>
                <c:pt idx="3044">
                  <c:v>199.31453338677574</c:v>
                </c:pt>
                <c:pt idx="3045">
                  <c:v>198.4965930475071</c:v>
                </c:pt>
                <c:pt idx="3046">
                  <c:v>197.3695473474684</c:v>
                </c:pt>
                <c:pt idx="3047">
                  <c:v>192.80701635201325</c:v>
                </c:pt>
                <c:pt idx="3048">
                  <c:v>197.42117813300362</c:v>
                </c:pt>
                <c:pt idx="3049">
                  <c:v>197.48775467224641</c:v>
                </c:pt>
                <c:pt idx="3050">
                  <c:v>199.14945074355126</c:v>
                </c:pt>
                <c:pt idx="3051">
                  <c:v>201.29824251523448</c:v>
                </c:pt>
                <c:pt idx="3052">
                  <c:v>203.44499622959395</c:v>
                </c:pt>
                <c:pt idx="3053">
                  <c:v>203.09580907478991</c:v>
                </c:pt>
                <c:pt idx="3054">
                  <c:v>202.10259580567802</c:v>
                </c:pt>
                <c:pt idx="3055">
                  <c:v>202.54689230225748</c:v>
                </c:pt>
                <c:pt idx="3056">
                  <c:v>206.89270986895292</c:v>
                </c:pt>
                <c:pt idx="3057">
                  <c:v>206.1311557823083</c:v>
                </c:pt>
                <c:pt idx="3058">
                  <c:v>207.60806798959231</c:v>
                </c:pt>
                <c:pt idx="3059">
                  <c:v>207.97355960298643</c:v>
                </c:pt>
                <c:pt idx="3060">
                  <c:v>209.07682796758129</c:v>
                </c:pt>
                <c:pt idx="3061">
                  <c:v>208.65155333935692</c:v>
                </c:pt>
                <c:pt idx="3062">
                  <c:v>207.31526708741228</c:v>
                </c:pt>
                <c:pt idx="3063">
                  <c:v>207.94842356266008</c:v>
                </c:pt>
                <c:pt idx="3064">
                  <c:v>210.18145503705867</c:v>
                </c:pt>
                <c:pt idx="3065">
                  <c:v>211.9239940488726</c:v>
                </c:pt>
                <c:pt idx="3066">
                  <c:v>212.97427292304974</c:v>
                </c:pt>
                <c:pt idx="3067">
                  <c:v>213.144111033363</c:v>
                </c:pt>
                <c:pt idx="3068">
                  <c:v>213.3594657572402</c:v>
                </c:pt>
                <c:pt idx="3069">
                  <c:v>214.21884659542525</c:v>
                </c:pt>
                <c:pt idx="3070">
                  <c:v>215.36491416381904</c:v>
                </c:pt>
                <c:pt idx="3071">
                  <c:v>215.52320328263099</c:v>
                </c:pt>
                <c:pt idx="3072">
                  <c:v>214.0299866167569</c:v>
                </c:pt>
                <c:pt idx="3073">
                  <c:v>214.17400933430255</c:v>
                </c:pt>
                <c:pt idx="3074">
                  <c:v>214.34724420682207</c:v>
                </c:pt>
                <c:pt idx="3075">
                  <c:v>213.03337658543876</c:v>
                </c:pt>
                <c:pt idx="3076">
                  <c:v>213.2134049823708</c:v>
                </c:pt>
                <c:pt idx="3077">
                  <c:v>217.70324526661187</c:v>
                </c:pt>
                <c:pt idx="3078">
                  <c:v>216.21953953491533</c:v>
                </c:pt>
                <c:pt idx="3079">
                  <c:v>216.23312658374039</c:v>
                </c:pt>
                <c:pt idx="3080">
                  <c:v>216.27524643509807</c:v>
                </c:pt>
                <c:pt idx="3081">
                  <c:v>215.39412631879293</c:v>
                </c:pt>
                <c:pt idx="3082">
                  <c:v>217.07620296333533</c:v>
                </c:pt>
                <c:pt idx="3083">
                  <c:v>218.81194845073676</c:v>
                </c:pt>
                <c:pt idx="3084">
                  <c:v>220.13328894897384</c:v>
                </c:pt>
                <c:pt idx="3085">
                  <c:v>219.22431538257732</c:v>
                </c:pt>
                <c:pt idx="3086">
                  <c:v>218.25216203914428</c:v>
                </c:pt>
                <c:pt idx="3087">
                  <c:v>216.60880848375328</c:v>
                </c:pt>
                <c:pt idx="3088">
                  <c:v>218.58708279268203</c:v>
                </c:pt>
                <c:pt idx="3089">
                  <c:v>217.40365084001928</c:v>
                </c:pt>
                <c:pt idx="3090">
                  <c:v>218.45936453372644</c:v>
                </c:pt>
                <c:pt idx="3091">
                  <c:v>217.11696410981054</c:v>
                </c:pt>
                <c:pt idx="3092">
                  <c:v>215.64344866473277</c:v>
                </c:pt>
                <c:pt idx="3093">
                  <c:v>218.1176502557762</c:v>
                </c:pt>
                <c:pt idx="3094">
                  <c:v>219.54972520193752</c:v>
                </c:pt>
                <c:pt idx="3095">
                  <c:v>219.01303677334764</c:v>
                </c:pt>
                <c:pt idx="3096">
                  <c:v>220.11698449038377</c:v>
                </c:pt>
                <c:pt idx="3097">
                  <c:v>220.53818300396063</c:v>
                </c:pt>
                <c:pt idx="3098">
                  <c:v>219.06670561620663</c:v>
                </c:pt>
                <c:pt idx="3099">
                  <c:v>220.27391490431322</c:v>
                </c:pt>
                <c:pt idx="3100">
                  <c:v>215.53950774122106</c:v>
                </c:pt>
                <c:pt idx="3101">
                  <c:v>216.48448698700398</c:v>
                </c:pt>
                <c:pt idx="3102">
                  <c:v>215.90024388752641</c:v>
                </c:pt>
                <c:pt idx="3103">
                  <c:v>214.17332998186129</c:v>
                </c:pt>
                <c:pt idx="3104">
                  <c:v>215.68828592585547</c:v>
                </c:pt>
                <c:pt idx="3105">
                  <c:v>215.14480397285308</c:v>
                </c:pt>
                <c:pt idx="3106">
                  <c:v>216.46478576620765</c:v>
                </c:pt>
                <c:pt idx="3107">
                  <c:v>216.48720439676899</c:v>
                </c:pt>
                <c:pt idx="3108">
                  <c:v>214.49941915366273</c:v>
                </c:pt>
                <c:pt idx="3109">
                  <c:v>213.81599059776221</c:v>
                </c:pt>
                <c:pt idx="3110">
                  <c:v>213.81938735996849</c:v>
                </c:pt>
                <c:pt idx="3111">
                  <c:v>216.34793714631215</c:v>
                </c:pt>
                <c:pt idx="3112">
                  <c:v>213.39547143662659</c:v>
                </c:pt>
                <c:pt idx="3113">
                  <c:v>209.05372998457869</c:v>
                </c:pt>
                <c:pt idx="3114">
                  <c:v>211.32480519568747</c:v>
                </c:pt>
                <c:pt idx="3115">
                  <c:v>211.21950556729325</c:v>
                </c:pt>
                <c:pt idx="3116">
                  <c:v>206.66512680113317</c:v>
                </c:pt>
                <c:pt idx="3117">
                  <c:v>209.43756411388665</c:v>
                </c:pt>
                <c:pt idx="3118">
                  <c:v>210.48852234050503</c:v>
                </c:pt>
                <c:pt idx="3119">
                  <c:v>207.83021623788204</c:v>
                </c:pt>
                <c:pt idx="3120">
                  <c:v>208.54081889143268</c:v>
                </c:pt>
                <c:pt idx="3121">
                  <c:v>211.60877451613123</c:v>
                </c:pt>
                <c:pt idx="3122">
                  <c:v>210.99531926167975</c:v>
                </c:pt>
                <c:pt idx="3123">
                  <c:v>211.6841826371103</c:v>
                </c:pt>
                <c:pt idx="3124">
                  <c:v>211.97154871976034</c:v>
                </c:pt>
                <c:pt idx="3125">
                  <c:v>212.00008152229296</c:v>
                </c:pt>
                <c:pt idx="3126">
                  <c:v>212.41380715901602</c:v>
                </c:pt>
                <c:pt idx="3127">
                  <c:v>211.44097446314174</c:v>
                </c:pt>
                <c:pt idx="3128">
                  <c:v>214.4375980815087</c:v>
                </c:pt>
                <c:pt idx="3129">
                  <c:v>215.5102955862472</c:v>
                </c:pt>
                <c:pt idx="3130">
                  <c:v>213.10267053444656</c:v>
                </c:pt>
                <c:pt idx="3131">
                  <c:v>211.74532435682306</c:v>
                </c:pt>
                <c:pt idx="3132">
                  <c:v>213.78202297569956</c:v>
                </c:pt>
                <c:pt idx="3133">
                  <c:v>213.49126013084327</c:v>
                </c:pt>
                <c:pt idx="3134">
                  <c:v>213.95797525798409</c:v>
                </c:pt>
                <c:pt idx="3135">
                  <c:v>210.50822356130138</c:v>
                </c:pt>
                <c:pt idx="3136">
                  <c:v>210.03335620486553</c:v>
                </c:pt>
                <c:pt idx="3137">
                  <c:v>207.14407027221651</c:v>
                </c:pt>
                <c:pt idx="3138">
                  <c:v>209.04014293575364</c:v>
                </c:pt>
                <c:pt idx="3139">
                  <c:v>211.80374866677084</c:v>
                </c:pt>
                <c:pt idx="3140">
                  <c:v>209.44435763829918</c:v>
                </c:pt>
                <c:pt idx="3141">
                  <c:v>208.3601111420594</c:v>
                </c:pt>
                <c:pt idx="3142">
                  <c:v>209.9035998885862</c:v>
                </c:pt>
                <c:pt idx="3143">
                  <c:v>209.124382638469</c:v>
                </c:pt>
                <c:pt idx="3144">
                  <c:v>211.03947717036121</c:v>
                </c:pt>
                <c:pt idx="3145">
                  <c:v>215.58502435478502</c:v>
                </c:pt>
                <c:pt idx="3146">
                  <c:v>217.623081678544</c:v>
                </c:pt>
                <c:pt idx="3147">
                  <c:v>216.23992010815292</c:v>
                </c:pt>
                <c:pt idx="3148">
                  <c:v>215.1169505227617</c:v>
                </c:pt>
                <c:pt idx="3149">
                  <c:v>213.35538964259268</c:v>
                </c:pt>
                <c:pt idx="3150">
                  <c:v>210.40224458046589</c:v>
                </c:pt>
                <c:pt idx="3151">
                  <c:v>210.8519758965754</c:v>
                </c:pt>
                <c:pt idx="3152">
                  <c:v>210.71610540832478</c:v>
                </c:pt>
                <c:pt idx="3153">
                  <c:v>211.12575493040035</c:v>
                </c:pt>
                <c:pt idx="3154">
                  <c:v>214.57278921731805</c:v>
                </c:pt>
                <c:pt idx="3155">
                  <c:v>215.47225184953703</c:v>
                </c:pt>
                <c:pt idx="3156">
                  <c:v>217.25623136026738</c:v>
                </c:pt>
                <c:pt idx="3157">
                  <c:v>217.24468236876609</c:v>
                </c:pt>
                <c:pt idx="3158">
                  <c:v>218.47974510696403</c:v>
                </c:pt>
                <c:pt idx="3159">
                  <c:v>218.6495832172773</c:v>
                </c:pt>
                <c:pt idx="3160">
                  <c:v>219.15841819577579</c:v>
                </c:pt>
                <c:pt idx="3161">
                  <c:v>216.96954463005864</c:v>
                </c:pt>
                <c:pt idx="3162">
                  <c:v>219.85067833341259</c:v>
                </c:pt>
                <c:pt idx="3163">
                  <c:v>218.70053465037125</c:v>
                </c:pt>
                <c:pt idx="3164">
                  <c:v>218.01438868470575</c:v>
                </c:pt>
                <c:pt idx="3165">
                  <c:v>220.3173934605534</c:v>
                </c:pt>
                <c:pt idx="3166">
                  <c:v>218.69917594548875</c:v>
                </c:pt>
                <c:pt idx="3167">
                  <c:v>217.04699080836147</c:v>
                </c:pt>
                <c:pt idx="3168">
                  <c:v>217.31805243242141</c:v>
                </c:pt>
                <c:pt idx="3169">
                  <c:v>217.51914075503231</c:v>
                </c:pt>
                <c:pt idx="3170">
                  <c:v>216.25758327162549</c:v>
                </c:pt>
                <c:pt idx="3171">
                  <c:v>216.86220694434064</c:v>
                </c:pt>
                <c:pt idx="3172">
                  <c:v>215.45730609582947</c:v>
                </c:pt>
                <c:pt idx="3173">
                  <c:v>216.97294139226489</c:v>
                </c:pt>
                <c:pt idx="3174">
                  <c:v>217.5320484514161</c:v>
                </c:pt>
                <c:pt idx="3175">
                  <c:v>217.77185986317841</c:v>
                </c:pt>
                <c:pt idx="3176">
                  <c:v>214.51844102201781</c:v>
                </c:pt>
                <c:pt idx="3177">
                  <c:v>214.70662164824489</c:v>
                </c:pt>
                <c:pt idx="3178">
                  <c:v>215.46070285803572</c:v>
                </c:pt>
                <c:pt idx="3179">
                  <c:v>216.31464887669074</c:v>
                </c:pt>
                <c:pt idx="3180">
                  <c:v>214.46137541695256</c:v>
                </c:pt>
                <c:pt idx="3181">
                  <c:v>216.62239553257834</c:v>
                </c:pt>
                <c:pt idx="3182">
                  <c:v>213.27658475940734</c:v>
                </c:pt>
                <c:pt idx="3183">
                  <c:v>212.55443311435539</c:v>
                </c:pt>
                <c:pt idx="3184">
                  <c:v>213.03949075741002</c:v>
                </c:pt>
                <c:pt idx="3185">
                  <c:v>210.6508875739645</c:v>
                </c:pt>
                <c:pt idx="3186">
                  <c:v>210.33634739366437</c:v>
                </c:pt>
                <c:pt idx="3187">
                  <c:v>212.97087616084349</c:v>
                </c:pt>
                <c:pt idx="3188">
                  <c:v>212.58296591688801</c:v>
                </c:pt>
                <c:pt idx="3189">
                  <c:v>212.1712783374887</c:v>
                </c:pt>
                <c:pt idx="3190">
                  <c:v>212.61421612918565</c:v>
                </c:pt>
                <c:pt idx="3191">
                  <c:v>212.65497727566083</c:v>
                </c:pt>
                <c:pt idx="3192">
                  <c:v>213.47631437713571</c:v>
                </c:pt>
                <c:pt idx="3193">
                  <c:v>215.67605758191291</c:v>
                </c:pt>
                <c:pt idx="3194">
                  <c:v>216.16179457740881</c:v>
                </c:pt>
                <c:pt idx="3195">
                  <c:v>215.8037758408685</c:v>
                </c:pt>
                <c:pt idx="3196">
                  <c:v>207.66920970930508</c:v>
                </c:pt>
                <c:pt idx="3197">
                  <c:v>205.10533359601627</c:v>
                </c:pt>
                <c:pt idx="3198">
                  <c:v>201.79620785467293</c:v>
                </c:pt>
                <c:pt idx="3199">
                  <c:v>203.85464575166949</c:v>
                </c:pt>
                <c:pt idx="3200">
                  <c:v>205.88455084613346</c:v>
                </c:pt>
                <c:pt idx="3201">
                  <c:v>207.14950509174653</c:v>
                </c:pt>
                <c:pt idx="3202">
                  <c:v>206.91648720439676</c:v>
                </c:pt>
                <c:pt idx="3203">
                  <c:v>208.57206910373031</c:v>
                </c:pt>
                <c:pt idx="3204">
                  <c:v>207.61350280912234</c:v>
                </c:pt>
                <c:pt idx="3205">
                  <c:v>206.14270477380961</c:v>
                </c:pt>
                <c:pt idx="3206">
                  <c:v>208.13796289376967</c:v>
                </c:pt>
                <c:pt idx="3207">
                  <c:v>204.2242134797111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2!$F$1</c:f>
              <c:strCache>
                <c:ptCount val="1"/>
                <c:pt idx="0">
                  <c:v>STOXX Europe 600 USD NR</c:v>
                </c:pt>
              </c:strCache>
            </c:strRef>
          </c:tx>
          <c:marker>
            <c:symbol val="none"/>
          </c:marker>
          <c:cat>
            <c:numRef>
              <c:f>Sheet2!$A$2:$A$3209</c:f>
              <c:numCache>
                <c:formatCode>m/d/yyyy</c:formatCode>
                <c:ptCount val="3208"/>
                <c:pt idx="0">
                  <c:v>36893</c:v>
                </c:pt>
                <c:pt idx="1">
                  <c:v>36894</c:v>
                </c:pt>
                <c:pt idx="2">
                  <c:v>36895</c:v>
                </c:pt>
                <c:pt idx="3">
                  <c:v>36896</c:v>
                </c:pt>
                <c:pt idx="4">
                  <c:v>36899</c:v>
                </c:pt>
                <c:pt idx="5">
                  <c:v>36900</c:v>
                </c:pt>
                <c:pt idx="6">
                  <c:v>36901</c:v>
                </c:pt>
                <c:pt idx="7">
                  <c:v>36902</c:v>
                </c:pt>
                <c:pt idx="8">
                  <c:v>36903</c:v>
                </c:pt>
                <c:pt idx="9">
                  <c:v>36906</c:v>
                </c:pt>
                <c:pt idx="10">
                  <c:v>36907</c:v>
                </c:pt>
                <c:pt idx="11">
                  <c:v>36908</c:v>
                </c:pt>
                <c:pt idx="12">
                  <c:v>36909</c:v>
                </c:pt>
                <c:pt idx="13">
                  <c:v>36910</c:v>
                </c:pt>
                <c:pt idx="14">
                  <c:v>36913</c:v>
                </c:pt>
                <c:pt idx="15">
                  <c:v>36914</c:v>
                </c:pt>
                <c:pt idx="16">
                  <c:v>36915</c:v>
                </c:pt>
                <c:pt idx="17">
                  <c:v>36916</c:v>
                </c:pt>
                <c:pt idx="18">
                  <c:v>36917</c:v>
                </c:pt>
                <c:pt idx="19">
                  <c:v>36920</c:v>
                </c:pt>
                <c:pt idx="20">
                  <c:v>36921</c:v>
                </c:pt>
                <c:pt idx="21">
                  <c:v>36922</c:v>
                </c:pt>
                <c:pt idx="22">
                  <c:v>36923</c:v>
                </c:pt>
                <c:pt idx="23">
                  <c:v>36924</c:v>
                </c:pt>
                <c:pt idx="24">
                  <c:v>36927</c:v>
                </c:pt>
                <c:pt idx="25">
                  <c:v>36928</c:v>
                </c:pt>
                <c:pt idx="26">
                  <c:v>36929</c:v>
                </c:pt>
                <c:pt idx="27">
                  <c:v>36930</c:v>
                </c:pt>
                <c:pt idx="28">
                  <c:v>36931</c:v>
                </c:pt>
                <c:pt idx="29">
                  <c:v>36934</c:v>
                </c:pt>
                <c:pt idx="30">
                  <c:v>36935</c:v>
                </c:pt>
                <c:pt idx="31">
                  <c:v>36936</c:v>
                </c:pt>
                <c:pt idx="32">
                  <c:v>36937</c:v>
                </c:pt>
                <c:pt idx="33">
                  <c:v>36938</c:v>
                </c:pt>
                <c:pt idx="34">
                  <c:v>36941</c:v>
                </c:pt>
                <c:pt idx="35">
                  <c:v>36942</c:v>
                </c:pt>
                <c:pt idx="36">
                  <c:v>36943</c:v>
                </c:pt>
                <c:pt idx="37">
                  <c:v>36944</c:v>
                </c:pt>
                <c:pt idx="38">
                  <c:v>36945</c:v>
                </c:pt>
                <c:pt idx="39">
                  <c:v>36948</c:v>
                </c:pt>
                <c:pt idx="40">
                  <c:v>36949</c:v>
                </c:pt>
                <c:pt idx="41">
                  <c:v>36950</c:v>
                </c:pt>
                <c:pt idx="42">
                  <c:v>36951</c:v>
                </c:pt>
                <c:pt idx="43">
                  <c:v>36952</c:v>
                </c:pt>
                <c:pt idx="44">
                  <c:v>36955</c:v>
                </c:pt>
                <c:pt idx="45">
                  <c:v>36956</c:v>
                </c:pt>
                <c:pt idx="46">
                  <c:v>36957</c:v>
                </c:pt>
                <c:pt idx="47">
                  <c:v>36958</c:v>
                </c:pt>
                <c:pt idx="48">
                  <c:v>36959</c:v>
                </c:pt>
                <c:pt idx="49">
                  <c:v>36962</c:v>
                </c:pt>
                <c:pt idx="50">
                  <c:v>36963</c:v>
                </c:pt>
                <c:pt idx="51">
                  <c:v>36964</c:v>
                </c:pt>
                <c:pt idx="52">
                  <c:v>36965</c:v>
                </c:pt>
                <c:pt idx="53">
                  <c:v>36966</c:v>
                </c:pt>
                <c:pt idx="54">
                  <c:v>36969</c:v>
                </c:pt>
                <c:pt idx="55">
                  <c:v>36970</c:v>
                </c:pt>
                <c:pt idx="56">
                  <c:v>36971</c:v>
                </c:pt>
                <c:pt idx="57">
                  <c:v>36972</c:v>
                </c:pt>
                <c:pt idx="58">
                  <c:v>36973</c:v>
                </c:pt>
                <c:pt idx="59">
                  <c:v>36976</c:v>
                </c:pt>
                <c:pt idx="60">
                  <c:v>36977</c:v>
                </c:pt>
                <c:pt idx="61">
                  <c:v>36978</c:v>
                </c:pt>
                <c:pt idx="62">
                  <c:v>36979</c:v>
                </c:pt>
                <c:pt idx="63">
                  <c:v>36980</c:v>
                </c:pt>
                <c:pt idx="64">
                  <c:v>36983</c:v>
                </c:pt>
                <c:pt idx="65">
                  <c:v>36984</c:v>
                </c:pt>
                <c:pt idx="66">
                  <c:v>36985</c:v>
                </c:pt>
                <c:pt idx="67">
                  <c:v>36986</c:v>
                </c:pt>
                <c:pt idx="68">
                  <c:v>36987</c:v>
                </c:pt>
                <c:pt idx="69">
                  <c:v>36990</c:v>
                </c:pt>
                <c:pt idx="70">
                  <c:v>36991</c:v>
                </c:pt>
                <c:pt idx="71">
                  <c:v>36992</c:v>
                </c:pt>
                <c:pt idx="72">
                  <c:v>36993</c:v>
                </c:pt>
                <c:pt idx="73">
                  <c:v>36998</c:v>
                </c:pt>
                <c:pt idx="74">
                  <c:v>36999</c:v>
                </c:pt>
                <c:pt idx="75">
                  <c:v>37000</c:v>
                </c:pt>
                <c:pt idx="76">
                  <c:v>37001</c:v>
                </c:pt>
                <c:pt idx="77">
                  <c:v>37004</c:v>
                </c:pt>
                <c:pt idx="78">
                  <c:v>37005</c:v>
                </c:pt>
                <c:pt idx="79">
                  <c:v>37006</c:v>
                </c:pt>
                <c:pt idx="80">
                  <c:v>37007</c:v>
                </c:pt>
                <c:pt idx="81">
                  <c:v>37008</c:v>
                </c:pt>
                <c:pt idx="82">
                  <c:v>37011</c:v>
                </c:pt>
                <c:pt idx="83">
                  <c:v>37013</c:v>
                </c:pt>
                <c:pt idx="84">
                  <c:v>37014</c:v>
                </c:pt>
                <c:pt idx="85">
                  <c:v>37015</c:v>
                </c:pt>
                <c:pt idx="86">
                  <c:v>37018</c:v>
                </c:pt>
                <c:pt idx="87">
                  <c:v>37019</c:v>
                </c:pt>
                <c:pt idx="88">
                  <c:v>37020</c:v>
                </c:pt>
                <c:pt idx="89">
                  <c:v>37021</c:v>
                </c:pt>
                <c:pt idx="90">
                  <c:v>37022</c:v>
                </c:pt>
                <c:pt idx="91">
                  <c:v>37025</c:v>
                </c:pt>
                <c:pt idx="92">
                  <c:v>37026</c:v>
                </c:pt>
                <c:pt idx="93">
                  <c:v>37027</c:v>
                </c:pt>
                <c:pt idx="94">
                  <c:v>37028</c:v>
                </c:pt>
                <c:pt idx="95">
                  <c:v>37029</c:v>
                </c:pt>
                <c:pt idx="96">
                  <c:v>37032</c:v>
                </c:pt>
                <c:pt idx="97">
                  <c:v>37033</c:v>
                </c:pt>
                <c:pt idx="98">
                  <c:v>37034</c:v>
                </c:pt>
                <c:pt idx="99">
                  <c:v>37035</c:v>
                </c:pt>
                <c:pt idx="100">
                  <c:v>37036</c:v>
                </c:pt>
                <c:pt idx="101">
                  <c:v>37039</c:v>
                </c:pt>
                <c:pt idx="102">
                  <c:v>37040</c:v>
                </c:pt>
                <c:pt idx="103">
                  <c:v>37041</c:v>
                </c:pt>
                <c:pt idx="104">
                  <c:v>37042</c:v>
                </c:pt>
                <c:pt idx="105">
                  <c:v>37043</c:v>
                </c:pt>
                <c:pt idx="106">
                  <c:v>37046</c:v>
                </c:pt>
                <c:pt idx="107">
                  <c:v>37047</c:v>
                </c:pt>
                <c:pt idx="108">
                  <c:v>37048</c:v>
                </c:pt>
                <c:pt idx="109">
                  <c:v>37049</c:v>
                </c:pt>
                <c:pt idx="110">
                  <c:v>37050</c:v>
                </c:pt>
                <c:pt idx="111">
                  <c:v>37053</c:v>
                </c:pt>
                <c:pt idx="112">
                  <c:v>37054</c:v>
                </c:pt>
                <c:pt idx="113">
                  <c:v>37055</c:v>
                </c:pt>
                <c:pt idx="114">
                  <c:v>37056</c:v>
                </c:pt>
                <c:pt idx="115">
                  <c:v>37057</c:v>
                </c:pt>
                <c:pt idx="116">
                  <c:v>37060</c:v>
                </c:pt>
                <c:pt idx="117">
                  <c:v>37061</c:v>
                </c:pt>
                <c:pt idx="118">
                  <c:v>37062</c:v>
                </c:pt>
                <c:pt idx="119">
                  <c:v>37063</c:v>
                </c:pt>
                <c:pt idx="120">
                  <c:v>37064</c:v>
                </c:pt>
                <c:pt idx="121">
                  <c:v>37067</c:v>
                </c:pt>
                <c:pt idx="122">
                  <c:v>37068</c:v>
                </c:pt>
                <c:pt idx="123">
                  <c:v>37069</c:v>
                </c:pt>
                <c:pt idx="124">
                  <c:v>37070</c:v>
                </c:pt>
                <c:pt idx="125">
                  <c:v>37071</c:v>
                </c:pt>
                <c:pt idx="126">
                  <c:v>37074</c:v>
                </c:pt>
                <c:pt idx="127">
                  <c:v>37075</c:v>
                </c:pt>
                <c:pt idx="128">
                  <c:v>37076</c:v>
                </c:pt>
                <c:pt idx="129">
                  <c:v>37077</c:v>
                </c:pt>
                <c:pt idx="130">
                  <c:v>37078</c:v>
                </c:pt>
                <c:pt idx="131">
                  <c:v>37081</c:v>
                </c:pt>
                <c:pt idx="132">
                  <c:v>37082</c:v>
                </c:pt>
                <c:pt idx="133">
                  <c:v>37083</c:v>
                </c:pt>
                <c:pt idx="134">
                  <c:v>37084</c:v>
                </c:pt>
                <c:pt idx="135">
                  <c:v>37085</c:v>
                </c:pt>
                <c:pt idx="136">
                  <c:v>37088</c:v>
                </c:pt>
                <c:pt idx="137">
                  <c:v>37089</c:v>
                </c:pt>
                <c:pt idx="138">
                  <c:v>37090</c:v>
                </c:pt>
                <c:pt idx="139">
                  <c:v>37091</c:v>
                </c:pt>
                <c:pt idx="140">
                  <c:v>37092</c:v>
                </c:pt>
                <c:pt idx="141">
                  <c:v>37095</c:v>
                </c:pt>
                <c:pt idx="142">
                  <c:v>37096</c:v>
                </c:pt>
                <c:pt idx="143">
                  <c:v>37097</c:v>
                </c:pt>
                <c:pt idx="144">
                  <c:v>37098</c:v>
                </c:pt>
                <c:pt idx="145">
                  <c:v>37099</c:v>
                </c:pt>
                <c:pt idx="146">
                  <c:v>37102</c:v>
                </c:pt>
                <c:pt idx="147">
                  <c:v>37103</c:v>
                </c:pt>
                <c:pt idx="148">
                  <c:v>37104</c:v>
                </c:pt>
                <c:pt idx="149">
                  <c:v>37105</c:v>
                </c:pt>
                <c:pt idx="150">
                  <c:v>37106</c:v>
                </c:pt>
                <c:pt idx="151">
                  <c:v>37109</c:v>
                </c:pt>
                <c:pt idx="152">
                  <c:v>37110</c:v>
                </c:pt>
                <c:pt idx="153">
                  <c:v>37111</c:v>
                </c:pt>
                <c:pt idx="154">
                  <c:v>37112</c:v>
                </c:pt>
                <c:pt idx="155">
                  <c:v>37113</c:v>
                </c:pt>
                <c:pt idx="156">
                  <c:v>37116</c:v>
                </c:pt>
                <c:pt idx="157">
                  <c:v>37117</c:v>
                </c:pt>
                <c:pt idx="158">
                  <c:v>37118</c:v>
                </c:pt>
                <c:pt idx="159">
                  <c:v>37119</c:v>
                </c:pt>
                <c:pt idx="160">
                  <c:v>37120</c:v>
                </c:pt>
                <c:pt idx="161">
                  <c:v>37123</c:v>
                </c:pt>
                <c:pt idx="162">
                  <c:v>37124</c:v>
                </c:pt>
                <c:pt idx="163">
                  <c:v>37125</c:v>
                </c:pt>
                <c:pt idx="164">
                  <c:v>37126</c:v>
                </c:pt>
                <c:pt idx="165">
                  <c:v>37127</c:v>
                </c:pt>
                <c:pt idx="166">
                  <c:v>37130</c:v>
                </c:pt>
                <c:pt idx="167">
                  <c:v>37131</c:v>
                </c:pt>
                <c:pt idx="168">
                  <c:v>37132</c:v>
                </c:pt>
                <c:pt idx="169">
                  <c:v>37133</c:v>
                </c:pt>
                <c:pt idx="170">
                  <c:v>37134</c:v>
                </c:pt>
                <c:pt idx="171">
                  <c:v>37137</c:v>
                </c:pt>
                <c:pt idx="172">
                  <c:v>37138</c:v>
                </c:pt>
                <c:pt idx="173">
                  <c:v>37139</c:v>
                </c:pt>
                <c:pt idx="174">
                  <c:v>37140</c:v>
                </c:pt>
                <c:pt idx="175">
                  <c:v>37141</c:v>
                </c:pt>
                <c:pt idx="176">
                  <c:v>37144</c:v>
                </c:pt>
                <c:pt idx="177">
                  <c:v>37145</c:v>
                </c:pt>
                <c:pt idx="178">
                  <c:v>37146</c:v>
                </c:pt>
                <c:pt idx="179">
                  <c:v>37147</c:v>
                </c:pt>
                <c:pt idx="180">
                  <c:v>37148</c:v>
                </c:pt>
                <c:pt idx="181">
                  <c:v>37151</c:v>
                </c:pt>
                <c:pt idx="182">
                  <c:v>37152</c:v>
                </c:pt>
                <c:pt idx="183">
                  <c:v>37153</c:v>
                </c:pt>
                <c:pt idx="184">
                  <c:v>37154</c:v>
                </c:pt>
                <c:pt idx="185">
                  <c:v>37155</c:v>
                </c:pt>
                <c:pt idx="186">
                  <c:v>37158</c:v>
                </c:pt>
                <c:pt idx="187">
                  <c:v>37159</c:v>
                </c:pt>
                <c:pt idx="188">
                  <c:v>37160</c:v>
                </c:pt>
                <c:pt idx="189">
                  <c:v>37161</c:v>
                </c:pt>
                <c:pt idx="190">
                  <c:v>37162</c:v>
                </c:pt>
                <c:pt idx="191">
                  <c:v>37165</c:v>
                </c:pt>
                <c:pt idx="192">
                  <c:v>37166</c:v>
                </c:pt>
                <c:pt idx="193">
                  <c:v>37167</c:v>
                </c:pt>
                <c:pt idx="194">
                  <c:v>37168</c:v>
                </c:pt>
                <c:pt idx="195">
                  <c:v>37169</c:v>
                </c:pt>
                <c:pt idx="196">
                  <c:v>37172</c:v>
                </c:pt>
                <c:pt idx="197">
                  <c:v>37173</c:v>
                </c:pt>
                <c:pt idx="198">
                  <c:v>37174</c:v>
                </c:pt>
                <c:pt idx="199">
                  <c:v>37175</c:v>
                </c:pt>
                <c:pt idx="200">
                  <c:v>37176</c:v>
                </c:pt>
                <c:pt idx="201">
                  <c:v>37179</c:v>
                </c:pt>
                <c:pt idx="202">
                  <c:v>37180</c:v>
                </c:pt>
                <c:pt idx="203">
                  <c:v>37181</c:v>
                </c:pt>
                <c:pt idx="204">
                  <c:v>37182</c:v>
                </c:pt>
                <c:pt idx="205">
                  <c:v>37183</c:v>
                </c:pt>
                <c:pt idx="206">
                  <c:v>37186</c:v>
                </c:pt>
                <c:pt idx="207">
                  <c:v>37187</c:v>
                </c:pt>
                <c:pt idx="208">
                  <c:v>37188</c:v>
                </c:pt>
                <c:pt idx="209">
                  <c:v>37189</c:v>
                </c:pt>
                <c:pt idx="210">
                  <c:v>37190</c:v>
                </c:pt>
                <c:pt idx="211">
                  <c:v>37193</c:v>
                </c:pt>
                <c:pt idx="212">
                  <c:v>37194</c:v>
                </c:pt>
                <c:pt idx="213">
                  <c:v>37195</c:v>
                </c:pt>
                <c:pt idx="214">
                  <c:v>37196</c:v>
                </c:pt>
                <c:pt idx="215">
                  <c:v>37197</c:v>
                </c:pt>
                <c:pt idx="216">
                  <c:v>37200</c:v>
                </c:pt>
                <c:pt idx="217">
                  <c:v>37201</c:v>
                </c:pt>
                <c:pt idx="218">
                  <c:v>37202</c:v>
                </c:pt>
                <c:pt idx="219">
                  <c:v>37203</c:v>
                </c:pt>
                <c:pt idx="220">
                  <c:v>37204</c:v>
                </c:pt>
                <c:pt idx="221">
                  <c:v>37207</c:v>
                </c:pt>
                <c:pt idx="222">
                  <c:v>37208</c:v>
                </c:pt>
                <c:pt idx="223">
                  <c:v>37209</c:v>
                </c:pt>
                <c:pt idx="224">
                  <c:v>37210</c:v>
                </c:pt>
                <c:pt idx="225">
                  <c:v>37211</c:v>
                </c:pt>
                <c:pt idx="226">
                  <c:v>37214</c:v>
                </c:pt>
                <c:pt idx="227">
                  <c:v>37215</c:v>
                </c:pt>
                <c:pt idx="228">
                  <c:v>37216</c:v>
                </c:pt>
                <c:pt idx="229">
                  <c:v>37217</c:v>
                </c:pt>
                <c:pt idx="230">
                  <c:v>37218</c:v>
                </c:pt>
                <c:pt idx="231">
                  <c:v>37221</c:v>
                </c:pt>
                <c:pt idx="232">
                  <c:v>37222</c:v>
                </c:pt>
                <c:pt idx="233">
                  <c:v>37223</c:v>
                </c:pt>
                <c:pt idx="234">
                  <c:v>37224</c:v>
                </c:pt>
                <c:pt idx="235">
                  <c:v>37225</c:v>
                </c:pt>
                <c:pt idx="236">
                  <c:v>37228</c:v>
                </c:pt>
                <c:pt idx="237">
                  <c:v>37229</c:v>
                </c:pt>
                <c:pt idx="238">
                  <c:v>37230</c:v>
                </c:pt>
                <c:pt idx="239">
                  <c:v>37231</c:v>
                </c:pt>
                <c:pt idx="240">
                  <c:v>37232</c:v>
                </c:pt>
                <c:pt idx="241">
                  <c:v>37235</c:v>
                </c:pt>
                <c:pt idx="242">
                  <c:v>37236</c:v>
                </c:pt>
                <c:pt idx="243">
                  <c:v>37237</c:v>
                </c:pt>
                <c:pt idx="244">
                  <c:v>37238</c:v>
                </c:pt>
                <c:pt idx="245">
                  <c:v>37239</c:v>
                </c:pt>
                <c:pt idx="246">
                  <c:v>37242</c:v>
                </c:pt>
                <c:pt idx="247">
                  <c:v>37243</c:v>
                </c:pt>
                <c:pt idx="248">
                  <c:v>37244</c:v>
                </c:pt>
                <c:pt idx="249">
                  <c:v>37245</c:v>
                </c:pt>
                <c:pt idx="250">
                  <c:v>37246</c:v>
                </c:pt>
                <c:pt idx="251">
                  <c:v>37249</c:v>
                </c:pt>
                <c:pt idx="252">
                  <c:v>37252</c:v>
                </c:pt>
                <c:pt idx="253">
                  <c:v>37253</c:v>
                </c:pt>
                <c:pt idx="254">
                  <c:v>37258</c:v>
                </c:pt>
                <c:pt idx="255">
                  <c:v>37259</c:v>
                </c:pt>
                <c:pt idx="256">
                  <c:v>37260</c:v>
                </c:pt>
                <c:pt idx="257">
                  <c:v>37263</c:v>
                </c:pt>
                <c:pt idx="258">
                  <c:v>37264</c:v>
                </c:pt>
                <c:pt idx="259">
                  <c:v>37265</c:v>
                </c:pt>
                <c:pt idx="260">
                  <c:v>37266</c:v>
                </c:pt>
                <c:pt idx="261">
                  <c:v>37267</c:v>
                </c:pt>
                <c:pt idx="262">
                  <c:v>37270</c:v>
                </c:pt>
                <c:pt idx="263">
                  <c:v>37271</c:v>
                </c:pt>
                <c:pt idx="264">
                  <c:v>37272</c:v>
                </c:pt>
                <c:pt idx="265">
                  <c:v>37273</c:v>
                </c:pt>
                <c:pt idx="266">
                  <c:v>37274</c:v>
                </c:pt>
                <c:pt idx="267">
                  <c:v>37277</c:v>
                </c:pt>
                <c:pt idx="268">
                  <c:v>37278</c:v>
                </c:pt>
                <c:pt idx="269">
                  <c:v>37279</c:v>
                </c:pt>
                <c:pt idx="270">
                  <c:v>37280</c:v>
                </c:pt>
                <c:pt idx="271">
                  <c:v>37281</c:v>
                </c:pt>
                <c:pt idx="272">
                  <c:v>37284</c:v>
                </c:pt>
                <c:pt idx="273">
                  <c:v>37285</c:v>
                </c:pt>
                <c:pt idx="274">
                  <c:v>37286</c:v>
                </c:pt>
                <c:pt idx="275">
                  <c:v>37287</c:v>
                </c:pt>
                <c:pt idx="276">
                  <c:v>37288</c:v>
                </c:pt>
                <c:pt idx="277">
                  <c:v>37291</c:v>
                </c:pt>
                <c:pt idx="278">
                  <c:v>37292</c:v>
                </c:pt>
                <c:pt idx="279">
                  <c:v>37293</c:v>
                </c:pt>
                <c:pt idx="280">
                  <c:v>37294</c:v>
                </c:pt>
                <c:pt idx="281">
                  <c:v>37295</c:v>
                </c:pt>
                <c:pt idx="282">
                  <c:v>37298</c:v>
                </c:pt>
                <c:pt idx="283">
                  <c:v>37299</c:v>
                </c:pt>
                <c:pt idx="284">
                  <c:v>37300</c:v>
                </c:pt>
                <c:pt idx="285">
                  <c:v>37301</c:v>
                </c:pt>
                <c:pt idx="286">
                  <c:v>37302</c:v>
                </c:pt>
                <c:pt idx="287">
                  <c:v>37305</c:v>
                </c:pt>
                <c:pt idx="288">
                  <c:v>37306</c:v>
                </c:pt>
                <c:pt idx="289">
                  <c:v>37307</c:v>
                </c:pt>
                <c:pt idx="290">
                  <c:v>37308</c:v>
                </c:pt>
                <c:pt idx="291">
                  <c:v>37309</c:v>
                </c:pt>
                <c:pt idx="292">
                  <c:v>37312</c:v>
                </c:pt>
                <c:pt idx="293">
                  <c:v>37313</c:v>
                </c:pt>
                <c:pt idx="294">
                  <c:v>37314</c:v>
                </c:pt>
                <c:pt idx="295">
                  <c:v>37315</c:v>
                </c:pt>
                <c:pt idx="296">
                  <c:v>37316</c:v>
                </c:pt>
                <c:pt idx="297">
                  <c:v>37319</c:v>
                </c:pt>
                <c:pt idx="298">
                  <c:v>37320</c:v>
                </c:pt>
                <c:pt idx="299">
                  <c:v>37321</c:v>
                </c:pt>
                <c:pt idx="300">
                  <c:v>37322</c:v>
                </c:pt>
                <c:pt idx="301">
                  <c:v>37323</c:v>
                </c:pt>
                <c:pt idx="302">
                  <c:v>37326</c:v>
                </c:pt>
                <c:pt idx="303">
                  <c:v>37327</c:v>
                </c:pt>
                <c:pt idx="304">
                  <c:v>37328</c:v>
                </c:pt>
                <c:pt idx="305">
                  <c:v>37329</c:v>
                </c:pt>
                <c:pt idx="306">
                  <c:v>37330</c:v>
                </c:pt>
                <c:pt idx="307">
                  <c:v>37333</c:v>
                </c:pt>
                <c:pt idx="308">
                  <c:v>37334</c:v>
                </c:pt>
                <c:pt idx="309">
                  <c:v>37335</c:v>
                </c:pt>
                <c:pt idx="310">
                  <c:v>37336</c:v>
                </c:pt>
                <c:pt idx="311">
                  <c:v>37337</c:v>
                </c:pt>
                <c:pt idx="312">
                  <c:v>37340</c:v>
                </c:pt>
                <c:pt idx="313">
                  <c:v>37341</c:v>
                </c:pt>
                <c:pt idx="314">
                  <c:v>37342</c:v>
                </c:pt>
                <c:pt idx="315">
                  <c:v>37343</c:v>
                </c:pt>
                <c:pt idx="316">
                  <c:v>37348</c:v>
                </c:pt>
                <c:pt idx="317">
                  <c:v>37349</c:v>
                </c:pt>
                <c:pt idx="318">
                  <c:v>37350</c:v>
                </c:pt>
                <c:pt idx="319">
                  <c:v>37351</c:v>
                </c:pt>
                <c:pt idx="320">
                  <c:v>37354</c:v>
                </c:pt>
                <c:pt idx="321">
                  <c:v>37355</c:v>
                </c:pt>
                <c:pt idx="322">
                  <c:v>37356</c:v>
                </c:pt>
                <c:pt idx="323">
                  <c:v>37357</c:v>
                </c:pt>
                <c:pt idx="324">
                  <c:v>37358</c:v>
                </c:pt>
                <c:pt idx="325">
                  <c:v>37361</c:v>
                </c:pt>
                <c:pt idx="326">
                  <c:v>37362</c:v>
                </c:pt>
                <c:pt idx="327">
                  <c:v>37363</c:v>
                </c:pt>
                <c:pt idx="328">
                  <c:v>37364</c:v>
                </c:pt>
                <c:pt idx="329">
                  <c:v>37365</c:v>
                </c:pt>
                <c:pt idx="330">
                  <c:v>37368</c:v>
                </c:pt>
                <c:pt idx="331">
                  <c:v>37369</c:v>
                </c:pt>
                <c:pt idx="332">
                  <c:v>37370</c:v>
                </c:pt>
                <c:pt idx="333">
                  <c:v>37371</c:v>
                </c:pt>
                <c:pt idx="334">
                  <c:v>37372</c:v>
                </c:pt>
                <c:pt idx="335">
                  <c:v>37375</c:v>
                </c:pt>
                <c:pt idx="336">
                  <c:v>37376</c:v>
                </c:pt>
                <c:pt idx="337">
                  <c:v>37378</c:v>
                </c:pt>
                <c:pt idx="338">
                  <c:v>37379</c:v>
                </c:pt>
                <c:pt idx="339">
                  <c:v>37382</c:v>
                </c:pt>
                <c:pt idx="340">
                  <c:v>37383</c:v>
                </c:pt>
                <c:pt idx="341">
                  <c:v>37384</c:v>
                </c:pt>
                <c:pt idx="342">
                  <c:v>37385</c:v>
                </c:pt>
                <c:pt idx="343">
                  <c:v>37386</c:v>
                </c:pt>
                <c:pt idx="344">
                  <c:v>37389</c:v>
                </c:pt>
                <c:pt idx="345">
                  <c:v>37390</c:v>
                </c:pt>
                <c:pt idx="346">
                  <c:v>37391</c:v>
                </c:pt>
                <c:pt idx="347">
                  <c:v>37392</c:v>
                </c:pt>
                <c:pt idx="348">
                  <c:v>37393</c:v>
                </c:pt>
                <c:pt idx="349">
                  <c:v>37396</c:v>
                </c:pt>
                <c:pt idx="350">
                  <c:v>37397</c:v>
                </c:pt>
                <c:pt idx="351">
                  <c:v>37398</c:v>
                </c:pt>
                <c:pt idx="352">
                  <c:v>37399</c:v>
                </c:pt>
                <c:pt idx="353">
                  <c:v>37400</c:v>
                </c:pt>
                <c:pt idx="354">
                  <c:v>37403</c:v>
                </c:pt>
                <c:pt idx="355">
                  <c:v>37404</c:v>
                </c:pt>
                <c:pt idx="356">
                  <c:v>37405</c:v>
                </c:pt>
                <c:pt idx="357">
                  <c:v>37406</c:v>
                </c:pt>
                <c:pt idx="358">
                  <c:v>37407</c:v>
                </c:pt>
                <c:pt idx="359">
                  <c:v>37410</c:v>
                </c:pt>
                <c:pt idx="360">
                  <c:v>37411</c:v>
                </c:pt>
                <c:pt idx="361">
                  <c:v>37412</c:v>
                </c:pt>
                <c:pt idx="362">
                  <c:v>37413</c:v>
                </c:pt>
                <c:pt idx="363">
                  <c:v>37414</c:v>
                </c:pt>
                <c:pt idx="364">
                  <c:v>37417</c:v>
                </c:pt>
                <c:pt idx="365">
                  <c:v>37418</c:v>
                </c:pt>
                <c:pt idx="366">
                  <c:v>37419</c:v>
                </c:pt>
                <c:pt idx="367">
                  <c:v>37420</c:v>
                </c:pt>
                <c:pt idx="368">
                  <c:v>37421</c:v>
                </c:pt>
                <c:pt idx="369">
                  <c:v>37424</c:v>
                </c:pt>
                <c:pt idx="370">
                  <c:v>37425</c:v>
                </c:pt>
                <c:pt idx="371">
                  <c:v>37426</c:v>
                </c:pt>
                <c:pt idx="372">
                  <c:v>37427</c:v>
                </c:pt>
                <c:pt idx="373">
                  <c:v>37428</c:v>
                </c:pt>
                <c:pt idx="374">
                  <c:v>37431</c:v>
                </c:pt>
                <c:pt idx="375">
                  <c:v>37432</c:v>
                </c:pt>
                <c:pt idx="376">
                  <c:v>37433</c:v>
                </c:pt>
                <c:pt idx="377">
                  <c:v>37434</c:v>
                </c:pt>
                <c:pt idx="378">
                  <c:v>37435</c:v>
                </c:pt>
                <c:pt idx="379">
                  <c:v>37438</c:v>
                </c:pt>
                <c:pt idx="380">
                  <c:v>37439</c:v>
                </c:pt>
                <c:pt idx="381">
                  <c:v>37440</c:v>
                </c:pt>
                <c:pt idx="382">
                  <c:v>37441</c:v>
                </c:pt>
                <c:pt idx="383">
                  <c:v>37442</c:v>
                </c:pt>
                <c:pt idx="384">
                  <c:v>37445</c:v>
                </c:pt>
                <c:pt idx="385">
                  <c:v>37446</c:v>
                </c:pt>
                <c:pt idx="386">
                  <c:v>37447</c:v>
                </c:pt>
                <c:pt idx="387">
                  <c:v>37448</c:v>
                </c:pt>
                <c:pt idx="388">
                  <c:v>37449</c:v>
                </c:pt>
                <c:pt idx="389">
                  <c:v>37452</c:v>
                </c:pt>
                <c:pt idx="390">
                  <c:v>37453</c:v>
                </c:pt>
                <c:pt idx="391">
                  <c:v>37454</c:v>
                </c:pt>
                <c:pt idx="392">
                  <c:v>37455</c:v>
                </c:pt>
                <c:pt idx="393">
                  <c:v>37456</c:v>
                </c:pt>
                <c:pt idx="394">
                  <c:v>37459</c:v>
                </c:pt>
                <c:pt idx="395">
                  <c:v>37460</c:v>
                </c:pt>
                <c:pt idx="396">
                  <c:v>37461</c:v>
                </c:pt>
                <c:pt idx="397">
                  <c:v>37462</c:v>
                </c:pt>
                <c:pt idx="398">
                  <c:v>37463</c:v>
                </c:pt>
                <c:pt idx="399">
                  <c:v>37466</c:v>
                </c:pt>
                <c:pt idx="400">
                  <c:v>37467</c:v>
                </c:pt>
                <c:pt idx="401">
                  <c:v>37468</c:v>
                </c:pt>
                <c:pt idx="402">
                  <c:v>37469</c:v>
                </c:pt>
                <c:pt idx="403">
                  <c:v>37470</c:v>
                </c:pt>
                <c:pt idx="404">
                  <c:v>37473</c:v>
                </c:pt>
                <c:pt idx="405">
                  <c:v>37474</c:v>
                </c:pt>
                <c:pt idx="406">
                  <c:v>37475</c:v>
                </c:pt>
                <c:pt idx="407">
                  <c:v>37476</c:v>
                </c:pt>
                <c:pt idx="408">
                  <c:v>37477</c:v>
                </c:pt>
                <c:pt idx="409">
                  <c:v>37480</c:v>
                </c:pt>
                <c:pt idx="410">
                  <c:v>37481</c:v>
                </c:pt>
                <c:pt idx="411">
                  <c:v>37482</c:v>
                </c:pt>
                <c:pt idx="412">
                  <c:v>37483</c:v>
                </c:pt>
                <c:pt idx="413">
                  <c:v>37484</c:v>
                </c:pt>
                <c:pt idx="414">
                  <c:v>37487</c:v>
                </c:pt>
                <c:pt idx="415">
                  <c:v>37488</c:v>
                </c:pt>
                <c:pt idx="416">
                  <c:v>37489</c:v>
                </c:pt>
                <c:pt idx="417">
                  <c:v>37490</c:v>
                </c:pt>
                <c:pt idx="418">
                  <c:v>37491</c:v>
                </c:pt>
                <c:pt idx="419">
                  <c:v>37494</c:v>
                </c:pt>
                <c:pt idx="420">
                  <c:v>37495</c:v>
                </c:pt>
                <c:pt idx="421">
                  <c:v>37496</c:v>
                </c:pt>
                <c:pt idx="422">
                  <c:v>37497</c:v>
                </c:pt>
                <c:pt idx="423">
                  <c:v>37498</c:v>
                </c:pt>
                <c:pt idx="424">
                  <c:v>37501</c:v>
                </c:pt>
                <c:pt idx="425">
                  <c:v>37502</c:v>
                </c:pt>
                <c:pt idx="426">
                  <c:v>37503</c:v>
                </c:pt>
                <c:pt idx="427">
                  <c:v>37504</c:v>
                </c:pt>
                <c:pt idx="428">
                  <c:v>37505</c:v>
                </c:pt>
                <c:pt idx="429">
                  <c:v>37508</c:v>
                </c:pt>
                <c:pt idx="430">
                  <c:v>37509</c:v>
                </c:pt>
                <c:pt idx="431">
                  <c:v>37510</c:v>
                </c:pt>
                <c:pt idx="432">
                  <c:v>37511</c:v>
                </c:pt>
                <c:pt idx="433">
                  <c:v>37512</c:v>
                </c:pt>
                <c:pt idx="434">
                  <c:v>37515</c:v>
                </c:pt>
                <c:pt idx="435">
                  <c:v>37516</c:v>
                </c:pt>
                <c:pt idx="436">
                  <c:v>37517</c:v>
                </c:pt>
                <c:pt idx="437">
                  <c:v>37518</c:v>
                </c:pt>
                <c:pt idx="438">
                  <c:v>37519</c:v>
                </c:pt>
                <c:pt idx="439">
                  <c:v>37522</c:v>
                </c:pt>
                <c:pt idx="440">
                  <c:v>37523</c:v>
                </c:pt>
                <c:pt idx="441">
                  <c:v>37524</c:v>
                </c:pt>
                <c:pt idx="442">
                  <c:v>37525</c:v>
                </c:pt>
                <c:pt idx="443">
                  <c:v>37526</c:v>
                </c:pt>
                <c:pt idx="444">
                  <c:v>37529</c:v>
                </c:pt>
                <c:pt idx="445">
                  <c:v>37530</c:v>
                </c:pt>
                <c:pt idx="446">
                  <c:v>37531</c:v>
                </c:pt>
                <c:pt idx="447">
                  <c:v>37532</c:v>
                </c:pt>
                <c:pt idx="448">
                  <c:v>37533</c:v>
                </c:pt>
                <c:pt idx="449">
                  <c:v>37536</c:v>
                </c:pt>
                <c:pt idx="450">
                  <c:v>37537</c:v>
                </c:pt>
                <c:pt idx="451">
                  <c:v>37538</c:v>
                </c:pt>
                <c:pt idx="452">
                  <c:v>37539</c:v>
                </c:pt>
                <c:pt idx="453">
                  <c:v>37540</c:v>
                </c:pt>
                <c:pt idx="454">
                  <c:v>37543</c:v>
                </c:pt>
                <c:pt idx="455">
                  <c:v>37544</c:v>
                </c:pt>
                <c:pt idx="456">
                  <c:v>37545</c:v>
                </c:pt>
                <c:pt idx="457">
                  <c:v>37546</c:v>
                </c:pt>
                <c:pt idx="458">
                  <c:v>37547</c:v>
                </c:pt>
                <c:pt idx="459">
                  <c:v>37550</c:v>
                </c:pt>
                <c:pt idx="460">
                  <c:v>37551</c:v>
                </c:pt>
                <c:pt idx="461">
                  <c:v>37552</c:v>
                </c:pt>
                <c:pt idx="462">
                  <c:v>37553</c:v>
                </c:pt>
                <c:pt idx="463">
                  <c:v>37554</c:v>
                </c:pt>
                <c:pt idx="464">
                  <c:v>37557</c:v>
                </c:pt>
                <c:pt idx="465">
                  <c:v>37558</c:v>
                </c:pt>
                <c:pt idx="466">
                  <c:v>37559</c:v>
                </c:pt>
                <c:pt idx="467">
                  <c:v>37560</c:v>
                </c:pt>
                <c:pt idx="468">
                  <c:v>37561</c:v>
                </c:pt>
                <c:pt idx="469">
                  <c:v>37564</c:v>
                </c:pt>
                <c:pt idx="470">
                  <c:v>37565</c:v>
                </c:pt>
                <c:pt idx="471">
                  <c:v>37566</c:v>
                </c:pt>
                <c:pt idx="472">
                  <c:v>37567</c:v>
                </c:pt>
                <c:pt idx="473">
                  <c:v>37568</c:v>
                </c:pt>
                <c:pt idx="474">
                  <c:v>37571</c:v>
                </c:pt>
                <c:pt idx="475">
                  <c:v>37572</c:v>
                </c:pt>
                <c:pt idx="476">
                  <c:v>37573</c:v>
                </c:pt>
                <c:pt idx="477">
                  <c:v>37574</c:v>
                </c:pt>
                <c:pt idx="478">
                  <c:v>37575</c:v>
                </c:pt>
                <c:pt idx="479">
                  <c:v>37578</c:v>
                </c:pt>
                <c:pt idx="480">
                  <c:v>37579</c:v>
                </c:pt>
                <c:pt idx="481">
                  <c:v>37580</c:v>
                </c:pt>
                <c:pt idx="482">
                  <c:v>37581</c:v>
                </c:pt>
                <c:pt idx="483">
                  <c:v>37582</c:v>
                </c:pt>
                <c:pt idx="484">
                  <c:v>37585</c:v>
                </c:pt>
                <c:pt idx="485">
                  <c:v>37586</c:v>
                </c:pt>
                <c:pt idx="486">
                  <c:v>37587</c:v>
                </c:pt>
                <c:pt idx="487">
                  <c:v>37588</c:v>
                </c:pt>
                <c:pt idx="488">
                  <c:v>37589</c:v>
                </c:pt>
                <c:pt idx="489">
                  <c:v>37592</c:v>
                </c:pt>
                <c:pt idx="490">
                  <c:v>37593</c:v>
                </c:pt>
                <c:pt idx="491">
                  <c:v>37594</c:v>
                </c:pt>
                <c:pt idx="492">
                  <c:v>37595</c:v>
                </c:pt>
                <c:pt idx="493">
                  <c:v>37596</c:v>
                </c:pt>
                <c:pt idx="494">
                  <c:v>37599</c:v>
                </c:pt>
                <c:pt idx="495">
                  <c:v>37600</c:v>
                </c:pt>
                <c:pt idx="496">
                  <c:v>37601</c:v>
                </c:pt>
                <c:pt idx="497">
                  <c:v>37602</c:v>
                </c:pt>
                <c:pt idx="498">
                  <c:v>37603</c:v>
                </c:pt>
                <c:pt idx="499">
                  <c:v>37606</c:v>
                </c:pt>
                <c:pt idx="500">
                  <c:v>37607</c:v>
                </c:pt>
                <c:pt idx="501">
                  <c:v>37608</c:v>
                </c:pt>
                <c:pt idx="502">
                  <c:v>37609</c:v>
                </c:pt>
                <c:pt idx="503">
                  <c:v>37610</c:v>
                </c:pt>
                <c:pt idx="504">
                  <c:v>37613</c:v>
                </c:pt>
                <c:pt idx="505">
                  <c:v>37617</c:v>
                </c:pt>
                <c:pt idx="506">
                  <c:v>37620</c:v>
                </c:pt>
                <c:pt idx="507">
                  <c:v>37623</c:v>
                </c:pt>
                <c:pt idx="508">
                  <c:v>37624</c:v>
                </c:pt>
                <c:pt idx="509">
                  <c:v>37627</c:v>
                </c:pt>
                <c:pt idx="510">
                  <c:v>37628</c:v>
                </c:pt>
                <c:pt idx="511">
                  <c:v>37629</c:v>
                </c:pt>
                <c:pt idx="512">
                  <c:v>37630</c:v>
                </c:pt>
                <c:pt idx="513">
                  <c:v>37631</c:v>
                </c:pt>
                <c:pt idx="514">
                  <c:v>37634</c:v>
                </c:pt>
                <c:pt idx="515">
                  <c:v>37635</c:v>
                </c:pt>
                <c:pt idx="516">
                  <c:v>37636</c:v>
                </c:pt>
                <c:pt idx="517">
                  <c:v>37637</c:v>
                </c:pt>
                <c:pt idx="518">
                  <c:v>37638</c:v>
                </c:pt>
                <c:pt idx="519">
                  <c:v>37641</c:v>
                </c:pt>
                <c:pt idx="520">
                  <c:v>37642</c:v>
                </c:pt>
                <c:pt idx="521">
                  <c:v>37643</c:v>
                </c:pt>
                <c:pt idx="522">
                  <c:v>37644</c:v>
                </c:pt>
                <c:pt idx="523">
                  <c:v>37645</c:v>
                </c:pt>
                <c:pt idx="524">
                  <c:v>37648</c:v>
                </c:pt>
                <c:pt idx="525">
                  <c:v>37649</c:v>
                </c:pt>
                <c:pt idx="526">
                  <c:v>37650</c:v>
                </c:pt>
                <c:pt idx="527">
                  <c:v>37651</c:v>
                </c:pt>
                <c:pt idx="528">
                  <c:v>37652</c:v>
                </c:pt>
                <c:pt idx="529">
                  <c:v>37655</c:v>
                </c:pt>
                <c:pt idx="530">
                  <c:v>37656</c:v>
                </c:pt>
                <c:pt idx="531">
                  <c:v>37657</c:v>
                </c:pt>
                <c:pt idx="532">
                  <c:v>37658</c:v>
                </c:pt>
                <c:pt idx="533">
                  <c:v>37659</c:v>
                </c:pt>
                <c:pt idx="534">
                  <c:v>37662</c:v>
                </c:pt>
                <c:pt idx="535">
                  <c:v>37663</c:v>
                </c:pt>
                <c:pt idx="536">
                  <c:v>37664</c:v>
                </c:pt>
                <c:pt idx="537">
                  <c:v>37665</c:v>
                </c:pt>
                <c:pt idx="538">
                  <c:v>37666</c:v>
                </c:pt>
                <c:pt idx="539">
                  <c:v>37669</c:v>
                </c:pt>
                <c:pt idx="540">
                  <c:v>37670</c:v>
                </c:pt>
                <c:pt idx="541">
                  <c:v>37671</c:v>
                </c:pt>
                <c:pt idx="542">
                  <c:v>37672</c:v>
                </c:pt>
                <c:pt idx="543">
                  <c:v>37673</c:v>
                </c:pt>
                <c:pt idx="544">
                  <c:v>37676</c:v>
                </c:pt>
                <c:pt idx="545">
                  <c:v>37677</c:v>
                </c:pt>
                <c:pt idx="546">
                  <c:v>37678</c:v>
                </c:pt>
                <c:pt idx="547">
                  <c:v>37679</c:v>
                </c:pt>
                <c:pt idx="548">
                  <c:v>37680</c:v>
                </c:pt>
                <c:pt idx="549">
                  <c:v>37683</c:v>
                </c:pt>
                <c:pt idx="550">
                  <c:v>37684</c:v>
                </c:pt>
                <c:pt idx="551">
                  <c:v>37685</c:v>
                </c:pt>
                <c:pt idx="552">
                  <c:v>37686</c:v>
                </c:pt>
                <c:pt idx="553">
                  <c:v>37687</c:v>
                </c:pt>
                <c:pt idx="554">
                  <c:v>37690</c:v>
                </c:pt>
                <c:pt idx="555">
                  <c:v>37691</c:v>
                </c:pt>
                <c:pt idx="556">
                  <c:v>37692</c:v>
                </c:pt>
                <c:pt idx="557">
                  <c:v>37693</c:v>
                </c:pt>
                <c:pt idx="558">
                  <c:v>37694</c:v>
                </c:pt>
                <c:pt idx="559">
                  <c:v>37697</c:v>
                </c:pt>
                <c:pt idx="560">
                  <c:v>37698</c:v>
                </c:pt>
                <c:pt idx="561">
                  <c:v>37699</c:v>
                </c:pt>
                <c:pt idx="562">
                  <c:v>37700</c:v>
                </c:pt>
                <c:pt idx="563">
                  <c:v>37701</c:v>
                </c:pt>
                <c:pt idx="564">
                  <c:v>37704</c:v>
                </c:pt>
                <c:pt idx="565">
                  <c:v>37705</c:v>
                </c:pt>
                <c:pt idx="566">
                  <c:v>37706</c:v>
                </c:pt>
                <c:pt idx="567">
                  <c:v>37707</c:v>
                </c:pt>
                <c:pt idx="568">
                  <c:v>37708</c:v>
                </c:pt>
                <c:pt idx="569">
                  <c:v>37711</c:v>
                </c:pt>
                <c:pt idx="570">
                  <c:v>37712</c:v>
                </c:pt>
                <c:pt idx="571">
                  <c:v>37713</c:v>
                </c:pt>
                <c:pt idx="572">
                  <c:v>37714</c:v>
                </c:pt>
                <c:pt idx="573">
                  <c:v>37715</c:v>
                </c:pt>
                <c:pt idx="574">
                  <c:v>37718</c:v>
                </c:pt>
                <c:pt idx="575">
                  <c:v>37719</c:v>
                </c:pt>
                <c:pt idx="576">
                  <c:v>37720</c:v>
                </c:pt>
                <c:pt idx="577">
                  <c:v>37721</c:v>
                </c:pt>
                <c:pt idx="578">
                  <c:v>37722</c:v>
                </c:pt>
                <c:pt idx="579">
                  <c:v>37725</c:v>
                </c:pt>
                <c:pt idx="580">
                  <c:v>37726</c:v>
                </c:pt>
                <c:pt idx="581">
                  <c:v>37727</c:v>
                </c:pt>
                <c:pt idx="582">
                  <c:v>37728</c:v>
                </c:pt>
                <c:pt idx="583">
                  <c:v>37733</c:v>
                </c:pt>
                <c:pt idx="584">
                  <c:v>37734</c:v>
                </c:pt>
                <c:pt idx="585">
                  <c:v>37735</c:v>
                </c:pt>
                <c:pt idx="586">
                  <c:v>37736</c:v>
                </c:pt>
                <c:pt idx="587">
                  <c:v>37739</c:v>
                </c:pt>
                <c:pt idx="588">
                  <c:v>37740</c:v>
                </c:pt>
                <c:pt idx="589">
                  <c:v>37741</c:v>
                </c:pt>
                <c:pt idx="590">
                  <c:v>37742</c:v>
                </c:pt>
                <c:pt idx="591">
                  <c:v>37743</c:v>
                </c:pt>
                <c:pt idx="592">
                  <c:v>37746</c:v>
                </c:pt>
                <c:pt idx="593">
                  <c:v>37747</c:v>
                </c:pt>
                <c:pt idx="594">
                  <c:v>37748</c:v>
                </c:pt>
                <c:pt idx="595">
                  <c:v>37749</c:v>
                </c:pt>
                <c:pt idx="596">
                  <c:v>37750</c:v>
                </c:pt>
                <c:pt idx="597">
                  <c:v>37753</c:v>
                </c:pt>
                <c:pt idx="598">
                  <c:v>37754</c:v>
                </c:pt>
                <c:pt idx="599">
                  <c:v>37755</c:v>
                </c:pt>
                <c:pt idx="600">
                  <c:v>37756</c:v>
                </c:pt>
                <c:pt idx="601">
                  <c:v>37757</c:v>
                </c:pt>
                <c:pt idx="602">
                  <c:v>37760</c:v>
                </c:pt>
                <c:pt idx="603">
                  <c:v>37761</c:v>
                </c:pt>
                <c:pt idx="604">
                  <c:v>37762</c:v>
                </c:pt>
                <c:pt idx="605">
                  <c:v>37763</c:v>
                </c:pt>
                <c:pt idx="606">
                  <c:v>37764</c:v>
                </c:pt>
                <c:pt idx="607">
                  <c:v>37767</c:v>
                </c:pt>
                <c:pt idx="608">
                  <c:v>37768</c:v>
                </c:pt>
                <c:pt idx="609">
                  <c:v>37769</c:v>
                </c:pt>
                <c:pt idx="610">
                  <c:v>37770</c:v>
                </c:pt>
                <c:pt idx="611">
                  <c:v>37771</c:v>
                </c:pt>
                <c:pt idx="612">
                  <c:v>37774</c:v>
                </c:pt>
                <c:pt idx="613">
                  <c:v>37775</c:v>
                </c:pt>
                <c:pt idx="614">
                  <c:v>37776</c:v>
                </c:pt>
                <c:pt idx="615">
                  <c:v>37777</c:v>
                </c:pt>
                <c:pt idx="616">
                  <c:v>37778</c:v>
                </c:pt>
                <c:pt idx="617">
                  <c:v>37781</c:v>
                </c:pt>
                <c:pt idx="618">
                  <c:v>37782</c:v>
                </c:pt>
                <c:pt idx="619">
                  <c:v>37783</c:v>
                </c:pt>
                <c:pt idx="620">
                  <c:v>37784</c:v>
                </c:pt>
                <c:pt idx="621">
                  <c:v>37785</c:v>
                </c:pt>
                <c:pt idx="622">
                  <c:v>37788</c:v>
                </c:pt>
                <c:pt idx="623">
                  <c:v>37789</c:v>
                </c:pt>
                <c:pt idx="624">
                  <c:v>37790</c:v>
                </c:pt>
                <c:pt idx="625">
                  <c:v>37791</c:v>
                </c:pt>
                <c:pt idx="626">
                  <c:v>37792</c:v>
                </c:pt>
                <c:pt idx="627">
                  <c:v>37795</c:v>
                </c:pt>
                <c:pt idx="628">
                  <c:v>37796</c:v>
                </c:pt>
                <c:pt idx="629">
                  <c:v>37797</c:v>
                </c:pt>
                <c:pt idx="630">
                  <c:v>37798</c:v>
                </c:pt>
                <c:pt idx="631">
                  <c:v>37799</c:v>
                </c:pt>
                <c:pt idx="632">
                  <c:v>37802</c:v>
                </c:pt>
                <c:pt idx="633">
                  <c:v>37803</c:v>
                </c:pt>
                <c:pt idx="634">
                  <c:v>37804</c:v>
                </c:pt>
                <c:pt idx="635">
                  <c:v>37805</c:v>
                </c:pt>
                <c:pt idx="636">
                  <c:v>37806</c:v>
                </c:pt>
                <c:pt idx="637">
                  <c:v>37809</c:v>
                </c:pt>
                <c:pt idx="638">
                  <c:v>37810</c:v>
                </c:pt>
                <c:pt idx="639">
                  <c:v>37811</c:v>
                </c:pt>
                <c:pt idx="640">
                  <c:v>37812</c:v>
                </c:pt>
                <c:pt idx="641">
                  <c:v>37813</c:v>
                </c:pt>
                <c:pt idx="642">
                  <c:v>37816</c:v>
                </c:pt>
                <c:pt idx="643">
                  <c:v>37817</c:v>
                </c:pt>
                <c:pt idx="644">
                  <c:v>37818</c:v>
                </c:pt>
                <c:pt idx="645">
                  <c:v>37819</c:v>
                </c:pt>
                <c:pt idx="646">
                  <c:v>37820</c:v>
                </c:pt>
                <c:pt idx="647">
                  <c:v>37823</c:v>
                </c:pt>
                <c:pt idx="648">
                  <c:v>37824</c:v>
                </c:pt>
                <c:pt idx="649">
                  <c:v>37825</c:v>
                </c:pt>
                <c:pt idx="650">
                  <c:v>37826</c:v>
                </c:pt>
                <c:pt idx="651">
                  <c:v>37827</c:v>
                </c:pt>
                <c:pt idx="652">
                  <c:v>37830</c:v>
                </c:pt>
                <c:pt idx="653">
                  <c:v>37831</c:v>
                </c:pt>
                <c:pt idx="654">
                  <c:v>37832</c:v>
                </c:pt>
                <c:pt idx="655">
                  <c:v>37833</c:v>
                </c:pt>
                <c:pt idx="656">
                  <c:v>37834</c:v>
                </c:pt>
                <c:pt idx="657">
                  <c:v>37837</c:v>
                </c:pt>
                <c:pt idx="658">
                  <c:v>37838</c:v>
                </c:pt>
                <c:pt idx="659">
                  <c:v>37839</c:v>
                </c:pt>
                <c:pt idx="660">
                  <c:v>37840</c:v>
                </c:pt>
                <c:pt idx="661">
                  <c:v>37841</c:v>
                </c:pt>
                <c:pt idx="662">
                  <c:v>37844</c:v>
                </c:pt>
                <c:pt idx="663">
                  <c:v>37845</c:v>
                </c:pt>
                <c:pt idx="664">
                  <c:v>37846</c:v>
                </c:pt>
                <c:pt idx="665">
                  <c:v>37847</c:v>
                </c:pt>
                <c:pt idx="666">
                  <c:v>37848</c:v>
                </c:pt>
                <c:pt idx="667">
                  <c:v>37851</c:v>
                </c:pt>
                <c:pt idx="668">
                  <c:v>37852</c:v>
                </c:pt>
                <c:pt idx="669">
                  <c:v>37853</c:v>
                </c:pt>
                <c:pt idx="670">
                  <c:v>37854</c:v>
                </c:pt>
                <c:pt idx="671">
                  <c:v>37855</c:v>
                </c:pt>
                <c:pt idx="672">
                  <c:v>37858</c:v>
                </c:pt>
                <c:pt idx="673">
                  <c:v>37859</c:v>
                </c:pt>
                <c:pt idx="674">
                  <c:v>37860</c:v>
                </c:pt>
                <c:pt idx="675">
                  <c:v>37861</c:v>
                </c:pt>
                <c:pt idx="676">
                  <c:v>37862</c:v>
                </c:pt>
                <c:pt idx="677">
                  <c:v>37865</c:v>
                </c:pt>
                <c:pt idx="678">
                  <c:v>37866</c:v>
                </c:pt>
                <c:pt idx="679">
                  <c:v>37867</c:v>
                </c:pt>
                <c:pt idx="680">
                  <c:v>37868</c:v>
                </c:pt>
                <c:pt idx="681">
                  <c:v>37869</c:v>
                </c:pt>
                <c:pt idx="682">
                  <c:v>37872</c:v>
                </c:pt>
                <c:pt idx="683">
                  <c:v>37873</c:v>
                </c:pt>
                <c:pt idx="684">
                  <c:v>37874</c:v>
                </c:pt>
                <c:pt idx="685">
                  <c:v>37875</c:v>
                </c:pt>
                <c:pt idx="686">
                  <c:v>37876</c:v>
                </c:pt>
                <c:pt idx="687">
                  <c:v>37879</c:v>
                </c:pt>
                <c:pt idx="688">
                  <c:v>37880</c:v>
                </c:pt>
                <c:pt idx="689">
                  <c:v>37881</c:v>
                </c:pt>
                <c:pt idx="690">
                  <c:v>37882</c:v>
                </c:pt>
                <c:pt idx="691">
                  <c:v>37883</c:v>
                </c:pt>
                <c:pt idx="692">
                  <c:v>37886</c:v>
                </c:pt>
                <c:pt idx="693">
                  <c:v>37887</c:v>
                </c:pt>
                <c:pt idx="694">
                  <c:v>37888</c:v>
                </c:pt>
                <c:pt idx="695">
                  <c:v>37889</c:v>
                </c:pt>
                <c:pt idx="696">
                  <c:v>37890</c:v>
                </c:pt>
                <c:pt idx="697">
                  <c:v>37893</c:v>
                </c:pt>
                <c:pt idx="698">
                  <c:v>37894</c:v>
                </c:pt>
                <c:pt idx="699">
                  <c:v>37895</c:v>
                </c:pt>
                <c:pt idx="700">
                  <c:v>37896</c:v>
                </c:pt>
                <c:pt idx="701">
                  <c:v>37897</c:v>
                </c:pt>
                <c:pt idx="702">
                  <c:v>37900</c:v>
                </c:pt>
                <c:pt idx="703">
                  <c:v>37901</c:v>
                </c:pt>
                <c:pt idx="704">
                  <c:v>37902</c:v>
                </c:pt>
                <c:pt idx="705">
                  <c:v>37903</c:v>
                </c:pt>
                <c:pt idx="706">
                  <c:v>37904</c:v>
                </c:pt>
                <c:pt idx="707">
                  <c:v>37907</c:v>
                </c:pt>
                <c:pt idx="708">
                  <c:v>37908</c:v>
                </c:pt>
                <c:pt idx="709">
                  <c:v>37909</c:v>
                </c:pt>
                <c:pt idx="710">
                  <c:v>37910</c:v>
                </c:pt>
                <c:pt idx="711">
                  <c:v>37911</c:v>
                </c:pt>
                <c:pt idx="712">
                  <c:v>37914</c:v>
                </c:pt>
                <c:pt idx="713">
                  <c:v>37915</c:v>
                </c:pt>
                <c:pt idx="714">
                  <c:v>37916</c:v>
                </c:pt>
                <c:pt idx="715">
                  <c:v>37917</c:v>
                </c:pt>
                <c:pt idx="716">
                  <c:v>37918</c:v>
                </c:pt>
                <c:pt idx="717">
                  <c:v>37921</c:v>
                </c:pt>
                <c:pt idx="718">
                  <c:v>37922</c:v>
                </c:pt>
                <c:pt idx="719">
                  <c:v>37923</c:v>
                </c:pt>
                <c:pt idx="720">
                  <c:v>37924</c:v>
                </c:pt>
                <c:pt idx="721">
                  <c:v>37925</c:v>
                </c:pt>
                <c:pt idx="722">
                  <c:v>37928</c:v>
                </c:pt>
                <c:pt idx="723">
                  <c:v>37929</c:v>
                </c:pt>
                <c:pt idx="724">
                  <c:v>37930</c:v>
                </c:pt>
                <c:pt idx="725">
                  <c:v>37931</c:v>
                </c:pt>
                <c:pt idx="726">
                  <c:v>37932</c:v>
                </c:pt>
                <c:pt idx="727">
                  <c:v>37935</c:v>
                </c:pt>
                <c:pt idx="728">
                  <c:v>37936</c:v>
                </c:pt>
                <c:pt idx="729">
                  <c:v>37937</c:v>
                </c:pt>
                <c:pt idx="730">
                  <c:v>37938</c:v>
                </c:pt>
                <c:pt idx="731">
                  <c:v>37939</c:v>
                </c:pt>
                <c:pt idx="732">
                  <c:v>37942</c:v>
                </c:pt>
                <c:pt idx="733">
                  <c:v>37943</c:v>
                </c:pt>
                <c:pt idx="734">
                  <c:v>37944</c:v>
                </c:pt>
                <c:pt idx="735">
                  <c:v>37945</c:v>
                </c:pt>
                <c:pt idx="736">
                  <c:v>37946</c:v>
                </c:pt>
                <c:pt idx="737">
                  <c:v>37949</c:v>
                </c:pt>
                <c:pt idx="738">
                  <c:v>37950</c:v>
                </c:pt>
                <c:pt idx="739">
                  <c:v>37951</c:v>
                </c:pt>
                <c:pt idx="740">
                  <c:v>37952</c:v>
                </c:pt>
                <c:pt idx="741">
                  <c:v>37953</c:v>
                </c:pt>
                <c:pt idx="742">
                  <c:v>37956</c:v>
                </c:pt>
                <c:pt idx="743">
                  <c:v>37957</c:v>
                </c:pt>
                <c:pt idx="744">
                  <c:v>37958</c:v>
                </c:pt>
                <c:pt idx="745">
                  <c:v>37959</c:v>
                </c:pt>
                <c:pt idx="746">
                  <c:v>37960</c:v>
                </c:pt>
                <c:pt idx="747">
                  <c:v>37963</c:v>
                </c:pt>
                <c:pt idx="748">
                  <c:v>37964</c:v>
                </c:pt>
                <c:pt idx="749">
                  <c:v>37965</c:v>
                </c:pt>
                <c:pt idx="750">
                  <c:v>37966</c:v>
                </c:pt>
                <c:pt idx="751">
                  <c:v>37967</c:v>
                </c:pt>
                <c:pt idx="752">
                  <c:v>37970</c:v>
                </c:pt>
                <c:pt idx="753">
                  <c:v>37971</c:v>
                </c:pt>
                <c:pt idx="754">
                  <c:v>37972</c:v>
                </c:pt>
                <c:pt idx="755">
                  <c:v>37973</c:v>
                </c:pt>
                <c:pt idx="756">
                  <c:v>37974</c:v>
                </c:pt>
                <c:pt idx="757">
                  <c:v>37977</c:v>
                </c:pt>
                <c:pt idx="758">
                  <c:v>37978</c:v>
                </c:pt>
                <c:pt idx="759">
                  <c:v>37979</c:v>
                </c:pt>
                <c:pt idx="760">
                  <c:v>37984</c:v>
                </c:pt>
                <c:pt idx="761">
                  <c:v>37985</c:v>
                </c:pt>
                <c:pt idx="762">
                  <c:v>37986</c:v>
                </c:pt>
                <c:pt idx="763">
                  <c:v>37988</c:v>
                </c:pt>
                <c:pt idx="764">
                  <c:v>37991</c:v>
                </c:pt>
                <c:pt idx="765">
                  <c:v>37992</c:v>
                </c:pt>
                <c:pt idx="766">
                  <c:v>37993</c:v>
                </c:pt>
                <c:pt idx="767">
                  <c:v>37994</c:v>
                </c:pt>
                <c:pt idx="768">
                  <c:v>37995</c:v>
                </c:pt>
                <c:pt idx="769">
                  <c:v>37998</c:v>
                </c:pt>
                <c:pt idx="770">
                  <c:v>37999</c:v>
                </c:pt>
                <c:pt idx="771">
                  <c:v>38000</c:v>
                </c:pt>
                <c:pt idx="772">
                  <c:v>38001</c:v>
                </c:pt>
                <c:pt idx="773">
                  <c:v>38002</c:v>
                </c:pt>
                <c:pt idx="774">
                  <c:v>38005</c:v>
                </c:pt>
                <c:pt idx="775">
                  <c:v>38006</c:v>
                </c:pt>
                <c:pt idx="776">
                  <c:v>38007</c:v>
                </c:pt>
                <c:pt idx="777">
                  <c:v>38008</c:v>
                </c:pt>
                <c:pt idx="778">
                  <c:v>38009</c:v>
                </c:pt>
                <c:pt idx="779">
                  <c:v>38012</c:v>
                </c:pt>
                <c:pt idx="780">
                  <c:v>38013</c:v>
                </c:pt>
                <c:pt idx="781">
                  <c:v>38014</c:v>
                </c:pt>
                <c:pt idx="782">
                  <c:v>38015</c:v>
                </c:pt>
                <c:pt idx="783">
                  <c:v>38016</c:v>
                </c:pt>
                <c:pt idx="784">
                  <c:v>38019</c:v>
                </c:pt>
                <c:pt idx="785">
                  <c:v>38020</c:v>
                </c:pt>
                <c:pt idx="786">
                  <c:v>38021</c:v>
                </c:pt>
                <c:pt idx="787">
                  <c:v>38022</c:v>
                </c:pt>
                <c:pt idx="788">
                  <c:v>38023</c:v>
                </c:pt>
                <c:pt idx="789">
                  <c:v>38026</c:v>
                </c:pt>
                <c:pt idx="790">
                  <c:v>38027</c:v>
                </c:pt>
                <c:pt idx="791">
                  <c:v>38028</c:v>
                </c:pt>
                <c:pt idx="792">
                  <c:v>38029</c:v>
                </c:pt>
                <c:pt idx="793">
                  <c:v>38030</c:v>
                </c:pt>
                <c:pt idx="794">
                  <c:v>38033</c:v>
                </c:pt>
                <c:pt idx="795">
                  <c:v>38034</c:v>
                </c:pt>
                <c:pt idx="796">
                  <c:v>38035</c:v>
                </c:pt>
                <c:pt idx="797">
                  <c:v>38036</c:v>
                </c:pt>
                <c:pt idx="798">
                  <c:v>38037</c:v>
                </c:pt>
                <c:pt idx="799">
                  <c:v>38040</c:v>
                </c:pt>
                <c:pt idx="800">
                  <c:v>38041</c:v>
                </c:pt>
                <c:pt idx="801">
                  <c:v>38042</c:v>
                </c:pt>
                <c:pt idx="802">
                  <c:v>38043</c:v>
                </c:pt>
                <c:pt idx="803">
                  <c:v>38044</c:v>
                </c:pt>
                <c:pt idx="804">
                  <c:v>38047</c:v>
                </c:pt>
                <c:pt idx="805">
                  <c:v>38048</c:v>
                </c:pt>
                <c:pt idx="806">
                  <c:v>38049</c:v>
                </c:pt>
                <c:pt idx="807">
                  <c:v>38050</c:v>
                </c:pt>
                <c:pt idx="808">
                  <c:v>38051</c:v>
                </c:pt>
                <c:pt idx="809">
                  <c:v>38054</c:v>
                </c:pt>
                <c:pt idx="810">
                  <c:v>38055</c:v>
                </c:pt>
                <c:pt idx="811">
                  <c:v>38056</c:v>
                </c:pt>
                <c:pt idx="812">
                  <c:v>38057</c:v>
                </c:pt>
                <c:pt idx="813">
                  <c:v>38058</c:v>
                </c:pt>
                <c:pt idx="814">
                  <c:v>38061</c:v>
                </c:pt>
                <c:pt idx="815">
                  <c:v>38062</c:v>
                </c:pt>
                <c:pt idx="816">
                  <c:v>38063</c:v>
                </c:pt>
                <c:pt idx="817">
                  <c:v>38064</c:v>
                </c:pt>
                <c:pt idx="818">
                  <c:v>38065</c:v>
                </c:pt>
                <c:pt idx="819">
                  <c:v>38068</c:v>
                </c:pt>
                <c:pt idx="820">
                  <c:v>38069</c:v>
                </c:pt>
                <c:pt idx="821">
                  <c:v>38070</c:v>
                </c:pt>
                <c:pt idx="822">
                  <c:v>38071</c:v>
                </c:pt>
                <c:pt idx="823">
                  <c:v>38072</c:v>
                </c:pt>
                <c:pt idx="824">
                  <c:v>38075</c:v>
                </c:pt>
                <c:pt idx="825">
                  <c:v>38076</c:v>
                </c:pt>
                <c:pt idx="826">
                  <c:v>38077</c:v>
                </c:pt>
                <c:pt idx="827">
                  <c:v>38078</c:v>
                </c:pt>
                <c:pt idx="828">
                  <c:v>38079</c:v>
                </c:pt>
                <c:pt idx="829">
                  <c:v>38082</c:v>
                </c:pt>
                <c:pt idx="830">
                  <c:v>38083</c:v>
                </c:pt>
                <c:pt idx="831">
                  <c:v>38084</c:v>
                </c:pt>
                <c:pt idx="832">
                  <c:v>38085</c:v>
                </c:pt>
                <c:pt idx="833">
                  <c:v>38090</c:v>
                </c:pt>
                <c:pt idx="834">
                  <c:v>38091</c:v>
                </c:pt>
                <c:pt idx="835">
                  <c:v>38092</c:v>
                </c:pt>
                <c:pt idx="836">
                  <c:v>38093</c:v>
                </c:pt>
                <c:pt idx="837">
                  <c:v>38096</c:v>
                </c:pt>
                <c:pt idx="838">
                  <c:v>38097</c:v>
                </c:pt>
                <c:pt idx="839">
                  <c:v>38098</c:v>
                </c:pt>
                <c:pt idx="840">
                  <c:v>38099</c:v>
                </c:pt>
                <c:pt idx="841">
                  <c:v>38100</c:v>
                </c:pt>
                <c:pt idx="842">
                  <c:v>38103</c:v>
                </c:pt>
                <c:pt idx="843">
                  <c:v>38104</c:v>
                </c:pt>
                <c:pt idx="844">
                  <c:v>38105</c:v>
                </c:pt>
                <c:pt idx="845">
                  <c:v>38106</c:v>
                </c:pt>
                <c:pt idx="846">
                  <c:v>38107</c:v>
                </c:pt>
                <c:pt idx="847">
                  <c:v>38110</c:v>
                </c:pt>
                <c:pt idx="848">
                  <c:v>38111</c:v>
                </c:pt>
                <c:pt idx="849">
                  <c:v>38112</c:v>
                </c:pt>
                <c:pt idx="850">
                  <c:v>38113</c:v>
                </c:pt>
                <c:pt idx="851">
                  <c:v>38114</c:v>
                </c:pt>
                <c:pt idx="852">
                  <c:v>38117</c:v>
                </c:pt>
                <c:pt idx="853">
                  <c:v>38118</c:v>
                </c:pt>
                <c:pt idx="854">
                  <c:v>38119</c:v>
                </c:pt>
                <c:pt idx="855">
                  <c:v>38120</c:v>
                </c:pt>
                <c:pt idx="856">
                  <c:v>38121</c:v>
                </c:pt>
                <c:pt idx="857">
                  <c:v>38124</c:v>
                </c:pt>
                <c:pt idx="858">
                  <c:v>38125</c:v>
                </c:pt>
                <c:pt idx="859">
                  <c:v>38126</c:v>
                </c:pt>
                <c:pt idx="860">
                  <c:v>38127</c:v>
                </c:pt>
                <c:pt idx="861">
                  <c:v>38128</c:v>
                </c:pt>
                <c:pt idx="862">
                  <c:v>38131</c:v>
                </c:pt>
                <c:pt idx="863">
                  <c:v>38132</c:v>
                </c:pt>
                <c:pt idx="864">
                  <c:v>38133</c:v>
                </c:pt>
                <c:pt idx="865">
                  <c:v>38134</c:v>
                </c:pt>
                <c:pt idx="866">
                  <c:v>38135</c:v>
                </c:pt>
                <c:pt idx="867">
                  <c:v>38138</c:v>
                </c:pt>
                <c:pt idx="868">
                  <c:v>38139</c:v>
                </c:pt>
                <c:pt idx="869">
                  <c:v>38140</c:v>
                </c:pt>
                <c:pt idx="870">
                  <c:v>38141</c:v>
                </c:pt>
                <c:pt idx="871">
                  <c:v>38142</c:v>
                </c:pt>
                <c:pt idx="872">
                  <c:v>38145</c:v>
                </c:pt>
                <c:pt idx="873">
                  <c:v>38146</c:v>
                </c:pt>
                <c:pt idx="874">
                  <c:v>38147</c:v>
                </c:pt>
                <c:pt idx="875">
                  <c:v>38148</c:v>
                </c:pt>
                <c:pt idx="876">
                  <c:v>38149</c:v>
                </c:pt>
                <c:pt idx="877">
                  <c:v>38152</c:v>
                </c:pt>
                <c:pt idx="878">
                  <c:v>38153</c:v>
                </c:pt>
                <c:pt idx="879">
                  <c:v>38154</c:v>
                </c:pt>
                <c:pt idx="880">
                  <c:v>38155</c:v>
                </c:pt>
                <c:pt idx="881">
                  <c:v>38156</c:v>
                </c:pt>
                <c:pt idx="882">
                  <c:v>38159</c:v>
                </c:pt>
                <c:pt idx="883">
                  <c:v>38160</c:v>
                </c:pt>
                <c:pt idx="884">
                  <c:v>38161</c:v>
                </c:pt>
                <c:pt idx="885">
                  <c:v>38162</c:v>
                </c:pt>
                <c:pt idx="886">
                  <c:v>38163</c:v>
                </c:pt>
                <c:pt idx="887">
                  <c:v>38166</c:v>
                </c:pt>
                <c:pt idx="888">
                  <c:v>38167</c:v>
                </c:pt>
                <c:pt idx="889">
                  <c:v>38168</c:v>
                </c:pt>
                <c:pt idx="890">
                  <c:v>38169</c:v>
                </c:pt>
                <c:pt idx="891">
                  <c:v>38170</c:v>
                </c:pt>
                <c:pt idx="892">
                  <c:v>38173</c:v>
                </c:pt>
                <c:pt idx="893">
                  <c:v>38174</c:v>
                </c:pt>
                <c:pt idx="894">
                  <c:v>38175</c:v>
                </c:pt>
                <c:pt idx="895">
                  <c:v>38176</c:v>
                </c:pt>
                <c:pt idx="896">
                  <c:v>38177</c:v>
                </c:pt>
                <c:pt idx="897">
                  <c:v>38180</c:v>
                </c:pt>
                <c:pt idx="898">
                  <c:v>38181</c:v>
                </c:pt>
                <c:pt idx="899">
                  <c:v>38182</c:v>
                </c:pt>
                <c:pt idx="900">
                  <c:v>38183</c:v>
                </c:pt>
                <c:pt idx="901">
                  <c:v>38184</c:v>
                </c:pt>
                <c:pt idx="902">
                  <c:v>38187</c:v>
                </c:pt>
                <c:pt idx="903">
                  <c:v>38188</c:v>
                </c:pt>
                <c:pt idx="904">
                  <c:v>38189</c:v>
                </c:pt>
                <c:pt idx="905">
                  <c:v>38190</c:v>
                </c:pt>
                <c:pt idx="906">
                  <c:v>38191</c:v>
                </c:pt>
                <c:pt idx="907">
                  <c:v>38194</c:v>
                </c:pt>
                <c:pt idx="908">
                  <c:v>38195</c:v>
                </c:pt>
                <c:pt idx="909">
                  <c:v>38196</c:v>
                </c:pt>
                <c:pt idx="910">
                  <c:v>38197</c:v>
                </c:pt>
                <c:pt idx="911">
                  <c:v>38198</c:v>
                </c:pt>
                <c:pt idx="912">
                  <c:v>38201</c:v>
                </c:pt>
                <c:pt idx="913">
                  <c:v>38202</c:v>
                </c:pt>
                <c:pt idx="914">
                  <c:v>38203</c:v>
                </c:pt>
                <c:pt idx="915">
                  <c:v>38204</c:v>
                </c:pt>
                <c:pt idx="916">
                  <c:v>38205</c:v>
                </c:pt>
                <c:pt idx="917">
                  <c:v>38208</c:v>
                </c:pt>
                <c:pt idx="918">
                  <c:v>38209</c:v>
                </c:pt>
                <c:pt idx="919">
                  <c:v>38210</c:v>
                </c:pt>
                <c:pt idx="920">
                  <c:v>38211</c:v>
                </c:pt>
                <c:pt idx="921">
                  <c:v>38212</c:v>
                </c:pt>
                <c:pt idx="922">
                  <c:v>38215</c:v>
                </c:pt>
                <c:pt idx="923">
                  <c:v>38216</c:v>
                </c:pt>
                <c:pt idx="924">
                  <c:v>38217</c:v>
                </c:pt>
                <c:pt idx="925">
                  <c:v>38218</c:v>
                </c:pt>
                <c:pt idx="926">
                  <c:v>38219</c:v>
                </c:pt>
                <c:pt idx="927">
                  <c:v>38222</c:v>
                </c:pt>
                <c:pt idx="928">
                  <c:v>38223</c:v>
                </c:pt>
                <c:pt idx="929">
                  <c:v>38224</c:v>
                </c:pt>
                <c:pt idx="930">
                  <c:v>38225</c:v>
                </c:pt>
                <c:pt idx="931">
                  <c:v>38226</c:v>
                </c:pt>
                <c:pt idx="932">
                  <c:v>38229</c:v>
                </c:pt>
                <c:pt idx="933">
                  <c:v>38230</c:v>
                </c:pt>
                <c:pt idx="934">
                  <c:v>38231</c:v>
                </c:pt>
                <c:pt idx="935">
                  <c:v>38232</c:v>
                </c:pt>
                <c:pt idx="936">
                  <c:v>38233</c:v>
                </c:pt>
                <c:pt idx="937">
                  <c:v>38236</c:v>
                </c:pt>
                <c:pt idx="938">
                  <c:v>38237</c:v>
                </c:pt>
                <c:pt idx="939">
                  <c:v>38238</c:v>
                </c:pt>
                <c:pt idx="940">
                  <c:v>38239</c:v>
                </c:pt>
                <c:pt idx="941">
                  <c:v>38240</c:v>
                </c:pt>
                <c:pt idx="942">
                  <c:v>38243</c:v>
                </c:pt>
                <c:pt idx="943">
                  <c:v>38244</c:v>
                </c:pt>
                <c:pt idx="944">
                  <c:v>38245</c:v>
                </c:pt>
                <c:pt idx="945">
                  <c:v>38246</c:v>
                </c:pt>
                <c:pt idx="946">
                  <c:v>38247</c:v>
                </c:pt>
                <c:pt idx="947">
                  <c:v>38250</c:v>
                </c:pt>
                <c:pt idx="948">
                  <c:v>38251</c:v>
                </c:pt>
                <c:pt idx="949">
                  <c:v>38252</c:v>
                </c:pt>
                <c:pt idx="950">
                  <c:v>38253</c:v>
                </c:pt>
                <c:pt idx="951">
                  <c:v>38254</c:v>
                </c:pt>
                <c:pt idx="952">
                  <c:v>38257</c:v>
                </c:pt>
                <c:pt idx="953">
                  <c:v>38258</c:v>
                </c:pt>
                <c:pt idx="954">
                  <c:v>38259</c:v>
                </c:pt>
                <c:pt idx="955">
                  <c:v>38260</c:v>
                </c:pt>
                <c:pt idx="956">
                  <c:v>38261</c:v>
                </c:pt>
                <c:pt idx="957">
                  <c:v>38264</c:v>
                </c:pt>
                <c:pt idx="958">
                  <c:v>38265</c:v>
                </c:pt>
                <c:pt idx="959">
                  <c:v>38266</c:v>
                </c:pt>
                <c:pt idx="960">
                  <c:v>38267</c:v>
                </c:pt>
                <c:pt idx="961">
                  <c:v>38268</c:v>
                </c:pt>
                <c:pt idx="962">
                  <c:v>38271</c:v>
                </c:pt>
                <c:pt idx="963">
                  <c:v>38272</c:v>
                </c:pt>
                <c:pt idx="964">
                  <c:v>38273</c:v>
                </c:pt>
                <c:pt idx="965">
                  <c:v>38274</c:v>
                </c:pt>
                <c:pt idx="966">
                  <c:v>38275</c:v>
                </c:pt>
                <c:pt idx="967">
                  <c:v>38278</c:v>
                </c:pt>
                <c:pt idx="968">
                  <c:v>38279</c:v>
                </c:pt>
                <c:pt idx="969">
                  <c:v>38280</c:v>
                </c:pt>
                <c:pt idx="970">
                  <c:v>38281</c:v>
                </c:pt>
                <c:pt idx="971">
                  <c:v>38282</c:v>
                </c:pt>
                <c:pt idx="972">
                  <c:v>38285</c:v>
                </c:pt>
                <c:pt idx="973">
                  <c:v>38286</c:v>
                </c:pt>
                <c:pt idx="974">
                  <c:v>38287</c:v>
                </c:pt>
                <c:pt idx="975">
                  <c:v>38288</c:v>
                </c:pt>
                <c:pt idx="976">
                  <c:v>38289</c:v>
                </c:pt>
                <c:pt idx="977">
                  <c:v>38292</c:v>
                </c:pt>
                <c:pt idx="978">
                  <c:v>38293</c:v>
                </c:pt>
                <c:pt idx="979">
                  <c:v>38294</c:v>
                </c:pt>
                <c:pt idx="980">
                  <c:v>38295</c:v>
                </c:pt>
                <c:pt idx="981">
                  <c:v>38296</c:v>
                </c:pt>
                <c:pt idx="982">
                  <c:v>38299</c:v>
                </c:pt>
                <c:pt idx="983">
                  <c:v>38300</c:v>
                </c:pt>
                <c:pt idx="984">
                  <c:v>38301</c:v>
                </c:pt>
                <c:pt idx="985">
                  <c:v>38302</c:v>
                </c:pt>
                <c:pt idx="986">
                  <c:v>38303</c:v>
                </c:pt>
                <c:pt idx="987">
                  <c:v>38306</c:v>
                </c:pt>
                <c:pt idx="988">
                  <c:v>38307</c:v>
                </c:pt>
                <c:pt idx="989">
                  <c:v>38308</c:v>
                </c:pt>
                <c:pt idx="990">
                  <c:v>38309</c:v>
                </c:pt>
                <c:pt idx="991">
                  <c:v>38310</c:v>
                </c:pt>
                <c:pt idx="992">
                  <c:v>38313</c:v>
                </c:pt>
                <c:pt idx="993">
                  <c:v>38314</c:v>
                </c:pt>
                <c:pt idx="994">
                  <c:v>38315</c:v>
                </c:pt>
                <c:pt idx="995">
                  <c:v>38316</c:v>
                </c:pt>
                <c:pt idx="996">
                  <c:v>38317</c:v>
                </c:pt>
                <c:pt idx="997">
                  <c:v>38320</c:v>
                </c:pt>
                <c:pt idx="998">
                  <c:v>38321</c:v>
                </c:pt>
                <c:pt idx="999">
                  <c:v>38322</c:v>
                </c:pt>
                <c:pt idx="1000">
                  <c:v>38323</c:v>
                </c:pt>
                <c:pt idx="1001">
                  <c:v>38324</c:v>
                </c:pt>
                <c:pt idx="1002">
                  <c:v>38327</c:v>
                </c:pt>
                <c:pt idx="1003">
                  <c:v>38328</c:v>
                </c:pt>
                <c:pt idx="1004">
                  <c:v>38329</c:v>
                </c:pt>
                <c:pt idx="1005">
                  <c:v>38330</c:v>
                </c:pt>
                <c:pt idx="1006">
                  <c:v>38331</c:v>
                </c:pt>
                <c:pt idx="1007">
                  <c:v>38334</c:v>
                </c:pt>
                <c:pt idx="1008">
                  <c:v>38335</c:v>
                </c:pt>
                <c:pt idx="1009">
                  <c:v>38336</c:v>
                </c:pt>
                <c:pt idx="1010">
                  <c:v>38337</c:v>
                </c:pt>
                <c:pt idx="1011">
                  <c:v>38338</c:v>
                </c:pt>
                <c:pt idx="1012">
                  <c:v>38341</c:v>
                </c:pt>
                <c:pt idx="1013">
                  <c:v>38342</c:v>
                </c:pt>
                <c:pt idx="1014">
                  <c:v>38343</c:v>
                </c:pt>
                <c:pt idx="1015">
                  <c:v>38344</c:v>
                </c:pt>
                <c:pt idx="1016">
                  <c:v>38345</c:v>
                </c:pt>
                <c:pt idx="1017">
                  <c:v>38348</c:v>
                </c:pt>
                <c:pt idx="1018">
                  <c:v>38349</c:v>
                </c:pt>
                <c:pt idx="1019">
                  <c:v>38350</c:v>
                </c:pt>
                <c:pt idx="1020">
                  <c:v>38351</c:v>
                </c:pt>
                <c:pt idx="1021">
                  <c:v>38352</c:v>
                </c:pt>
                <c:pt idx="1022">
                  <c:v>38355</c:v>
                </c:pt>
                <c:pt idx="1023">
                  <c:v>38356</c:v>
                </c:pt>
                <c:pt idx="1024">
                  <c:v>38357</c:v>
                </c:pt>
                <c:pt idx="1025">
                  <c:v>38358</c:v>
                </c:pt>
                <c:pt idx="1026">
                  <c:v>38359</c:v>
                </c:pt>
                <c:pt idx="1027">
                  <c:v>38362</c:v>
                </c:pt>
                <c:pt idx="1028">
                  <c:v>38363</c:v>
                </c:pt>
                <c:pt idx="1029">
                  <c:v>38364</c:v>
                </c:pt>
                <c:pt idx="1030">
                  <c:v>38365</c:v>
                </c:pt>
                <c:pt idx="1031">
                  <c:v>38366</c:v>
                </c:pt>
                <c:pt idx="1032">
                  <c:v>38369</c:v>
                </c:pt>
                <c:pt idx="1033">
                  <c:v>38370</c:v>
                </c:pt>
                <c:pt idx="1034">
                  <c:v>38371</c:v>
                </c:pt>
                <c:pt idx="1035">
                  <c:v>38372</c:v>
                </c:pt>
                <c:pt idx="1036">
                  <c:v>38373</c:v>
                </c:pt>
                <c:pt idx="1037">
                  <c:v>38376</c:v>
                </c:pt>
                <c:pt idx="1038">
                  <c:v>38377</c:v>
                </c:pt>
                <c:pt idx="1039">
                  <c:v>38378</c:v>
                </c:pt>
                <c:pt idx="1040">
                  <c:v>38379</c:v>
                </c:pt>
                <c:pt idx="1041">
                  <c:v>38380</c:v>
                </c:pt>
                <c:pt idx="1042">
                  <c:v>38383</c:v>
                </c:pt>
                <c:pt idx="1043">
                  <c:v>38384</c:v>
                </c:pt>
                <c:pt idx="1044">
                  <c:v>38385</c:v>
                </c:pt>
                <c:pt idx="1045">
                  <c:v>38386</c:v>
                </c:pt>
                <c:pt idx="1046">
                  <c:v>38387</c:v>
                </c:pt>
                <c:pt idx="1047">
                  <c:v>38390</c:v>
                </c:pt>
                <c:pt idx="1048">
                  <c:v>38391</c:v>
                </c:pt>
                <c:pt idx="1049">
                  <c:v>38392</c:v>
                </c:pt>
                <c:pt idx="1050">
                  <c:v>38393</c:v>
                </c:pt>
                <c:pt idx="1051">
                  <c:v>38394</c:v>
                </c:pt>
                <c:pt idx="1052">
                  <c:v>38397</c:v>
                </c:pt>
                <c:pt idx="1053">
                  <c:v>38398</c:v>
                </c:pt>
                <c:pt idx="1054">
                  <c:v>38399</c:v>
                </c:pt>
                <c:pt idx="1055">
                  <c:v>38400</c:v>
                </c:pt>
                <c:pt idx="1056">
                  <c:v>38401</c:v>
                </c:pt>
                <c:pt idx="1057">
                  <c:v>38404</c:v>
                </c:pt>
                <c:pt idx="1058">
                  <c:v>38405</c:v>
                </c:pt>
                <c:pt idx="1059">
                  <c:v>38406</c:v>
                </c:pt>
                <c:pt idx="1060">
                  <c:v>38407</c:v>
                </c:pt>
                <c:pt idx="1061">
                  <c:v>38408</c:v>
                </c:pt>
                <c:pt idx="1062">
                  <c:v>38411</c:v>
                </c:pt>
                <c:pt idx="1063">
                  <c:v>38412</c:v>
                </c:pt>
                <c:pt idx="1064">
                  <c:v>38413</c:v>
                </c:pt>
                <c:pt idx="1065">
                  <c:v>38414</c:v>
                </c:pt>
                <c:pt idx="1066">
                  <c:v>38415</c:v>
                </c:pt>
                <c:pt idx="1067">
                  <c:v>38418</c:v>
                </c:pt>
                <c:pt idx="1068">
                  <c:v>38419</c:v>
                </c:pt>
                <c:pt idx="1069">
                  <c:v>38420</c:v>
                </c:pt>
                <c:pt idx="1070">
                  <c:v>38421</c:v>
                </c:pt>
                <c:pt idx="1071">
                  <c:v>38422</c:v>
                </c:pt>
                <c:pt idx="1072">
                  <c:v>38425</c:v>
                </c:pt>
                <c:pt idx="1073">
                  <c:v>38426</c:v>
                </c:pt>
                <c:pt idx="1074">
                  <c:v>38427</c:v>
                </c:pt>
                <c:pt idx="1075">
                  <c:v>38428</c:v>
                </c:pt>
                <c:pt idx="1076">
                  <c:v>38429</c:v>
                </c:pt>
                <c:pt idx="1077">
                  <c:v>38432</c:v>
                </c:pt>
                <c:pt idx="1078">
                  <c:v>38433</c:v>
                </c:pt>
                <c:pt idx="1079">
                  <c:v>38434</c:v>
                </c:pt>
                <c:pt idx="1080">
                  <c:v>38435</c:v>
                </c:pt>
                <c:pt idx="1081">
                  <c:v>38440</c:v>
                </c:pt>
                <c:pt idx="1082">
                  <c:v>38441</c:v>
                </c:pt>
                <c:pt idx="1083">
                  <c:v>38442</c:v>
                </c:pt>
                <c:pt idx="1084">
                  <c:v>38443</c:v>
                </c:pt>
                <c:pt idx="1085">
                  <c:v>38446</c:v>
                </c:pt>
                <c:pt idx="1086">
                  <c:v>38447</c:v>
                </c:pt>
                <c:pt idx="1087">
                  <c:v>38448</c:v>
                </c:pt>
                <c:pt idx="1088">
                  <c:v>38449</c:v>
                </c:pt>
                <c:pt idx="1089">
                  <c:v>38450</c:v>
                </c:pt>
                <c:pt idx="1090">
                  <c:v>38453</c:v>
                </c:pt>
                <c:pt idx="1091">
                  <c:v>38454</c:v>
                </c:pt>
                <c:pt idx="1092">
                  <c:v>38455</c:v>
                </c:pt>
                <c:pt idx="1093">
                  <c:v>38456</c:v>
                </c:pt>
                <c:pt idx="1094">
                  <c:v>38457</c:v>
                </c:pt>
                <c:pt idx="1095">
                  <c:v>38460</c:v>
                </c:pt>
                <c:pt idx="1096">
                  <c:v>38461</c:v>
                </c:pt>
                <c:pt idx="1097">
                  <c:v>38462</c:v>
                </c:pt>
                <c:pt idx="1098">
                  <c:v>38463</c:v>
                </c:pt>
                <c:pt idx="1099">
                  <c:v>38464</c:v>
                </c:pt>
                <c:pt idx="1100">
                  <c:v>38467</c:v>
                </c:pt>
                <c:pt idx="1101">
                  <c:v>38468</c:v>
                </c:pt>
                <c:pt idx="1102">
                  <c:v>38469</c:v>
                </c:pt>
                <c:pt idx="1103">
                  <c:v>38470</c:v>
                </c:pt>
                <c:pt idx="1104">
                  <c:v>38471</c:v>
                </c:pt>
                <c:pt idx="1105">
                  <c:v>38474</c:v>
                </c:pt>
                <c:pt idx="1106">
                  <c:v>38475</c:v>
                </c:pt>
                <c:pt idx="1107">
                  <c:v>38476</c:v>
                </c:pt>
                <c:pt idx="1108">
                  <c:v>38477</c:v>
                </c:pt>
                <c:pt idx="1109">
                  <c:v>38478</c:v>
                </c:pt>
                <c:pt idx="1110">
                  <c:v>38481</c:v>
                </c:pt>
                <c:pt idx="1111">
                  <c:v>38482</c:v>
                </c:pt>
                <c:pt idx="1112">
                  <c:v>38483</c:v>
                </c:pt>
                <c:pt idx="1113">
                  <c:v>38484</c:v>
                </c:pt>
                <c:pt idx="1114">
                  <c:v>38485</c:v>
                </c:pt>
                <c:pt idx="1115">
                  <c:v>38488</c:v>
                </c:pt>
                <c:pt idx="1116">
                  <c:v>38489</c:v>
                </c:pt>
                <c:pt idx="1117">
                  <c:v>38490</c:v>
                </c:pt>
                <c:pt idx="1118">
                  <c:v>38491</c:v>
                </c:pt>
                <c:pt idx="1119">
                  <c:v>38492</c:v>
                </c:pt>
                <c:pt idx="1120">
                  <c:v>38495</c:v>
                </c:pt>
                <c:pt idx="1121">
                  <c:v>38496</c:v>
                </c:pt>
                <c:pt idx="1122">
                  <c:v>38497</c:v>
                </c:pt>
                <c:pt idx="1123">
                  <c:v>38498</c:v>
                </c:pt>
                <c:pt idx="1124">
                  <c:v>38499</c:v>
                </c:pt>
                <c:pt idx="1125">
                  <c:v>38502</c:v>
                </c:pt>
                <c:pt idx="1126">
                  <c:v>38503</c:v>
                </c:pt>
                <c:pt idx="1127">
                  <c:v>38504</c:v>
                </c:pt>
                <c:pt idx="1128">
                  <c:v>38505</c:v>
                </c:pt>
                <c:pt idx="1129">
                  <c:v>38506</c:v>
                </c:pt>
                <c:pt idx="1130">
                  <c:v>38509</c:v>
                </c:pt>
                <c:pt idx="1131">
                  <c:v>38510</c:v>
                </c:pt>
                <c:pt idx="1132">
                  <c:v>38511</c:v>
                </c:pt>
                <c:pt idx="1133">
                  <c:v>38512</c:v>
                </c:pt>
                <c:pt idx="1134">
                  <c:v>38513</c:v>
                </c:pt>
                <c:pt idx="1135">
                  <c:v>38516</c:v>
                </c:pt>
                <c:pt idx="1136">
                  <c:v>38517</c:v>
                </c:pt>
                <c:pt idx="1137">
                  <c:v>38518</c:v>
                </c:pt>
                <c:pt idx="1138">
                  <c:v>38519</c:v>
                </c:pt>
                <c:pt idx="1139">
                  <c:v>38520</c:v>
                </c:pt>
                <c:pt idx="1140">
                  <c:v>38523</c:v>
                </c:pt>
                <c:pt idx="1141">
                  <c:v>38524</c:v>
                </c:pt>
                <c:pt idx="1142">
                  <c:v>38525</c:v>
                </c:pt>
                <c:pt idx="1143">
                  <c:v>38526</c:v>
                </c:pt>
                <c:pt idx="1144">
                  <c:v>38527</c:v>
                </c:pt>
                <c:pt idx="1145">
                  <c:v>38530</c:v>
                </c:pt>
                <c:pt idx="1146">
                  <c:v>38531</c:v>
                </c:pt>
                <c:pt idx="1147">
                  <c:v>38532</c:v>
                </c:pt>
                <c:pt idx="1148">
                  <c:v>38533</c:v>
                </c:pt>
                <c:pt idx="1149">
                  <c:v>38534</c:v>
                </c:pt>
                <c:pt idx="1150">
                  <c:v>38537</c:v>
                </c:pt>
                <c:pt idx="1151">
                  <c:v>38538</c:v>
                </c:pt>
                <c:pt idx="1152">
                  <c:v>38539</c:v>
                </c:pt>
                <c:pt idx="1153">
                  <c:v>38540</c:v>
                </c:pt>
                <c:pt idx="1154">
                  <c:v>38541</c:v>
                </c:pt>
                <c:pt idx="1155">
                  <c:v>38544</c:v>
                </c:pt>
                <c:pt idx="1156">
                  <c:v>38545</c:v>
                </c:pt>
                <c:pt idx="1157">
                  <c:v>38546</c:v>
                </c:pt>
                <c:pt idx="1158">
                  <c:v>38547</c:v>
                </c:pt>
                <c:pt idx="1159">
                  <c:v>38548</c:v>
                </c:pt>
                <c:pt idx="1160">
                  <c:v>38551</c:v>
                </c:pt>
                <c:pt idx="1161">
                  <c:v>38552</c:v>
                </c:pt>
                <c:pt idx="1162">
                  <c:v>38553</c:v>
                </c:pt>
                <c:pt idx="1163">
                  <c:v>38554</c:v>
                </c:pt>
                <c:pt idx="1164">
                  <c:v>38555</c:v>
                </c:pt>
                <c:pt idx="1165">
                  <c:v>38558</c:v>
                </c:pt>
                <c:pt idx="1166">
                  <c:v>38559</c:v>
                </c:pt>
                <c:pt idx="1167">
                  <c:v>38560</c:v>
                </c:pt>
                <c:pt idx="1168">
                  <c:v>38561</c:v>
                </c:pt>
                <c:pt idx="1169">
                  <c:v>38562</c:v>
                </c:pt>
                <c:pt idx="1170">
                  <c:v>38565</c:v>
                </c:pt>
                <c:pt idx="1171">
                  <c:v>38566</c:v>
                </c:pt>
                <c:pt idx="1172">
                  <c:v>38567</c:v>
                </c:pt>
                <c:pt idx="1173">
                  <c:v>38568</c:v>
                </c:pt>
                <c:pt idx="1174">
                  <c:v>38569</c:v>
                </c:pt>
                <c:pt idx="1175">
                  <c:v>38572</c:v>
                </c:pt>
                <c:pt idx="1176">
                  <c:v>38573</c:v>
                </c:pt>
                <c:pt idx="1177">
                  <c:v>38574</c:v>
                </c:pt>
                <c:pt idx="1178">
                  <c:v>38575</c:v>
                </c:pt>
                <c:pt idx="1179">
                  <c:v>38576</c:v>
                </c:pt>
                <c:pt idx="1180">
                  <c:v>38579</c:v>
                </c:pt>
                <c:pt idx="1181">
                  <c:v>38580</c:v>
                </c:pt>
                <c:pt idx="1182">
                  <c:v>38581</c:v>
                </c:pt>
                <c:pt idx="1183">
                  <c:v>38582</c:v>
                </c:pt>
                <c:pt idx="1184">
                  <c:v>38583</c:v>
                </c:pt>
                <c:pt idx="1185">
                  <c:v>38586</c:v>
                </c:pt>
                <c:pt idx="1186">
                  <c:v>38587</c:v>
                </c:pt>
                <c:pt idx="1187">
                  <c:v>38588</c:v>
                </c:pt>
                <c:pt idx="1188">
                  <c:v>38589</c:v>
                </c:pt>
                <c:pt idx="1189">
                  <c:v>38590</c:v>
                </c:pt>
                <c:pt idx="1190">
                  <c:v>38593</c:v>
                </c:pt>
                <c:pt idx="1191">
                  <c:v>38594</c:v>
                </c:pt>
                <c:pt idx="1192">
                  <c:v>38595</c:v>
                </c:pt>
                <c:pt idx="1193">
                  <c:v>38596</c:v>
                </c:pt>
                <c:pt idx="1194">
                  <c:v>38597</c:v>
                </c:pt>
                <c:pt idx="1195">
                  <c:v>38600</c:v>
                </c:pt>
                <c:pt idx="1196">
                  <c:v>38601</c:v>
                </c:pt>
                <c:pt idx="1197">
                  <c:v>38602</c:v>
                </c:pt>
                <c:pt idx="1198">
                  <c:v>38603</c:v>
                </c:pt>
                <c:pt idx="1199">
                  <c:v>38604</c:v>
                </c:pt>
                <c:pt idx="1200">
                  <c:v>38607</c:v>
                </c:pt>
                <c:pt idx="1201">
                  <c:v>38608</c:v>
                </c:pt>
                <c:pt idx="1202">
                  <c:v>38609</c:v>
                </c:pt>
                <c:pt idx="1203">
                  <c:v>38610</c:v>
                </c:pt>
                <c:pt idx="1204">
                  <c:v>38611</c:v>
                </c:pt>
                <c:pt idx="1205">
                  <c:v>38614</c:v>
                </c:pt>
                <c:pt idx="1206">
                  <c:v>38615</c:v>
                </c:pt>
                <c:pt idx="1207">
                  <c:v>38616</c:v>
                </c:pt>
                <c:pt idx="1208">
                  <c:v>38617</c:v>
                </c:pt>
                <c:pt idx="1209">
                  <c:v>38618</c:v>
                </c:pt>
                <c:pt idx="1210">
                  <c:v>38621</c:v>
                </c:pt>
                <c:pt idx="1211">
                  <c:v>38622</c:v>
                </c:pt>
                <c:pt idx="1212">
                  <c:v>38623</c:v>
                </c:pt>
                <c:pt idx="1213">
                  <c:v>38624</c:v>
                </c:pt>
                <c:pt idx="1214">
                  <c:v>38625</c:v>
                </c:pt>
                <c:pt idx="1215">
                  <c:v>38628</c:v>
                </c:pt>
                <c:pt idx="1216">
                  <c:v>38629</c:v>
                </c:pt>
                <c:pt idx="1217">
                  <c:v>38630</c:v>
                </c:pt>
                <c:pt idx="1218">
                  <c:v>38631</c:v>
                </c:pt>
                <c:pt idx="1219">
                  <c:v>38632</c:v>
                </c:pt>
                <c:pt idx="1220">
                  <c:v>38635</c:v>
                </c:pt>
                <c:pt idx="1221">
                  <c:v>38636</c:v>
                </c:pt>
                <c:pt idx="1222">
                  <c:v>38637</c:v>
                </c:pt>
                <c:pt idx="1223">
                  <c:v>38638</c:v>
                </c:pt>
                <c:pt idx="1224">
                  <c:v>38639</c:v>
                </c:pt>
                <c:pt idx="1225">
                  <c:v>38642</c:v>
                </c:pt>
                <c:pt idx="1226">
                  <c:v>38643</c:v>
                </c:pt>
                <c:pt idx="1227">
                  <c:v>38644</c:v>
                </c:pt>
                <c:pt idx="1228">
                  <c:v>38645</c:v>
                </c:pt>
                <c:pt idx="1229">
                  <c:v>38646</c:v>
                </c:pt>
                <c:pt idx="1230">
                  <c:v>38649</c:v>
                </c:pt>
                <c:pt idx="1231">
                  <c:v>38650</c:v>
                </c:pt>
                <c:pt idx="1232">
                  <c:v>38651</c:v>
                </c:pt>
                <c:pt idx="1233">
                  <c:v>38652</c:v>
                </c:pt>
                <c:pt idx="1234">
                  <c:v>38653</c:v>
                </c:pt>
                <c:pt idx="1235">
                  <c:v>38656</c:v>
                </c:pt>
                <c:pt idx="1236">
                  <c:v>38657</c:v>
                </c:pt>
                <c:pt idx="1237">
                  <c:v>38658</c:v>
                </c:pt>
                <c:pt idx="1238">
                  <c:v>38659</c:v>
                </c:pt>
                <c:pt idx="1239">
                  <c:v>38660</c:v>
                </c:pt>
                <c:pt idx="1240">
                  <c:v>38663</c:v>
                </c:pt>
                <c:pt idx="1241">
                  <c:v>38664</c:v>
                </c:pt>
                <c:pt idx="1242">
                  <c:v>38665</c:v>
                </c:pt>
                <c:pt idx="1243">
                  <c:v>38666</c:v>
                </c:pt>
                <c:pt idx="1244">
                  <c:v>38667</c:v>
                </c:pt>
                <c:pt idx="1245">
                  <c:v>38670</c:v>
                </c:pt>
                <c:pt idx="1246">
                  <c:v>38671</c:v>
                </c:pt>
                <c:pt idx="1247">
                  <c:v>38672</c:v>
                </c:pt>
                <c:pt idx="1248">
                  <c:v>38673</c:v>
                </c:pt>
                <c:pt idx="1249">
                  <c:v>38674</c:v>
                </c:pt>
                <c:pt idx="1250">
                  <c:v>38677</c:v>
                </c:pt>
                <c:pt idx="1251">
                  <c:v>38678</c:v>
                </c:pt>
                <c:pt idx="1252">
                  <c:v>38679</c:v>
                </c:pt>
                <c:pt idx="1253">
                  <c:v>38680</c:v>
                </c:pt>
                <c:pt idx="1254">
                  <c:v>38681</c:v>
                </c:pt>
                <c:pt idx="1255">
                  <c:v>38684</c:v>
                </c:pt>
                <c:pt idx="1256">
                  <c:v>38685</c:v>
                </c:pt>
                <c:pt idx="1257">
                  <c:v>38686</c:v>
                </c:pt>
                <c:pt idx="1258">
                  <c:v>38687</c:v>
                </c:pt>
                <c:pt idx="1259">
                  <c:v>38688</c:v>
                </c:pt>
                <c:pt idx="1260">
                  <c:v>38691</c:v>
                </c:pt>
                <c:pt idx="1261">
                  <c:v>38692</c:v>
                </c:pt>
                <c:pt idx="1262">
                  <c:v>38693</c:v>
                </c:pt>
                <c:pt idx="1263">
                  <c:v>38694</c:v>
                </c:pt>
                <c:pt idx="1264">
                  <c:v>38695</c:v>
                </c:pt>
                <c:pt idx="1265">
                  <c:v>38698</c:v>
                </c:pt>
                <c:pt idx="1266">
                  <c:v>38699</c:v>
                </c:pt>
                <c:pt idx="1267">
                  <c:v>38700</c:v>
                </c:pt>
                <c:pt idx="1268">
                  <c:v>38701</c:v>
                </c:pt>
                <c:pt idx="1269">
                  <c:v>38702</c:v>
                </c:pt>
                <c:pt idx="1270">
                  <c:v>38705</c:v>
                </c:pt>
                <c:pt idx="1271">
                  <c:v>38706</c:v>
                </c:pt>
                <c:pt idx="1272">
                  <c:v>38707</c:v>
                </c:pt>
                <c:pt idx="1273">
                  <c:v>38708</c:v>
                </c:pt>
                <c:pt idx="1274">
                  <c:v>38709</c:v>
                </c:pt>
                <c:pt idx="1275">
                  <c:v>38713</c:v>
                </c:pt>
                <c:pt idx="1276">
                  <c:v>38714</c:v>
                </c:pt>
                <c:pt idx="1277">
                  <c:v>38715</c:v>
                </c:pt>
                <c:pt idx="1278">
                  <c:v>38716</c:v>
                </c:pt>
                <c:pt idx="1279">
                  <c:v>38719</c:v>
                </c:pt>
                <c:pt idx="1280">
                  <c:v>38720</c:v>
                </c:pt>
                <c:pt idx="1281">
                  <c:v>38721</c:v>
                </c:pt>
                <c:pt idx="1282">
                  <c:v>38722</c:v>
                </c:pt>
                <c:pt idx="1283">
                  <c:v>38723</c:v>
                </c:pt>
                <c:pt idx="1284">
                  <c:v>38726</c:v>
                </c:pt>
                <c:pt idx="1285">
                  <c:v>38727</c:v>
                </c:pt>
                <c:pt idx="1286">
                  <c:v>38728</c:v>
                </c:pt>
                <c:pt idx="1287">
                  <c:v>38729</c:v>
                </c:pt>
                <c:pt idx="1288">
                  <c:v>38730</c:v>
                </c:pt>
                <c:pt idx="1289">
                  <c:v>38733</c:v>
                </c:pt>
                <c:pt idx="1290">
                  <c:v>38734</c:v>
                </c:pt>
                <c:pt idx="1291">
                  <c:v>38735</c:v>
                </c:pt>
                <c:pt idx="1292">
                  <c:v>38736</c:v>
                </c:pt>
                <c:pt idx="1293">
                  <c:v>38737</c:v>
                </c:pt>
                <c:pt idx="1294">
                  <c:v>38740</c:v>
                </c:pt>
                <c:pt idx="1295">
                  <c:v>38741</c:v>
                </c:pt>
                <c:pt idx="1296">
                  <c:v>38742</c:v>
                </c:pt>
                <c:pt idx="1297">
                  <c:v>38743</c:v>
                </c:pt>
                <c:pt idx="1298">
                  <c:v>38744</c:v>
                </c:pt>
                <c:pt idx="1299">
                  <c:v>38747</c:v>
                </c:pt>
                <c:pt idx="1300">
                  <c:v>38748</c:v>
                </c:pt>
                <c:pt idx="1301">
                  <c:v>38749</c:v>
                </c:pt>
                <c:pt idx="1302">
                  <c:v>38750</c:v>
                </c:pt>
                <c:pt idx="1303">
                  <c:v>38751</c:v>
                </c:pt>
                <c:pt idx="1304">
                  <c:v>38754</c:v>
                </c:pt>
                <c:pt idx="1305">
                  <c:v>38755</c:v>
                </c:pt>
                <c:pt idx="1306">
                  <c:v>38756</c:v>
                </c:pt>
                <c:pt idx="1307">
                  <c:v>38757</c:v>
                </c:pt>
                <c:pt idx="1308">
                  <c:v>38758</c:v>
                </c:pt>
                <c:pt idx="1309">
                  <c:v>38761</c:v>
                </c:pt>
                <c:pt idx="1310">
                  <c:v>38762</c:v>
                </c:pt>
                <c:pt idx="1311">
                  <c:v>38763</c:v>
                </c:pt>
                <c:pt idx="1312">
                  <c:v>38764</c:v>
                </c:pt>
                <c:pt idx="1313">
                  <c:v>38765</c:v>
                </c:pt>
                <c:pt idx="1314">
                  <c:v>38768</c:v>
                </c:pt>
                <c:pt idx="1315">
                  <c:v>38769</c:v>
                </c:pt>
                <c:pt idx="1316">
                  <c:v>38770</c:v>
                </c:pt>
                <c:pt idx="1317">
                  <c:v>38771</c:v>
                </c:pt>
                <c:pt idx="1318">
                  <c:v>38772</c:v>
                </c:pt>
                <c:pt idx="1319">
                  <c:v>38775</c:v>
                </c:pt>
                <c:pt idx="1320">
                  <c:v>38776</c:v>
                </c:pt>
                <c:pt idx="1321">
                  <c:v>38777</c:v>
                </c:pt>
                <c:pt idx="1322">
                  <c:v>38778</c:v>
                </c:pt>
                <c:pt idx="1323">
                  <c:v>38779</c:v>
                </c:pt>
                <c:pt idx="1324">
                  <c:v>38782</c:v>
                </c:pt>
                <c:pt idx="1325">
                  <c:v>38783</c:v>
                </c:pt>
                <c:pt idx="1326">
                  <c:v>38784</c:v>
                </c:pt>
                <c:pt idx="1327">
                  <c:v>38785</c:v>
                </c:pt>
                <c:pt idx="1328">
                  <c:v>38786</c:v>
                </c:pt>
                <c:pt idx="1329">
                  <c:v>38789</c:v>
                </c:pt>
                <c:pt idx="1330">
                  <c:v>38790</c:v>
                </c:pt>
                <c:pt idx="1331">
                  <c:v>38791</c:v>
                </c:pt>
                <c:pt idx="1332">
                  <c:v>38792</c:v>
                </c:pt>
                <c:pt idx="1333">
                  <c:v>38793</c:v>
                </c:pt>
                <c:pt idx="1334">
                  <c:v>38796</c:v>
                </c:pt>
                <c:pt idx="1335">
                  <c:v>38797</c:v>
                </c:pt>
                <c:pt idx="1336">
                  <c:v>38798</c:v>
                </c:pt>
                <c:pt idx="1337">
                  <c:v>38799</c:v>
                </c:pt>
                <c:pt idx="1338">
                  <c:v>38800</c:v>
                </c:pt>
                <c:pt idx="1339">
                  <c:v>38803</c:v>
                </c:pt>
                <c:pt idx="1340">
                  <c:v>38804</c:v>
                </c:pt>
                <c:pt idx="1341">
                  <c:v>38805</c:v>
                </c:pt>
                <c:pt idx="1342">
                  <c:v>38806</c:v>
                </c:pt>
                <c:pt idx="1343">
                  <c:v>38807</c:v>
                </c:pt>
                <c:pt idx="1344">
                  <c:v>38810</c:v>
                </c:pt>
                <c:pt idx="1345">
                  <c:v>38811</c:v>
                </c:pt>
                <c:pt idx="1346">
                  <c:v>38812</c:v>
                </c:pt>
                <c:pt idx="1347">
                  <c:v>38813</c:v>
                </c:pt>
                <c:pt idx="1348">
                  <c:v>38814</c:v>
                </c:pt>
                <c:pt idx="1349">
                  <c:v>38817</c:v>
                </c:pt>
                <c:pt idx="1350">
                  <c:v>38818</c:v>
                </c:pt>
                <c:pt idx="1351">
                  <c:v>38819</c:v>
                </c:pt>
                <c:pt idx="1352">
                  <c:v>38820</c:v>
                </c:pt>
                <c:pt idx="1353">
                  <c:v>38825</c:v>
                </c:pt>
                <c:pt idx="1354">
                  <c:v>38826</c:v>
                </c:pt>
                <c:pt idx="1355">
                  <c:v>38827</c:v>
                </c:pt>
                <c:pt idx="1356">
                  <c:v>38828</c:v>
                </c:pt>
                <c:pt idx="1357">
                  <c:v>38831</c:v>
                </c:pt>
                <c:pt idx="1358">
                  <c:v>38832</c:v>
                </c:pt>
                <c:pt idx="1359">
                  <c:v>38833</c:v>
                </c:pt>
                <c:pt idx="1360">
                  <c:v>38834</c:v>
                </c:pt>
                <c:pt idx="1361">
                  <c:v>38835</c:v>
                </c:pt>
                <c:pt idx="1362">
                  <c:v>38838</c:v>
                </c:pt>
                <c:pt idx="1363">
                  <c:v>38839</c:v>
                </c:pt>
                <c:pt idx="1364">
                  <c:v>38840</c:v>
                </c:pt>
                <c:pt idx="1365">
                  <c:v>38841</c:v>
                </c:pt>
                <c:pt idx="1366">
                  <c:v>38842</c:v>
                </c:pt>
                <c:pt idx="1367">
                  <c:v>38845</c:v>
                </c:pt>
                <c:pt idx="1368">
                  <c:v>38846</c:v>
                </c:pt>
                <c:pt idx="1369">
                  <c:v>38847</c:v>
                </c:pt>
                <c:pt idx="1370">
                  <c:v>38848</c:v>
                </c:pt>
                <c:pt idx="1371">
                  <c:v>38849</c:v>
                </c:pt>
                <c:pt idx="1372">
                  <c:v>38852</c:v>
                </c:pt>
                <c:pt idx="1373">
                  <c:v>38853</c:v>
                </c:pt>
                <c:pt idx="1374">
                  <c:v>38854</c:v>
                </c:pt>
                <c:pt idx="1375">
                  <c:v>38855</c:v>
                </c:pt>
                <c:pt idx="1376">
                  <c:v>38856</c:v>
                </c:pt>
                <c:pt idx="1377">
                  <c:v>38859</c:v>
                </c:pt>
                <c:pt idx="1378">
                  <c:v>38860</c:v>
                </c:pt>
                <c:pt idx="1379">
                  <c:v>38861</c:v>
                </c:pt>
                <c:pt idx="1380">
                  <c:v>38862</c:v>
                </c:pt>
                <c:pt idx="1381">
                  <c:v>38863</c:v>
                </c:pt>
                <c:pt idx="1382">
                  <c:v>38866</c:v>
                </c:pt>
                <c:pt idx="1383">
                  <c:v>38867</c:v>
                </c:pt>
                <c:pt idx="1384">
                  <c:v>38868</c:v>
                </c:pt>
                <c:pt idx="1385">
                  <c:v>38869</c:v>
                </c:pt>
                <c:pt idx="1386">
                  <c:v>38870</c:v>
                </c:pt>
                <c:pt idx="1387">
                  <c:v>38873</c:v>
                </c:pt>
                <c:pt idx="1388">
                  <c:v>38874</c:v>
                </c:pt>
                <c:pt idx="1389">
                  <c:v>38875</c:v>
                </c:pt>
                <c:pt idx="1390">
                  <c:v>38876</c:v>
                </c:pt>
                <c:pt idx="1391">
                  <c:v>38877</c:v>
                </c:pt>
                <c:pt idx="1392">
                  <c:v>38880</c:v>
                </c:pt>
                <c:pt idx="1393">
                  <c:v>38881</c:v>
                </c:pt>
                <c:pt idx="1394">
                  <c:v>38882</c:v>
                </c:pt>
                <c:pt idx="1395">
                  <c:v>38883</c:v>
                </c:pt>
                <c:pt idx="1396">
                  <c:v>38884</c:v>
                </c:pt>
                <c:pt idx="1397">
                  <c:v>38887</c:v>
                </c:pt>
                <c:pt idx="1398">
                  <c:v>38888</c:v>
                </c:pt>
                <c:pt idx="1399">
                  <c:v>38889</c:v>
                </c:pt>
                <c:pt idx="1400">
                  <c:v>38890</c:v>
                </c:pt>
                <c:pt idx="1401">
                  <c:v>38891</c:v>
                </c:pt>
                <c:pt idx="1402">
                  <c:v>38894</c:v>
                </c:pt>
                <c:pt idx="1403">
                  <c:v>38895</c:v>
                </c:pt>
                <c:pt idx="1404">
                  <c:v>38896</c:v>
                </c:pt>
                <c:pt idx="1405">
                  <c:v>38897</c:v>
                </c:pt>
                <c:pt idx="1406">
                  <c:v>38898</c:v>
                </c:pt>
                <c:pt idx="1407">
                  <c:v>38901</c:v>
                </c:pt>
                <c:pt idx="1408">
                  <c:v>38902</c:v>
                </c:pt>
                <c:pt idx="1409">
                  <c:v>38903</c:v>
                </c:pt>
                <c:pt idx="1410">
                  <c:v>38904</c:v>
                </c:pt>
                <c:pt idx="1411">
                  <c:v>38905</c:v>
                </c:pt>
                <c:pt idx="1412">
                  <c:v>38908</c:v>
                </c:pt>
                <c:pt idx="1413">
                  <c:v>38909</c:v>
                </c:pt>
                <c:pt idx="1414">
                  <c:v>38910</c:v>
                </c:pt>
                <c:pt idx="1415">
                  <c:v>38911</c:v>
                </c:pt>
                <c:pt idx="1416">
                  <c:v>38912</c:v>
                </c:pt>
                <c:pt idx="1417">
                  <c:v>38915</c:v>
                </c:pt>
                <c:pt idx="1418">
                  <c:v>38916</c:v>
                </c:pt>
                <c:pt idx="1419">
                  <c:v>38917</c:v>
                </c:pt>
                <c:pt idx="1420">
                  <c:v>38918</c:v>
                </c:pt>
                <c:pt idx="1421">
                  <c:v>38919</c:v>
                </c:pt>
                <c:pt idx="1422">
                  <c:v>38922</c:v>
                </c:pt>
                <c:pt idx="1423">
                  <c:v>38923</c:v>
                </c:pt>
                <c:pt idx="1424">
                  <c:v>38924</c:v>
                </c:pt>
                <c:pt idx="1425">
                  <c:v>38925</c:v>
                </c:pt>
                <c:pt idx="1426">
                  <c:v>38926</c:v>
                </c:pt>
                <c:pt idx="1427">
                  <c:v>38929</c:v>
                </c:pt>
                <c:pt idx="1428">
                  <c:v>38930</c:v>
                </c:pt>
                <c:pt idx="1429">
                  <c:v>38931</c:v>
                </c:pt>
                <c:pt idx="1430">
                  <c:v>38932</c:v>
                </c:pt>
                <c:pt idx="1431">
                  <c:v>38933</c:v>
                </c:pt>
                <c:pt idx="1432">
                  <c:v>38936</c:v>
                </c:pt>
                <c:pt idx="1433">
                  <c:v>38937</c:v>
                </c:pt>
                <c:pt idx="1434">
                  <c:v>38938</c:v>
                </c:pt>
                <c:pt idx="1435">
                  <c:v>38939</c:v>
                </c:pt>
                <c:pt idx="1436">
                  <c:v>38940</c:v>
                </c:pt>
                <c:pt idx="1437">
                  <c:v>38943</c:v>
                </c:pt>
                <c:pt idx="1438">
                  <c:v>38944</c:v>
                </c:pt>
                <c:pt idx="1439">
                  <c:v>38945</c:v>
                </c:pt>
                <c:pt idx="1440">
                  <c:v>38946</c:v>
                </c:pt>
                <c:pt idx="1441">
                  <c:v>38947</c:v>
                </c:pt>
                <c:pt idx="1442">
                  <c:v>38950</c:v>
                </c:pt>
                <c:pt idx="1443">
                  <c:v>38951</c:v>
                </c:pt>
                <c:pt idx="1444">
                  <c:v>38952</c:v>
                </c:pt>
                <c:pt idx="1445">
                  <c:v>38953</c:v>
                </c:pt>
                <c:pt idx="1446">
                  <c:v>38954</c:v>
                </c:pt>
                <c:pt idx="1447">
                  <c:v>38957</c:v>
                </c:pt>
                <c:pt idx="1448">
                  <c:v>38958</c:v>
                </c:pt>
                <c:pt idx="1449">
                  <c:v>38959</c:v>
                </c:pt>
                <c:pt idx="1450">
                  <c:v>38960</c:v>
                </c:pt>
                <c:pt idx="1451">
                  <c:v>38961</c:v>
                </c:pt>
                <c:pt idx="1452">
                  <c:v>38964</c:v>
                </c:pt>
                <c:pt idx="1453">
                  <c:v>38965</c:v>
                </c:pt>
                <c:pt idx="1454">
                  <c:v>38966</c:v>
                </c:pt>
                <c:pt idx="1455">
                  <c:v>38967</c:v>
                </c:pt>
                <c:pt idx="1456">
                  <c:v>38968</c:v>
                </c:pt>
                <c:pt idx="1457">
                  <c:v>38971</c:v>
                </c:pt>
                <c:pt idx="1458">
                  <c:v>38972</c:v>
                </c:pt>
                <c:pt idx="1459">
                  <c:v>38973</c:v>
                </c:pt>
                <c:pt idx="1460">
                  <c:v>38974</c:v>
                </c:pt>
                <c:pt idx="1461">
                  <c:v>38975</c:v>
                </c:pt>
                <c:pt idx="1462">
                  <c:v>38978</c:v>
                </c:pt>
                <c:pt idx="1463">
                  <c:v>38979</c:v>
                </c:pt>
                <c:pt idx="1464">
                  <c:v>38980</c:v>
                </c:pt>
                <c:pt idx="1465">
                  <c:v>38981</c:v>
                </c:pt>
                <c:pt idx="1466">
                  <c:v>38982</c:v>
                </c:pt>
                <c:pt idx="1467">
                  <c:v>38985</c:v>
                </c:pt>
                <c:pt idx="1468">
                  <c:v>38986</c:v>
                </c:pt>
                <c:pt idx="1469">
                  <c:v>38987</c:v>
                </c:pt>
                <c:pt idx="1470">
                  <c:v>38988</c:v>
                </c:pt>
                <c:pt idx="1471">
                  <c:v>38989</c:v>
                </c:pt>
                <c:pt idx="1472">
                  <c:v>38992</c:v>
                </c:pt>
                <c:pt idx="1473">
                  <c:v>38993</c:v>
                </c:pt>
                <c:pt idx="1474">
                  <c:v>38994</c:v>
                </c:pt>
                <c:pt idx="1475">
                  <c:v>38995</c:v>
                </c:pt>
                <c:pt idx="1476">
                  <c:v>38996</c:v>
                </c:pt>
                <c:pt idx="1477">
                  <c:v>38999</c:v>
                </c:pt>
                <c:pt idx="1478">
                  <c:v>39000</c:v>
                </c:pt>
                <c:pt idx="1479">
                  <c:v>39001</c:v>
                </c:pt>
                <c:pt idx="1480">
                  <c:v>39002</c:v>
                </c:pt>
                <c:pt idx="1481">
                  <c:v>39003</c:v>
                </c:pt>
                <c:pt idx="1482">
                  <c:v>39006</c:v>
                </c:pt>
                <c:pt idx="1483">
                  <c:v>39007</c:v>
                </c:pt>
                <c:pt idx="1484">
                  <c:v>39008</c:v>
                </c:pt>
                <c:pt idx="1485">
                  <c:v>39009</c:v>
                </c:pt>
                <c:pt idx="1486">
                  <c:v>39010</c:v>
                </c:pt>
                <c:pt idx="1487">
                  <c:v>39013</c:v>
                </c:pt>
                <c:pt idx="1488">
                  <c:v>39014</c:v>
                </c:pt>
                <c:pt idx="1489">
                  <c:v>39015</c:v>
                </c:pt>
                <c:pt idx="1490">
                  <c:v>39016</c:v>
                </c:pt>
                <c:pt idx="1491">
                  <c:v>39017</c:v>
                </c:pt>
                <c:pt idx="1492">
                  <c:v>39020</c:v>
                </c:pt>
                <c:pt idx="1493">
                  <c:v>39021</c:v>
                </c:pt>
                <c:pt idx="1494">
                  <c:v>39022</c:v>
                </c:pt>
                <c:pt idx="1495">
                  <c:v>39023</c:v>
                </c:pt>
                <c:pt idx="1496">
                  <c:v>39024</c:v>
                </c:pt>
                <c:pt idx="1497">
                  <c:v>39027</c:v>
                </c:pt>
                <c:pt idx="1498">
                  <c:v>39028</c:v>
                </c:pt>
                <c:pt idx="1499">
                  <c:v>39029</c:v>
                </c:pt>
                <c:pt idx="1500">
                  <c:v>39030</c:v>
                </c:pt>
                <c:pt idx="1501">
                  <c:v>39031</c:v>
                </c:pt>
                <c:pt idx="1502">
                  <c:v>39034</c:v>
                </c:pt>
                <c:pt idx="1503">
                  <c:v>39035</c:v>
                </c:pt>
                <c:pt idx="1504">
                  <c:v>39036</c:v>
                </c:pt>
                <c:pt idx="1505">
                  <c:v>39037</c:v>
                </c:pt>
                <c:pt idx="1506">
                  <c:v>39038</c:v>
                </c:pt>
                <c:pt idx="1507">
                  <c:v>39041</c:v>
                </c:pt>
                <c:pt idx="1508">
                  <c:v>39042</c:v>
                </c:pt>
                <c:pt idx="1509">
                  <c:v>39043</c:v>
                </c:pt>
                <c:pt idx="1510">
                  <c:v>39044</c:v>
                </c:pt>
                <c:pt idx="1511">
                  <c:v>39045</c:v>
                </c:pt>
                <c:pt idx="1512">
                  <c:v>39048</c:v>
                </c:pt>
                <c:pt idx="1513">
                  <c:v>39049</c:v>
                </c:pt>
                <c:pt idx="1514">
                  <c:v>39050</c:v>
                </c:pt>
                <c:pt idx="1515">
                  <c:v>39051</c:v>
                </c:pt>
                <c:pt idx="1516">
                  <c:v>39052</c:v>
                </c:pt>
                <c:pt idx="1517">
                  <c:v>39055</c:v>
                </c:pt>
                <c:pt idx="1518">
                  <c:v>39056</c:v>
                </c:pt>
                <c:pt idx="1519">
                  <c:v>39057</c:v>
                </c:pt>
                <c:pt idx="1520">
                  <c:v>39058</c:v>
                </c:pt>
                <c:pt idx="1521">
                  <c:v>39059</c:v>
                </c:pt>
                <c:pt idx="1522">
                  <c:v>39062</c:v>
                </c:pt>
                <c:pt idx="1523">
                  <c:v>39063</c:v>
                </c:pt>
                <c:pt idx="1524">
                  <c:v>39064</c:v>
                </c:pt>
                <c:pt idx="1525">
                  <c:v>39065</c:v>
                </c:pt>
                <c:pt idx="1526">
                  <c:v>39066</c:v>
                </c:pt>
                <c:pt idx="1527">
                  <c:v>39069</c:v>
                </c:pt>
                <c:pt idx="1528">
                  <c:v>39070</c:v>
                </c:pt>
                <c:pt idx="1529">
                  <c:v>39071</c:v>
                </c:pt>
                <c:pt idx="1530">
                  <c:v>39072</c:v>
                </c:pt>
                <c:pt idx="1531">
                  <c:v>39073</c:v>
                </c:pt>
                <c:pt idx="1532">
                  <c:v>39078</c:v>
                </c:pt>
                <c:pt idx="1533">
                  <c:v>39079</c:v>
                </c:pt>
                <c:pt idx="1534">
                  <c:v>39080</c:v>
                </c:pt>
                <c:pt idx="1535">
                  <c:v>39084</c:v>
                </c:pt>
                <c:pt idx="1536">
                  <c:v>39085</c:v>
                </c:pt>
                <c:pt idx="1537">
                  <c:v>39086</c:v>
                </c:pt>
                <c:pt idx="1538">
                  <c:v>39087</c:v>
                </c:pt>
                <c:pt idx="1539">
                  <c:v>39090</c:v>
                </c:pt>
                <c:pt idx="1540">
                  <c:v>39091</c:v>
                </c:pt>
                <c:pt idx="1541">
                  <c:v>39092</c:v>
                </c:pt>
                <c:pt idx="1542">
                  <c:v>39093</c:v>
                </c:pt>
                <c:pt idx="1543">
                  <c:v>39094</c:v>
                </c:pt>
                <c:pt idx="1544">
                  <c:v>39097</c:v>
                </c:pt>
                <c:pt idx="1545">
                  <c:v>39098</c:v>
                </c:pt>
                <c:pt idx="1546">
                  <c:v>39099</c:v>
                </c:pt>
                <c:pt idx="1547">
                  <c:v>39100</c:v>
                </c:pt>
                <c:pt idx="1548">
                  <c:v>39101</c:v>
                </c:pt>
                <c:pt idx="1549">
                  <c:v>39104</c:v>
                </c:pt>
                <c:pt idx="1550">
                  <c:v>39105</c:v>
                </c:pt>
                <c:pt idx="1551">
                  <c:v>39106</c:v>
                </c:pt>
                <c:pt idx="1552">
                  <c:v>39107</c:v>
                </c:pt>
                <c:pt idx="1553">
                  <c:v>39108</c:v>
                </c:pt>
                <c:pt idx="1554">
                  <c:v>39111</c:v>
                </c:pt>
                <c:pt idx="1555">
                  <c:v>39112</c:v>
                </c:pt>
                <c:pt idx="1556">
                  <c:v>39113</c:v>
                </c:pt>
                <c:pt idx="1557">
                  <c:v>39114</c:v>
                </c:pt>
                <c:pt idx="1558">
                  <c:v>39115</c:v>
                </c:pt>
                <c:pt idx="1559">
                  <c:v>39118</c:v>
                </c:pt>
                <c:pt idx="1560">
                  <c:v>39119</c:v>
                </c:pt>
                <c:pt idx="1561">
                  <c:v>39120</c:v>
                </c:pt>
                <c:pt idx="1562">
                  <c:v>39121</c:v>
                </c:pt>
                <c:pt idx="1563">
                  <c:v>39122</c:v>
                </c:pt>
                <c:pt idx="1564">
                  <c:v>39125</c:v>
                </c:pt>
                <c:pt idx="1565">
                  <c:v>39126</c:v>
                </c:pt>
                <c:pt idx="1566">
                  <c:v>39127</c:v>
                </c:pt>
                <c:pt idx="1567">
                  <c:v>39128</c:v>
                </c:pt>
                <c:pt idx="1568">
                  <c:v>39129</c:v>
                </c:pt>
                <c:pt idx="1569">
                  <c:v>39132</c:v>
                </c:pt>
                <c:pt idx="1570">
                  <c:v>39133</c:v>
                </c:pt>
                <c:pt idx="1571">
                  <c:v>39134</c:v>
                </c:pt>
                <c:pt idx="1572">
                  <c:v>39135</c:v>
                </c:pt>
                <c:pt idx="1573">
                  <c:v>39136</c:v>
                </c:pt>
                <c:pt idx="1574">
                  <c:v>39139</c:v>
                </c:pt>
                <c:pt idx="1575">
                  <c:v>39140</c:v>
                </c:pt>
                <c:pt idx="1576">
                  <c:v>39141</c:v>
                </c:pt>
                <c:pt idx="1577">
                  <c:v>39142</c:v>
                </c:pt>
                <c:pt idx="1578">
                  <c:v>39143</c:v>
                </c:pt>
                <c:pt idx="1579">
                  <c:v>39146</c:v>
                </c:pt>
                <c:pt idx="1580">
                  <c:v>39147</c:v>
                </c:pt>
                <c:pt idx="1581">
                  <c:v>39148</c:v>
                </c:pt>
                <c:pt idx="1582">
                  <c:v>39149</c:v>
                </c:pt>
                <c:pt idx="1583">
                  <c:v>39150</c:v>
                </c:pt>
                <c:pt idx="1584">
                  <c:v>39153</c:v>
                </c:pt>
                <c:pt idx="1585">
                  <c:v>39154</c:v>
                </c:pt>
                <c:pt idx="1586">
                  <c:v>39155</c:v>
                </c:pt>
                <c:pt idx="1587">
                  <c:v>39156</c:v>
                </c:pt>
                <c:pt idx="1588">
                  <c:v>39157</c:v>
                </c:pt>
                <c:pt idx="1589">
                  <c:v>39160</c:v>
                </c:pt>
                <c:pt idx="1590">
                  <c:v>39161</c:v>
                </c:pt>
                <c:pt idx="1591">
                  <c:v>39162</c:v>
                </c:pt>
                <c:pt idx="1592">
                  <c:v>39163</c:v>
                </c:pt>
                <c:pt idx="1593">
                  <c:v>39164</c:v>
                </c:pt>
                <c:pt idx="1594">
                  <c:v>39167</c:v>
                </c:pt>
                <c:pt idx="1595">
                  <c:v>39168</c:v>
                </c:pt>
                <c:pt idx="1596">
                  <c:v>39169</c:v>
                </c:pt>
                <c:pt idx="1597">
                  <c:v>39170</c:v>
                </c:pt>
                <c:pt idx="1598">
                  <c:v>39171</c:v>
                </c:pt>
                <c:pt idx="1599">
                  <c:v>39174</c:v>
                </c:pt>
                <c:pt idx="1600">
                  <c:v>39175</c:v>
                </c:pt>
                <c:pt idx="1601">
                  <c:v>39176</c:v>
                </c:pt>
                <c:pt idx="1602">
                  <c:v>39177</c:v>
                </c:pt>
                <c:pt idx="1603">
                  <c:v>39182</c:v>
                </c:pt>
                <c:pt idx="1604">
                  <c:v>39183</c:v>
                </c:pt>
                <c:pt idx="1605">
                  <c:v>39184</c:v>
                </c:pt>
                <c:pt idx="1606">
                  <c:v>39185</c:v>
                </c:pt>
                <c:pt idx="1607">
                  <c:v>39188</c:v>
                </c:pt>
                <c:pt idx="1608">
                  <c:v>39189</c:v>
                </c:pt>
                <c:pt idx="1609">
                  <c:v>39190</c:v>
                </c:pt>
                <c:pt idx="1610">
                  <c:v>39191</c:v>
                </c:pt>
                <c:pt idx="1611">
                  <c:v>39192</c:v>
                </c:pt>
                <c:pt idx="1612">
                  <c:v>39195</c:v>
                </c:pt>
                <c:pt idx="1613">
                  <c:v>39196</c:v>
                </c:pt>
                <c:pt idx="1614">
                  <c:v>39197</c:v>
                </c:pt>
                <c:pt idx="1615">
                  <c:v>39198</c:v>
                </c:pt>
                <c:pt idx="1616">
                  <c:v>39199</c:v>
                </c:pt>
                <c:pt idx="1617">
                  <c:v>39202</c:v>
                </c:pt>
                <c:pt idx="1618">
                  <c:v>39203</c:v>
                </c:pt>
                <c:pt idx="1619">
                  <c:v>39204</c:v>
                </c:pt>
                <c:pt idx="1620">
                  <c:v>39205</c:v>
                </c:pt>
                <c:pt idx="1621">
                  <c:v>39206</c:v>
                </c:pt>
                <c:pt idx="1622">
                  <c:v>39209</c:v>
                </c:pt>
                <c:pt idx="1623">
                  <c:v>39210</c:v>
                </c:pt>
                <c:pt idx="1624">
                  <c:v>39211</c:v>
                </c:pt>
                <c:pt idx="1625">
                  <c:v>39212</c:v>
                </c:pt>
                <c:pt idx="1626">
                  <c:v>39213</c:v>
                </c:pt>
                <c:pt idx="1627">
                  <c:v>39216</c:v>
                </c:pt>
                <c:pt idx="1628">
                  <c:v>39217</c:v>
                </c:pt>
                <c:pt idx="1629">
                  <c:v>39218</c:v>
                </c:pt>
                <c:pt idx="1630">
                  <c:v>39219</c:v>
                </c:pt>
                <c:pt idx="1631">
                  <c:v>39220</c:v>
                </c:pt>
                <c:pt idx="1632">
                  <c:v>39223</c:v>
                </c:pt>
                <c:pt idx="1633">
                  <c:v>39224</c:v>
                </c:pt>
                <c:pt idx="1634">
                  <c:v>39225</c:v>
                </c:pt>
                <c:pt idx="1635">
                  <c:v>39226</c:v>
                </c:pt>
                <c:pt idx="1636">
                  <c:v>39227</c:v>
                </c:pt>
                <c:pt idx="1637">
                  <c:v>39230</c:v>
                </c:pt>
                <c:pt idx="1638">
                  <c:v>39231</c:v>
                </c:pt>
                <c:pt idx="1639">
                  <c:v>39232</c:v>
                </c:pt>
                <c:pt idx="1640">
                  <c:v>39233</c:v>
                </c:pt>
                <c:pt idx="1641">
                  <c:v>39234</c:v>
                </c:pt>
                <c:pt idx="1642">
                  <c:v>39237</c:v>
                </c:pt>
                <c:pt idx="1643">
                  <c:v>39238</c:v>
                </c:pt>
                <c:pt idx="1644">
                  <c:v>39239</c:v>
                </c:pt>
                <c:pt idx="1645">
                  <c:v>39240</c:v>
                </c:pt>
                <c:pt idx="1646">
                  <c:v>39241</c:v>
                </c:pt>
                <c:pt idx="1647">
                  <c:v>39244</c:v>
                </c:pt>
                <c:pt idx="1648">
                  <c:v>39245</c:v>
                </c:pt>
                <c:pt idx="1649">
                  <c:v>39246</c:v>
                </c:pt>
                <c:pt idx="1650">
                  <c:v>39247</c:v>
                </c:pt>
                <c:pt idx="1651">
                  <c:v>39248</c:v>
                </c:pt>
                <c:pt idx="1652">
                  <c:v>39251</c:v>
                </c:pt>
                <c:pt idx="1653">
                  <c:v>39252</c:v>
                </c:pt>
                <c:pt idx="1654">
                  <c:v>39253</c:v>
                </c:pt>
                <c:pt idx="1655">
                  <c:v>39254</c:v>
                </c:pt>
                <c:pt idx="1656">
                  <c:v>39255</c:v>
                </c:pt>
                <c:pt idx="1657">
                  <c:v>39258</c:v>
                </c:pt>
                <c:pt idx="1658">
                  <c:v>39259</c:v>
                </c:pt>
                <c:pt idx="1659">
                  <c:v>39260</c:v>
                </c:pt>
                <c:pt idx="1660">
                  <c:v>39261</c:v>
                </c:pt>
                <c:pt idx="1661">
                  <c:v>39262</c:v>
                </c:pt>
                <c:pt idx="1662">
                  <c:v>39265</c:v>
                </c:pt>
                <c:pt idx="1663">
                  <c:v>39266</c:v>
                </c:pt>
                <c:pt idx="1664">
                  <c:v>39267</c:v>
                </c:pt>
                <c:pt idx="1665">
                  <c:v>39268</c:v>
                </c:pt>
                <c:pt idx="1666">
                  <c:v>39269</c:v>
                </c:pt>
                <c:pt idx="1667">
                  <c:v>39272</c:v>
                </c:pt>
                <c:pt idx="1668">
                  <c:v>39273</c:v>
                </c:pt>
                <c:pt idx="1669">
                  <c:v>39274</c:v>
                </c:pt>
                <c:pt idx="1670">
                  <c:v>39275</c:v>
                </c:pt>
                <c:pt idx="1671">
                  <c:v>39276</c:v>
                </c:pt>
                <c:pt idx="1672">
                  <c:v>39279</c:v>
                </c:pt>
                <c:pt idx="1673">
                  <c:v>39280</c:v>
                </c:pt>
                <c:pt idx="1674">
                  <c:v>39281</c:v>
                </c:pt>
                <c:pt idx="1675">
                  <c:v>39282</c:v>
                </c:pt>
                <c:pt idx="1676">
                  <c:v>39283</c:v>
                </c:pt>
                <c:pt idx="1677">
                  <c:v>39286</c:v>
                </c:pt>
                <c:pt idx="1678">
                  <c:v>39287</c:v>
                </c:pt>
                <c:pt idx="1679">
                  <c:v>39288</c:v>
                </c:pt>
                <c:pt idx="1680">
                  <c:v>39289</c:v>
                </c:pt>
                <c:pt idx="1681">
                  <c:v>39290</c:v>
                </c:pt>
                <c:pt idx="1682">
                  <c:v>39293</c:v>
                </c:pt>
                <c:pt idx="1683">
                  <c:v>39294</c:v>
                </c:pt>
                <c:pt idx="1684">
                  <c:v>39295</c:v>
                </c:pt>
                <c:pt idx="1685">
                  <c:v>39296</c:v>
                </c:pt>
                <c:pt idx="1686">
                  <c:v>39297</c:v>
                </c:pt>
                <c:pt idx="1687">
                  <c:v>39300</c:v>
                </c:pt>
                <c:pt idx="1688">
                  <c:v>39301</c:v>
                </c:pt>
                <c:pt idx="1689">
                  <c:v>39302</c:v>
                </c:pt>
                <c:pt idx="1690">
                  <c:v>39303</c:v>
                </c:pt>
                <c:pt idx="1691">
                  <c:v>39304</c:v>
                </c:pt>
                <c:pt idx="1692">
                  <c:v>39307</c:v>
                </c:pt>
                <c:pt idx="1693">
                  <c:v>39308</c:v>
                </c:pt>
                <c:pt idx="1694">
                  <c:v>39309</c:v>
                </c:pt>
                <c:pt idx="1695">
                  <c:v>39310</c:v>
                </c:pt>
                <c:pt idx="1696">
                  <c:v>39311</c:v>
                </c:pt>
                <c:pt idx="1697">
                  <c:v>39314</c:v>
                </c:pt>
                <c:pt idx="1698">
                  <c:v>39315</c:v>
                </c:pt>
                <c:pt idx="1699">
                  <c:v>39316</c:v>
                </c:pt>
                <c:pt idx="1700">
                  <c:v>39317</c:v>
                </c:pt>
                <c:pt idx="1701">
                  <c:v>39318</c:v>
                </c:pt>
                <c:pt idx="1702">
                  <c:v>39321</c:v>
                </c:pt>
                <c:pt idx="1703">
                  <c:v>39322</c:v>
                </c:pt>
                <c:pt idx="1704">
                  <c:v>39323</c:v>
                </c:pt>
                <c:pt idx="1705">
                  <c:v>39324</c:v>
                </c:pt>
                <c:pt idx="1706">
                  <c:v>39325</c:v>
                </c:pt>
                <c:pt idx="1707">
                  <c:v>39328</c:v>
                </c:pt>
                <c:pt idx="1708">
                  <c:v>39329</c:v>
                </c:pt>
                <c:pt idx="1709">
                  <c:v>39330</c:v>
                </c:pt>
                <c:pt idx="1710">
                  <c:v>39331</c:v>
                </c:pt>
                <c:pt idx="1711">
                  <c:v>39332</c:v>
                </c:pt>
                <c:pt idx="1712">
                  <c:v>39335</c:v>
                </c:pt>
                <c:pt idx="1713">
                  <c:v>39336</c:v>
                </c:pt>
                <c:pt idx="1714">
                  <c:v>39337</c:v>
                </c:pt>
                <c:pt idx="1715">
                  <c:v>39338</c:v>
                </c:pt>
                <c:pt idx="1716">
                  <c:v>39339</c:v>
                </c:pt>
                <c:pt idx="1717">
                  <c:v>39342</c:v>
                </c:pt>
                <c:pt idx="1718">
                  <c:v>39343</c:v>
                </c:pt>
                <c:pt idx="1719">
                  <c:v>39344</c:v>
                </c:pt>
                <c:pt idx="1720">
                  <c:v>39345</c:v>
                </c:pt>
                <c:pt idx="1721">
                  <c:v>39346</c:v>
                </c:pt>
                <c:pt idx="1722">
                  <c:v>39349</c:v>
                </c:pt>
                <c:pt idx="1723">
                  <c:v>39350</c:v>
                </c:pt>
                <c:pt idx="1724">
                  <c:v>39351</c:v>
                </c:pt>
                <c:pt idx="1725">
                  <c:v>39352</c:v>
                </c:pt>
                <c:pt idx="1726">
                  <c:v>39353</c:v>
                </c:pt>
                <c:pt idx="1727">
                  <c:v>39356</c:v>
                </c:pt>
                <c:pt idx="1728">
                  <c:v>39357</c:v>
                </c:pt>
                <c:pt idx="1729">
                  <c:v>39358</c:v>
                </c:pt>
                <c:pt idx="1730">
                  <c:v>39359</c:v>
                </c:pt>
                <c:pt idx="1731">
                  <c:v>39360</c:v>
                </c:pt>
                <c:pt idx="1732">
                  <c:v>39363</c:v>
                </c:pt>
                <c:pt idx="1733">
                  <c:v>39364</c:v>
                </c:pt>
                <c:pt idx="1734">
                  <c:v>39365</c:v>
                </c:pt>
                <c:pt idx="1735">
                  <c:v>39366</c:v>
                </c:pt>
                <c:pt idx="1736">
                  <c:v>39367</c:v>
                </c:pt>
                <c:pt idx="1737">
                  <c:v>39370</c:v>
                </c:pt>
                <c:pt idx="1738">
                  <c:v>39371</c:v>
                </c:pt>
                <c:pt idx="1739">
                  <c:v>39372</c:v>
                </c:pt>
                <c:pt idx="1740">
                  <c:v>39373</c:v>
                </c:pt>
                <c:pt idx="1741">
                  <c:v>39374</c:v>
                </c:pt>
                <c:pt idx="1742">
                  <c:v>39377</c:v>
                </c:pt>
                <c:pt idx="1743">
                  <c:v>39378</c:v>
                </c:pt>
                <c:pt idx="1744">
                  <c:v>39379</c:v>
                </c:pt>
                <c:pt idx="1745">
                  <c:v>39380</c:v>
                </c:pt>
                <c:pt idx="1746">
                  <c:v>39381</c:v>
                </c:pt>
                <c:pt idx="1747">
                  <c:v>39384</c:v>
                </c:pt>
                <c:pt idx="1748">
                  <c:v>39385</c:v>
                </c:pt>
                <c:pt idx="1749">
                  <c:v>39386</c:v>
                </c:pt>
                <c:pt idx="1750">
                  <c:v>39387</c:v>
                </c:pt>
                <c:pt idx="1751">
                  <c:v>39388</c:v>
                </c:pt>
                <c:pt idx="1752">
                  <c:v>39391</c:v>
                </c:pt>
                <c:pt idx="1753">
                  <c:v>39392</c:v>
                </c:pt>
                <c:pt idx="1754">
                  <c:v>39393</c:v>
                </c:pt>
                <c:pt idx="1755">
                  <c:v>39394</c:v>
                </c:pt>
                <c:pt idx="1756">
                  <c:v>39395</c:v>
                </c:pt>
                <c:pt idx="1757">
                  <c:v>39398</c:v>
                </c:pt>
                <c:pt idx="1758">
                  <c:v>39399</c:v>
                </c:pt>
                <c:pt idx="1759">
                  <c:v>39400</c:v>
                </c:pt>
                <c:pt idx="1760">
                  <c:v>39401</c:v>
                </c:pt>
                <c:pt idx="1761">
                  <c:v>39402</c:v>
                </c:pt>
                <c:pt idx="1762">
                  <c:v>39405</c:v>
                </c:pt>
                <c:pt idx="1763">
                  <c:v>39406</c:v>
                </c:pt>
                <c:pt idx="1764">
                  <c:v>39407</c:v>
                </c:pt>
                <c:pt idx="1765">
                  <c:v>39408</c:v>
                </c:pt>
                <c:pt idx="1766">
                  <c:v>39409</c:v>
                </c:pt>
                <c:pt idx="1767">
                  <c:v>39412</c:v>
                </c:pt>
                <c:pt idx="1768">
                  <c:v>39413</c:v>
                </c:pt>
                <c:pt idx="1769">
                  <c:v>39414</c:v>
                </c:pt>
                <c:pt idx="1770">
                  <c:v>39415</c:v>
                </c:pt>
                <c:pt idx="1771">
                  <c:v>39416</c:v>
                </c:pt>
                <c:pt idx="1772">
                  <c:v>39419</c:v>
                </c:pt>
                <c:pt idx="1773">
                  <c:v>39420</c:v>
                </c:pt>
                <c:pt idx="1774">
                  <c:v>39421</c:v>
                </c:pt>
                <c:pt idx="1775">
                  <c:v>39422</c:v>
                </c:pt>
                <c:pt idx="1776">
                  <c:v>39423</c:v>
                </c:pt>
                <c:pt idx="1777">
                  <c:v>39426</c:v>
                </c:pt>
                <c:pt idx="1778">
                  <c:v>39427</c:v>
                </c:pt>
                <c:pt idx="1779">
                  <c:v>39428</c:v>
                </c:pt>
                <c:pt idx="1780">
                  <c:v>39429</c:v>
                </c:pt>
                <c:pt idx="1781">
                  <c:v>39430</c:v>
                </c:pt>
                <c:pt idx="1782">
                  <c:v>39433</c:v>
                </c:pt>
                <c:pt idx="1783">
                  <c:v>39434</c:v>
                </c:pt>
                <c:pt idx="1784">
                  <c:v>39435</c:v>
                </c:pt>
                <c:pt idx="1785">
                  <c:v>39436</c:v>
                </c:pt>
                <c:pt idx="1786">
                  <c:v>39437</c:v>
                </c:pt>
                <c:pt idx="1787">
                  <c:v>39440</c:v>
                </c:pt>
                <c:pt idx="1788">
                  <c:v>39443</c:v>
                </c:pt>
                <c:pt idx="1789">
                  <c:v>39444</c:v>
                </c:pt>
                <c:pt idx="1790">
                  <c:v>39447</c:v>
                </c:pt>
                <c:pt idx="1791">
                  <c:v>39449</c:v>
                </c:pt>
                <c:pt idx="1792">
                  <c:v>39450</c:v>
                </c:pt>
                <c:pt idx="1793">
                  <c:v>39451</c:v>
                </c:pt>
                <c:pt idx="1794">
                  <c:v>39454</c:v>
                </c:pt>
                <c:pt idx="1795">
                  <c:v>39455</c:v>
                </c:pt>
                <c:pt idx="1796">
                  <c:v>39456</c:v>
                </c:pt>
                <c:pt idx="1797">
                  <c:v>39457</c:v>
                </c:pt>
                <c:pt idx="1798">
                  <c:v>39458</c:v>
                </c:pt>
                <c:pt idx="1799">
                  <c:v>39461</c:v>
                </c:pt>
                <c:pt idx="1800">
                  <c:v>39462</c:v>
                </c:pt>
                <c:pt idx="1801">
                  <c:v>39463</c:v>
                </c:pt>
                <c:pt idx="1802">
                  <c:v>39464</c:v>
                </c:pt>
                <c:pt idx="1803">
                  <c:v>39465</c:v>
                </c:pt>
                <c:pt idx="1804">
                  <c:v>39468</c:v>
                </c:pt>
                <c:pt idx="1805">
                  <c:v>39469</c:v>
                </c:pt>
                <c:pt idx="1806">
                  <c:v>39470</c:v>
                </c:pt>
                <c:pt idx="1807">
                  <c:v>39471</c:v>
                </c:pt>
                <c:pt idx="1808">
                  <c:v>39472</c:v>
                </c:pt>
                <c:pt idx="1809">
                  <c:v>39475</c:v>
                </c:pt>
                <c:pt idx="1810">
                  <c:v>39476</c:v>
                </c:pt>
                <c:pt idx="1811">
                  <c:v>39477</c:v>
                </c:pt>
                <c:pt idx="1812">
                  <c:v>39478</c:v>
                </c:pt>
                <c:pt idx="1813">
                  <c:v>39479</c:v>
                </c:pt>
                <c:pt idx="1814">
                  <c:v>39482</c:v>
                </c:pt>
                <c:pt idx="1815">
                  <c:v>39483</c:v>
                </c:pt>
                <c:pt idx="1816">
                  <c:v>39484</c:v>
                </c:pt>
                <c:pt idx="1817">
                  <c:v>39485</c:v>
                </c:pt>
                <c:pt idx="1818">
                  <c:v>39486</c:v>
                </c:pt>
                <c:pt idx="1819">
                  <c:v>39489</c:v>
                </c:pt>
                <c:pt idx="1820">
                  <c:v>39490</c:v>
                </c:pt>
                <c:pt idx="1821">
                  <c:v>39491</c:v>
                </c:pt>
                <c:pt idx="1822">
                  <c:v>39492</c:v>
                </c:pt>
                <c:pt idx="1823">
                  <c:v>39493</c:v>
                </c:pt>
                <c:pt idx="1824">
                  <c:v>39496</c:v>
                </c:pt>
                <c:pt idx="1825">
                  <c:v>39497</c:v>
                </c:pt>
                <c:pt idx="1826">
                  <c:v>39498</c:v>
                </c:pt>
                <c:pt idx="1827">
                  <c:v>39499</c:v>
                </c:pt>
                <c:pt idx="1828">
                  <c:v>39500</c:v>
                </c:pt>
                <c:pt idx="1829">
                  <c:v>39503</c:v>
                </c:pt>
                <c:pt idx="1830">
                  <c:v>39504</c:v>
                </c:pt>
                <c:pt idx="1831">
                  <c:v>39505</c:v>
                </c:pt>
                <c:pt idx="1832">
                  <c:v>39506</c:v>
                </c:pt>
                <c:pt idx="1833">
                  <c:v>39507</c:v>
                </c:pt>
                <c:pt idx="1834">
                  <c:v>39510</c:v>
                </c:pt>
                <c:pt idx="1835">
                  <c:v>39511</c:v>
                </c:pt>
                <c:pt idx="1836">
                  <c:v>39512</c:v>
                </c:pt>
                <c:pt idx="1837">
                  <c:v>39513</c:v>
                </c:pt>
                <c:pt idx="1838">
                  <c:v>39514</c:v>
                </c:pt>
                <c:pt idx="1839">
                  <c:v>39517</c:v>
                </c:pt>
                <c:pt idx="1840">
                  <c:v>39518</c:v>
                </c:pt>
                <c:pt idx="1841">
                  <c:v>39519</c:v>
                </c:pt>
                <c:pt idx="1842">
                  <c:v>39520</c:v>
                </c:pt>
                <c:pt idx="1843">
                  <c:v>39521</c:v>
                </c:pt>
                <c:pt idx="1844">
                  <c:v>39524</c:v>
                </c:pt>
                <c:pt idx="1845">
                  <c:v>39525</c:v>
                </c:pt>
                <c:pt idx="1846">
                  <c:v>39526</c:v>
                </c:pt>
                <c:pt idx="1847">
                  <c:v>39527</c:v>
                </c:pt>
                <c:pt idx="1848">
                  <c:v>39532</c:v>
                </c:pt>
                <c:pt idx="1849">
                  <c:v>39533</c:v>
                </c:pt>
                <c:pt idx="1850">
                  <c:v>39534</c:v>
                </c:pt>
                <c:pt idx="1851">
                  <c:v>39535</c:v>
                </c:pt>
                <c:pt idx="1852">
                  <c:v>39538</c:v>
                </c:pt>
                <c:pt idx="1853">
                  <c:v>39539</c:v>
                </c:pt>
                <c:pt idx="1854">
                  <c:v>39540</c:v>
                </c:pt>
                <c:pt idx="1855">
                  <c:v>39541</c:v>
                </c:pt>
                <c:pt idx="1856">
                  <c:v>39542</c:v>
                </c:pt>
                <c:pt idx="1857">
                  <c:v>39545</c:v>
                </c:pt>
                <c:pt idx="1858">
                  <c:v>39546</c:v>
                </c:pt>
                <c:pt idx="1859">
                  <c:v>39547</c:v>
                </c:pt>
                <c:pt idx="1860">
                  <c:v>39548</c:v>
                </c:pt>
                <c:pt idx="1861">
                  <c:v>39549</c:v>
                </c:pt>
                <c:pt idx="1862">
                  <c:v>39552</c:v>
                </c:pt>
                <c:pt idx="1863">
                  <c:v>39553</c:v>
                </c:pt>
                <c:pt idx="1864">
                  <c:v>39554</c:v>
                </c:pt>
                <c:pt idx="1865">
                  <c:v>39555</c:v>
                </c:pt>
                <c:pt idx="1866">
                  <c:v>39556</c:v>
                </c:pt>
                <c:pt idx="1867">
                  <c:v>39559</c:v>
                </c:pt>
                <c:pt idx="1868">
                  <c:v>39560</c:v>
                </c:pt>
                <c:pt idx="1869">
                  <c:v>39561</c:v>
                </c:pt>
                <c:pt idx="1870">
                  <c:v>39562</c:v>
                </c:pt>
                <c:pt idx="1871">
                  <c:v>39563</c:v>
                </c:pt>
                <c:pt idx="1872">
                  <c:v>39566</c:v>
                </c:pt>
                <c:pt idx="1873">
                  <c:v>39567</c:v>
                </c:pt>
                <c:pt idx="1874">
                  <c:v>39568</c:v>
                </c:pt>
                <c:pt idx="1875">
                  <c:v>39569</c:v>
                </c:pt>
                <c:pt idx="1876">
                  <c:v>39570</c:v>
                </c:pt>
                <c:pt idx="1877">
                  <c:v>39573</c:v>
                </c:pt>
                <c:pt idx="1878">
                  <c:v>39574</c:v>
                </c:pt>
                <c:pt idx="1879">
                  <c:v>39575</c:v>
                </c:pt>
                <c:pt idx="1880">
                  <c:v>39576</c:v>
                </c:pt>
                <c:pt idx="1881">
                  <c:v>39577</c:v>
                </c:pt>
                <c:pt idx="1882">
                  <c:v>39580</c:v>
                </c:pt>
                <c:pt idx="1883">
                  <c:v>39581</c:v>
                </c:pt>
                <c:pt idx="1884">
                  <c:v>39582</c:v>
                </c:pt>
                <c:pt idx="1885">
                  <c:v>39583</c:v>
                </c:pt>
                <c:pt idx="1886">
                  <c:v>39584</c:v>
                </c:pt>
                <c:pt idx="1887">
                  <c:v>39587</c:v>
                </c:pt>
                <c:pt idx="1888">
                  <c:v>39588</c:v>
                </c:pt>
                <c:pt idx="1889">
                  <c:v>39589</c:v>
                </c:pt>
                <c:pt idx="1890">
                  <c:v>39590</c:v>
                </c:pt>
                <c:pt idx="1891">
                  <c:v>39591</c:v>
                </c:pt>
                <c:pt idx="1892">
                  <c:v>39594</c:v>
                </c:pt>
                <c:pt idx="1893">
                  <c:v>39595</c:v>
                </c:pt>
                <c:pt idx="1894">
                  <c:v>39596</c:v>
                </c:pt>
                <c:pt idx="1895">
                  <c:v>39597</c:v>
                </c:pt>
                <c:pt idx="1896">
                  <c:v>39598</c:v>
                </c:pt>
                <c:pt idx="1897">
                  <c:v>39601</c:v>
                </c:pt>
                <c:pt idx="1898">
                  <c:v>39602</c:v>
                </c:pt>
                <c:pt idx="1899">
                  <c:v>39603</c:v>
                </c:pt>
                <c:pt idx="1900">
                  <c:v>39604</c:v>
                </c:pt>
                <c:pt idx="1901">
                  <c:v>39605</c:v>
                </c:pt>
                <c:pt idx="1902">
                  <c:v>39608</c:v>
                </c:pt>
                <c:pt idx="1903">
                  <c:v>39609</c:v>
                </c:pt>
                <c:pt idx="1904">
                  <c:v>39610</c:v>
                </c:pt>
                <c:pt idx="1905">
                  <c:v>39611</c:v>
                </c:pt>
                <c:pt idx="1906">
                  <c:v>39612</c:v>
                </c:pt>
                <c:pt idx="1907">
                  <c:v>39615</c:v>
                </c:pt>
                <c:pt idx="1908">
                  <c:v>39616</c:v>
                </c:pt>
                <c:pt idx="1909">
                  <c:v>39617</c:v>
                </c:pt>
                <c:pt idx="1910">
                  <c:v>39618</c:v>
                </c:pt>
                <c:pt idx="1911">
                  <c:v>39619</c:v>
                </c:pt>
                <c:pt idx="1912">
                  <c:v>39622</c:v>
                </c:pt>
                <c:pt idx="1913">
                  <c:v>39623</c:v>
                </c:pt>
                <c:pt idx="1914">
                  <c:v>39624</c:v>
                </c:pt>
                <c:pt idx="1915">
                  <c:v>39625</c:v>
                </c:pt>
                <c:pt idx="1916">
                  <c:v>39626</c:v>
                </c:pt>
                <c:pt idx="1917">
                  <c:v>39629</c:v>
                </c:pt>
                <c:pt idx="1918">
                  <c:v>39630</c:v>
                </c:pt>
                <c:pt idx="1919">
                  <c:v>39631</c:v>
                </c:pt>
                <c:pt idx="1920">
                  <c:v>39632</c:v>
                </c:pt>
                <c:pt idx="1921">
                  <c:v>39633</c:v>
                </c:pt>
                <c:pt idx="1922">
                  <c:v>39636</c:v>
                </c:pt>
                <c:pt idx="1923">
                  <c:v>39637</c:v>
                </c:pt>
                <c:pt idx="1924">
                  <c:v>39638</c:v>
                </c:pt>
                <c:pt idx="1925">
                  <c:v>39639</c:v>
                </c:pt>
                <c:pt idx="1926">
                  <c:v>39640</c:v>
                </c:pt>
                <c:pt idx="1927">
                  <c:v>39643</c:v>
                </c:pt>
                <c:pt idx="1928">
                  <c:v>39644</c:v>
                </c:pt>
                <c:pt idx="1929">
                  <c:v>39645</c:v>
                </c:pt>
                <c:pt idx="1930">
                  <c:v>39646</c:v>
                </c:pt>
                <c:pt idx="1931">
                  <c:v>39647</c:v>
                </c:pt>
                <c:pt idx="1932">
                  <c:v>39650</c:v>
                </c:pt>
                <c:pt idx="1933">
                  <c:v>39651</c:v>
                </c:pt>
                <c:pt idx="1934">
                  <c:v>39652</c:v>
                </c:pt>
                <c:pt idx="1935">
                  <c:v>39653</c:v>
                </c:pt>
                <c:pt idx="1936">
                  <c:v>39654</c:v>
                </c:pt>
                <c:pt idx="1937">
                  <c:v>39657</c:v>
                </c:pt>
                <c:pt idx="1938">
                  <c:v>39658</c:v>
                </c:pt>
                <c:pt idx="1939">
                  <c:v>39659</c:v>
                </c:pt>
                <c:pt idx="1940">
                  <c:v>39660</c:v>
                </c:pt>
                <c:pt idx="1941">
                  <c:v>39661</c:v>
                </c:pt>
                <c:pt idx="1942">
                  <c:v>39664</c:v>
                </c:pt>
                <c:pt idx="1943">
                  <c:v>39665</c:v>
                </c:pt>
                <c:pt idx="1944">
                  <c:v>39666</c:v>
                </c:pt>
                <c:pt idx="1945">
                  <c:v>39667</c:v>
                </c:pt>
                <c:pt idx="1946">
                  <c:v>39668</c:v>
                </c:pt>
                <c:pt idx="1947">
                  <c:v>39671</c:v>
                </c:pt>
                <c:pt idx="1948">
                  <c:v>39672</c:v>
                </c:pt>
                <c:pt idx="1949">
                  <c:v>39673</c:v>
                </c:pt>
                <c:pt idx="1950">
                  <c:v>39674</c:v>
                </c:pt>
                <c:pt idx="1951">
                  <c:v>39675</c:v>
                </c:pt>
                <c:pt idx="1952">
                  <c:v>39678</c:v>
                </c:pt>
                <c:pt idx="1953">
                  <c:v>39679</c:v>
                </c:pt>
                <c:pt idx="1954">
                  <c:v>39680</c:v>
                </c:pt>
                <c:pt idx="1955">
                  <c:v>39681</c:v>
                </c:pt>
                <c:pt idx="1956">
                  <c:v>39682</c:v>
                </c:pt>
                <c:pt idx="1957">
                  <c:v>39685</c:v>
                </c:pt>
                <c:pt idx="1958">
                  <c:v>39686</c:v>
                </c:pt>
                <c:pt idx="1959">
                  <c:v>39687</c:v>
                </c:pt>
                <c:pt idx="1960">
                  <c:v>39688</c:v>
                </c:pt>
                <c:pt idx="1961">
                  <c:v>39689</c:v>
                </c:pt>
                <c:pt idx="1962">
                  <c:v>39692</c:v>
                </c:pt>
                <c:pt idx="1963">
                  <c:v>39693</c:v>
                </c:pt>
                <c:pt idx="1964">
                  <c:v>39694</c:v>
                </c:pt>
                <c:pt idx="1965">
                  <c:v>39695</c:v>
                </c:pt>
                <c:pt idx="1966">
                  <c:v>39696</c:v>
                </c:pt>
                <c:pt idx="1967">
                  <c:v>39699</c:v>
                </c:pt>
                <c:pt idx="1968">
                  <c:v>39700</c:v>
                </c:pt>
                <c:pt idx="1969">
                  <c:v>39701</c:v>
                </c:pt>
                <c:pt idx="1970">
                  <c:v>39702</c:v>
                </c:pt>
                <c:pt idx="1971">
                  <c:v>39703</c:v>
                </c:pt>
                <c:pt idx="1972">
                  <c:v>39706</c:v>
                </c:pt>
                <c:pt idx="1973">
                  <c:v>39707</c:v>
                </c:pt>
                <c:pt idx="1974">
                  <c:v>39708</c:v>
                </c:pt>
                <c:pt idx="1975">
                  <c:v>39709</c:v>
                </c:pt>
                <c:pt idx="1976">
                  <c:v>39710</c:v>
                </c:pt>
                <c:pt idx="1977">
                  <c:v>39713</c:v>
                </c:pt>
                <c:pt idx="1978">
                  <c:v>39714</c:v>
                </c:pt>
                <c:pt idx="1979">
                  <c:v>39715</c:v>
                </c:pt>
                <c:pt idx="1980">
                  <c:v>39716</c:v>
                </c:pt>
                <c:pt idx="1981">
                  <c:v>39717</c:v>
                </c:pt>
                <c:pt idx="1982">
                  <c:v>39720</c:v>
                </c:pt>
                <c:pt idx="1983">
                  <c:v>39721</c:v>
                </c:pt>
                <c:pt idx="1984">
                  <c:v>39722</c:v>
                </c:pt>
                <c:pt idx="1985">
                  <c:v>39723</c:v>
                </c:pt>
                <c:pt idx="1986">
                  <c:v>39724</c:v>
                </c:pt>
                <c:pt idx="1987">
                  <c:v>39727</c:v>
                </c:pt>
                <c:pt idx="1988">
                  <c:v>39728</c:v>
                </c:pt>
                <c:pt idx="1989">
                  <c:v>39729</c:v>
                </c:pt>
                <c:pt idx="1990">
                  <c:v>39730</c:v>
                </c:pt>
                <c:pt idx="1991">
                  <c:v>39731</c:v>
                </c:pt>
                <c:pt idx="1992">
                  <c:v>39734</c:v>
                </c:pt>
                <c:pt idx="1993">
                  <c:v>39735</c:v>
                </c:pt>
                <c:pt idx="1994">
                  <c:v>39736</c:v>
                </c:pt>
                <c:pt idx="1995">
                  <c:v>39737</c:v>
                </c:pt>
                <c:pt idx="1996">
                  <c:v>39738</c:v>
                </c:pt>
                <c:pt idx="1997">
                  <c:v>39741</c:v>
                </c:pt>
                <c:pt idx="1998">
                  <c:v>39742</c:v>
                </c:pt>
                <c:pt idx="1999">
                  <c:v>39743</c:v>
                </c:pt>
                <c:pt idx="2000">
                  <c:v>39744</c:v>
                </c:pt>
                <c:pt idx="2001">
                  <c:v>39745</c:v>
                </c:pt>
                <c:pt idx="2002">
                  <c:v>39748</c:v>
                </c:pt>
                <c:pt idx="2003">
                  <c:v>39749</c:v>
                </c:pt>
                <c:pt idx="2004">
                  <c:v>39750</c:v>
                </c:pt>
                <c:pt idx="2005">
                  <c:v>39751</c:v>
                </c:pt>
                <c:pt idx="2006">
                  <c:v>39752</c:v>
                </c:pt>
                <c:pt idx="2007">
                  <c:v>39755</c:v>
                </c:pt>
                <c:pt idx="2008">
                  <c:v>39756</c:v>
                </c:pt>
                <c:pt idx="2009">
                  <c:v>39757</c:v>
                </c:pt>
                <c:pt idx="2010">
                  <c:v>39758</c:v>
                </c:pt>
                <c:pt idx="2011">
                  <c:v>39759</c:v>
                </c:pt>
                <c:pt idx="2012">
                  <c:v>39762</c:v>
                </c:pt>
                <c:pt idx="2013">
                  <c:v>39763</c:v>
                </c:pt>
                <c:pt idx="2014">
                  <c:v>39764</c:v>
                </c:pt>
                <c:pt idx="2015">
                  <c:v>39765</c:v>
                </c:pt>
                <c:pt idx="2016">
                  <c:v>39766</c:v>
                </c:pt>
                <c:pt idx="2017">
                  <c:v>39769</c:v>
                </c:pt>
                <c:pt idx="2018">
                  <c:v>39770</c:v>
                </c:pt>
                <c:pt idx="2019">
                  <c:v>39771</c:v>
                </c:pt>
                <c:pt idx="2020">
                  <c:v>39772</c:v>
                </c:pt>
                <c:pt idx="2021">
                  <c:v>39773</c:v>
                </c:pt>
                <c:pt idx="2022">
                  <c:v>39776</c:v>
                </c:pt>
                <c:pt idx="2023">
                  <c:v>39777</c:v>
                </c:pt>
                <c:pt idx="2024">
                  <c:v>39778</c:v>
                </c:pt>
                <c:pt idx="2025">
                  <c:v>39779</c:v>
                </c:pt>
                <c:pt idx="2026">
                  <c:v>39780</c:v>
                </c:pt>
                <c:pt idx="2027">
                  <c:v>39783</c:v>
                </c:pt>
                <c:pt idx="2028">
                  <c:v>39784</c:v>
                </c:pt>
                <c:pt idx="2029">
                  <c:v>39785</c:v>
                </c:pt>
                <c:pt idx="2030">
                  <c:v>39786</c:v>
                </c:pt>
                <c:pt idx="2031">
                  <c:v>39787</c:v>
                </c:pt>
                <c:pt idx="2032">
                  <c:v>39790</c:v>
                </c:pt>
                <c:pt idx="2033">
                  <c:v>39791</c:v>
                </c:pt>
                <c:pt idx="2034">
                  <c:v>39792</c:v>
                </c:pt>
                <c:pt idx="2035">
                  <c:v>39793</c:v>
                </c:pt>
                <c:pt idx="2036">
                  <c:v>39794</c:v>
                </c:pt>
                <c:pt idx="2037">
                  <c:v>39797</c:v>
                </c:pt>
                <c:pt idx="2038">
                  <c:v>39798</c:v>
                </c:pt>
                <c:pt idx="2039">
                  <c:v>39799</c:v>
                </c:pt>
                <c:pt idx="2040">
                  <c:v>39800</c:v>
                </c:pt>
                <c:pt idx="2041">
                  <c:v>39801</c:v>
                </c:pt>
                <c:pt idx="2042">
                  <c:v>39804</c:v>
                </c:pt>
                <c:pt idx="2043">
                  <c:v>39805</c:v>
                </c:pt>
                <c:pt idx="2044">
                  <c:v>39806</c:v>
                </c:pt>
                <c:pt idx="2045">
                  <c:v>39811</c:v>
                </c:pt>
                <c:pt idx="2046">
                  <c:v>39812</c:v>
                </c:pt>
                <c:pt idx="2047">
                  <c:v>39813</c:v>
                </c:pt>
                <c:pt idx="2048">
                  <c:v>39815</c:v>
                </c:pt>
                <c:pt idx="2049">
                  <c:v>39818</c:v>
                </c:pt>
                <c:pt idx="2050">
                  <c:v>39819</c:v>
                </c:pt>
                <c:pt idx="2051">
                  <c:v>39820</c:v>
                </c:pt>
                <c:pt idx="2052">
                  <c:v>39821</c:v>
                </c:pt>
                <c:pt idx="2053">
                  <c:v>39822</c:v>
                </c:pt>
                <c:pt idx="2054">
                  <c:v>39825</c:v>
                </c:pt>
                <c:pt idx="2055">
                  <c:v>39826</c:v>
                </c:pt>
                <c:pt idx="2056">
                  <c:v>39827</c:v>
                </c:pt>
                <c:pt idx="2057">
                  <c:v>39828</c:v>
                </c:pt>
                <c:pt idx="2058">
                  <c:v>39829</c:v>
                </c:pt>
                <c:pt idx="2059">
                  <c:v>39832</c:v>
                </c:pt>
                <c:pt idx="2060">
                  <c:v>39833</c:v>
                </c:pt>
                <c:pt idx="2061">
                  <c:v>39834</c:v>
                </c:pt>
                <c:pt idx="2062">
                  <c:v>39835</c:v>
                </c:pt>
                <c:pt idx="2063">
                  <c:v>39836</c:v>
                </c:pt>
                <c:pt idx="2064">
                  <c:v>39839</c:v>
                </c:pt>
                <c:pt idx="2065">
                  <c:v>39840</c:v>
                </c:pt>
                <c:pt idx="2066">
                  <c:v>39841</c:v>
                </c:pt>
                <c:pt idx="2067">
                  <c:v>39842</c:v>
                </c:pt>
                <c:pt idx="2068">
                  <c:v>39843</c:v>
                </c:pt>
                <c:pt idx="2069">
                  <c:v>39846</c:v>
                </c:pt>
                <c:pt idx="2070">
                  <c:v>39847</c:v>
                </c:pt>
                <c:pt idx="2071">
                  <c:v>39848</c:v>
                </c:pt>
                <c:pt idx="2072">
                  <c:v>39849</c:v>
                </c:pt>
                <c:pt idx="2073">
                  <c:v>39850</c:v>
                </c:pt>
                <c:pt idx="2074">
                  <c:v>39853</c:v>
                </c:pt>
                <c:pt idx="2075">
                  <c:v>39854</c:v>
                </c:pt>
                <c:pt idx="2076">
                  <c:v>39855</c:v>
                </c:pt>
                <c:pt idx="2077">
                  <c:v>39856</c:v>
                </c:pt>
                <c:pt idx="2078">
                  <c:v>39857</c:v>
                </c:pt>
                <c:pt idx="2079">
                  <c:v>39860</c:v>
                </c:pt>
                <c:pt idx="2080">
                  <c:v>39861</c:v>
                </c:pt>
                <c:pt idx="2081">
                  <c:v>39862</c:v>
                </c:pt>
                <c:pt idx="2082">
                  <c:v>39863</c:v>
                </c:pt>
                <c:pt idx="2083">
                  <c:v>39864</c:v>
                </c:pt>
                <c:pt idx="2084">
                  <c:v>39867</c:v>
                </c:pt>
                <c:pt idx="2085">
                  <c:v>39868</c:v>
                </c:pt>
                <c:pt idx="2086">
                  <c:v>39869</c:v>
                </c:pt>
                <c:pt idx="2087">
                  <c:v>39870</c:v>
                </c:pt>
                <c:pt idx="2088">
                  <c:v>39871</c:v>
                </c:pt>
                <c:pt idx="2089">
                  <c:v>39874</c:v>
                </c:pt>
                <c:pt idx="2090">
                  <c:v>39875</c:v>
                </c:pt>
                <c:pt idx="2091">
                  <c:v>39876</c:v>
                </c:pt>
                <c:pt idx="2092">
                  <c:v>39877</c:v>
                </c:pt>
                <c:pt idx="2093">
                  <c:v>39878</c:v>
                </c:pt>
                <c:pt idx="2094">
                  <c:v>39881</c:v>
                </c:pt>
                <c:pt idx="2095">
                  <c:v>39882</c:v>
                </c:pt>
                <c:pt idx="2096">
                  <c:v>39883</c:v>
                </c:pt>
                <c:pt idx="2097">
                  <c:v>39884</c:v>
                </c:pt>
                <c:pt idx="2098">
                  <c:v>39885</c:v>
                </c:pt>
                <c:pt idx="2099">
                  <c:v>39888</c:v>
                </c:pt>
                <c:pt idx="2100">
                  <c:v>39889</c:v>
                </c:pt>
                <c:pt idx="2101">
                  <c:v>39890</c:v>
                </c:pt>
                <c:pt idx="2102">
                  <c:v>39891</c:v>
                </c:pt>
                <c:pt idx="2103">
                  <c:v>39892</c:v>
                </c:pt>
                <c:pt idx="2104">
                  <c:v>39895</c:v>
                </c:pt>
                <c:pt idx="2105">
                  <c:v>39896</c:v>
                </c:pt>
                <c:pt idx="2106">
                  <c:v>39897</c:v>
                </c:pt>
                <c:pt idx="2107">
                  <c:v>39898</c:v>
                </c:pt>
                <c:pt idx="2108">
                  <c:v>39899</c:v>
                </c:pt>
                <c:pt idx="2109">
                  <c:v>39902</c:v>
                </c:pt>
                <c:pt idx="2110">
                  <c:v>39903</c:v>
                </c:pt>
                <c:pt idx="2111">
                  <c:v>39904</c:v>
                </c:pt>
                <c:pt idx="2112">
                  <c:v>39905</c:v>
                </c:pt>
                <c:pt idx="2113">
                  <c:v>39906</c:v>
                </c:pt>
                <c:pt idx="2114">
                  <c:v>39909</c:v>
                </c:pt>
                <c:pt idx="2115">
                  <c:v>39910</c:v>
                </c:pt>
                <c:pt idx="2116">
                  <c:v>39911</c:v>
                </c:pt>
                <c:pt idx="2117">
                  <c:v>39912</c:v>
                </c:pt>
                <c:pt idx="2118">
                  <c:v>39917</c:v>
                </c:pt>
                <c:pt idx="2119">
                  <c:v>39918</c:v>
                </c:pt>
                <c:pt idx="2120">
                  <c:v>39919</c:v>
                </c:pt>
                <c:pt idx="2121">
                  <c:v>39920</c:v>
                </c:pt>
                <c:pt idx="2122">
                  <c:v>39923</c:v>
                </c:pt>
                <c:pt idx="2123">
                  <c:v>39924</c:v>
                </c:pt>
                <c:pt idx="2124">
                  <c:v>39925</c:v>
                </c:pt>
                <c:pt idx="2125">
                  <c:v>39926</c:v>
                </c:pt>
                <c:pt idx="2126">
                  <c:v>39927</c:v>
                </c:pt>
                <c:pt idx="2127">
                  <c:v>39930</c:v>
                </c:pt>
                <c:pt idx="2128">
                  <c:v>39931</c:v>
                </c:pt>
                <c:pt idx="2129">
                  <c:v>39932</c:v>
                </c:pt>
                <c:pt idx="2130">
                  <c:v>39933</c:v>
                </c:pt>
                <c:pt idx="2131">
                  <c:v>39934</c:v>
                </c:pt>
                <c:pt idx="2132">
                  <c:v>39937</c:v>
                </c:pt>
                <c:pt idx="2133">
                  <c:v>39938</c:v>
                </c:pt>
                <c:pt idx="2134">
                  <c:v>39939</c:v>
                </c:pt>
                <c:pt idx="2135">
                  <c:v>39940</c:v>
                </c:pt>
                <c:pt idx="2136">
                  <c:v>39941</c:v>
                </c:pt>
                <c:pt idx="2137">
                  <c:v>39944</c:v>
                </c:pt>
                <c:pt idx="2138">
                  <c:v>39945</c:v>
                </c:pt>
                <c:pt idx="2139">
                  <c:v>39946</c:v>
                </c:pt>
                <c:pt idx="2140">
                  <c:v>39947</c:v>
                </c:pt>
                <c:pt idx="2141">
                  <c:v>39948</c:v>
                </c:pt>
                <c:pt idx="2142">
                  <c:v>39951</c:v>
                </c:pt>
                <c:pt idx="2143">
                  <c:v>39952</c:v>
                </c:pt>
                <c:pt idx="2144">
                  <c:v>39953</c:v>
                </c:pt>
                <c:pt idx="2145">
                  <c:v>39954</c:v>
                </c:pt>
                <c:pt idx="2146">
                  <c:v>39955</c:v>
                </c:pt>
                <c:pt idx="2147">
                  <c:v>39958</c:v>
                </c:pt>
                <c:pt idx="2148">
                  <c:v>39959</c:v>
                </c:pt>
                <c:pt idx="2149">
                  <c:v>39960</c:v>
                </c:pt>
                <c:pt idx="2150">
                  <c:v>39961</c:v>
                </c:pt>
                <c:pt idx="2151">
                  <c:v>39962</c:v>
                </c:pt>
                <c:pt idx="2152">
                  <c:v>39965</c:v>
                </c:pt>
                <c:pt idx="2153">
                  <c:v>39966</c:v>
                </c:pt>
                <c:pt idx="2154">
                  <c:v>39967</c:v>
                </c:pt>
                <c:pt idx="2155">
                  <c:v>39968</c:v>
                </c:pt>
                <c:pt idx="2156">
                  <c:v>39969</c:v>
                </c:pt>
                <c:pt idx="2157">
                  <c:v>39972</c:v>
                </c:pt>
                <c:pt idx="2158">
                  <c:v>39973</c:v>
                </c:pt>
                <c:pt idx="2159">
                  <c:v>39974</c:v>
                </c:pt>
                <c:pt idx="2160">
                  <c:v>39975</c:v>
                </c:pt>
                <c:pt idx="2161">
                  <c:v>39976</c:v>
                </c:pt>
                <c:pt idx="2162">
                  <c:v>39979</c:v>
                </c:pt>
                <c:pt idx="2163">
                  <c:v>39980</c:v>
                </c:pt>
                <c:pt idx="2164">
                  <c:v>39981</c:v>
                </c:pt>
                <c:pt idx="2165">
                  <c:v>39982</c:v>
                </c:pt>
                <c:pt idx="2166">
                  <c:v>39983</c:v>
                </c:pt>
                <c:pt idx="2167">
                  <c:v>39986</c:v>
                </c:pt>
                <c:pt idx="2168">
                  <c:v>39987</c:v>
                </c:pt>
                <c:pt idx="2169">
                  <c:v>39988</c:v>
                </c:pt>
                <c:pt idx="2170">
                  <c:v>39989</c:v>
                </c:pt>
                <c:pt idx="2171">
                  <c:v>39990</c:v>
                </c:pt>
                <c:pt idx="2172">
                  <c:v>39993</c:v>
                </c:pt>
                <c:pt idx="2173">
                  <c:v>39994</c:v>
                </c:pt>
                <c:pt idx="2174">
                  <c:v>39995</c:v>
                </c:pt>
                <c:pt idx="2175">
                  <c:v>39996</c:v>
                </c:pt>
                <c:pt idx="2176">
                  <c:v>39997</c:v>
                </c:pt>
                <c:pt idx="2177">
                  <c:v>40000</c:v>
                </c:pt>
                <c:pt idx="2178">
                  <c:v>40001</c:v>
                </c:pt>
                <c:pt idx="2179">
                  <c:v>40002</c:v>
                </c:pt>
                <c:pt idx="2180">
                  <c:v>40003</c:v>
                </c:pt>
                <c:pt idx="2181">
                  <c:v>40004</c:v>
                </c:pt>
                <c:pt idx="2182">
                  <c:v>40007</c:v>
                </c:pt>
                <c:pt idx="2183">
                  <c:v>40008</c:v>
                </c:pt>
                <c:pt idx="2184">
                  <c:v>40009</c:v>
                </c:pt>
                <c:pt idx="2185">
                  <c:v>40010</c:v>
                </c:pt>
                <c:pt idx="2186">
                  <c:v>40011</c:v>
                </c:pt>
                <c:pt idx="2187">
                  <c:v>40014</c:v>
                </c:pt>
                <c:pt idx="2188">
                  <c:v>40015</c:v>
                </c:pt>
                <c:pt idx="2189">
                  <c:v>40016</c:v>
                </c:pt>
                <c:pt idx="2190">
                  <c:v>40017</c:v>
                </c:pt>
                <c:pt idx="2191">
                  <c:v>40018</c:v>
                </c:pt>
                <c:pt idx="2192">
                  <c:v>40021</c:v>
                </c:pt>
                <c:pt idx="2193">
                  <c:v>40022</c:v>
                </c:pt>
                <c:pt idx="2194">
                  <c:v>40023</c:v>
                </c:pt>
                <c:pt idx="2195">
                  <c:v>40024</c:v>
                </c:pt>
                <c:pt idx="2196">
                  <c:v>40025</c:v>
                </c:pt>
                <c:pt idx="2197">
                  <c:v>40028</c:v>
                </c:pt>
                <c:pt idx="2198">
                  <c:v>40029</c:v>
                </c:pt>
                <c:pt idx="2199">
                  <c:v>40030</c:v>
                </c:pt>
                <c:pt idx="2200">
                  <c:v>40031</c:v>
                </c:pt>
                <c:pt idx="2201">
                  <c:v>40032</c:v>
                </c:pt>
                <c:pt idx="2202">
                  <c:v>40035</c:v>
                </c:pt>
                <c:pt idx="2203">
                  <c:v>40036</c:v>
                </c:pt>
                <c:pt idx="2204">
                  <c:v>40037</c:v>
                </c:pt>
                <c:pt idx="2205">
                  <c:v>40038</c:v>
                </c:pt>
                <c:pt idx="2206">
                  <c:v>40039</c:v>
                </c:pt>
                <c:pt idx="2207">
                  <c:v>40042</c:v>
                </c:pt>
                <c:pt idx="2208">
                  <c:v>40043</c:v>
                </c:pt>
                <c:pt idx="2209">
                  <c:v>40044</c:v>
                </c:pt>
                <c:pt idx="2210">
                  <c:v>40045</c:v>
                </c:pt>
                <c:pt idx="2211">
                  <c:v>40046</c:v>
                </c:pt>
                <c:pt idx="2212">
                  <c:v>40049</c:v>
                </c:pt>
                <c:pt idx="2213">
                  <c:v>40050</c:v>
                </c:pt>
                <c:pt idx="2214">
                  <c:v>40051</c:v>
                </c:pt>
                <c:pt idx="2215">
                  <c:v>40052</c:v>
                </c:pt>
                <c:pt idx="2216">
                  <c:v>40053</c:v>
                </c:pt>
                <c:pt idx="2217">
                  <c:v>40056</c:v>
                </c:pt>
                <c:pt idx="2218">
                  <c:v>40057</c:v>
                </c:pt>
                <c:pt idx="2219">
                  <c:v>40058</c:v>
                </c:pt>
                <c:pt idx="2220">
                  <c:v>40059</c:v>
                </c:pt>
                <c:pt idx="2221">
                  <c:v>40060</c:v>
                </c:pt>
                <c:pt idx="2222">
                  <c:v>40063</c:v>
                </c:pt>
                <c:pt idx="2223">
                  <c:v>40064</c:v>
                </c:pt>
                <c:pt idx="2224">
                  <c:v>40065</c:v>
                </c:pt>
                <c:pt idx="2225">
                  <c:v>40066</c:v>
                </c:pt>
                <c:pt idx="2226">
                  <c:v>40067</c:v>
                </c:pt>
                <c:pt idx="2227">
                  <c:v>40070</c:v>
                </c:pt>
                <c:pt idx="2228">
                  <c:v>40071</c:v>
                </c:pt>
                <c:pt idx="2229">
                  <c:v>40072</c:v>
                </c:pt>
                <c:pt idx="2230">
                  <c:v>40073</c:v>
                </c:pt>
                <c:pt idx="2231">
                  <c:v>40074</c:v>
                </c:pt>
                <c:pt idx="2232">
                  <c:v>40077</c:v>
                </c:pt>
                <c:pt idx="2233">
                  <c:v>40078</c:v>
                </c:pt>
                <c:pt idx="2234">
                  <c:v>40079</c:v>
                </c:pt>
                <c:pt idx="2235">
                  <c:v>40080</c:v>
                </c:pt>
                <c:pt idx="2236">
                  <c:v>40081</c:v>
                </c:pt>
                <c:pt idx="2237">
                  <c:v>40084</c:v>
                </c:pt>
                <c:pt idx="2238">
                  <c:v>40085</c:v>
                </c:pt>
                <c:pt idx="2239">
                  <c:v>40086</c:v>
                </c:pt>
                <c:pt idx="2240">
                  <c:v>40087</c:v>
                </c:pt>
                <c:pt idx="2241">
                  <c:v>40088</c:v>
                </c:pt>
                <c:pt idx="2242">
                  <c:v>40091</c:v>
                </c:pt>
                <c:pt idx="2243">
                  <c:v>40092</c:v>
                </c:pt>
                <c:pt idx="2244">
                  <c:v>40093</c:v>
                </c:pt>
                <c:pt idx="2245">
                  <c:v>40094</c:v>
                </c:pt>
                <c:pt idx="2246">
                  <c:v>40095</c:v>
                </c:pt>
                <c:pt idx="2247">
                  <c:v>40098</c:v>
                </c:pt>
                <c:pt idx="2248">
                  <c:v>40099</c:v>
                </c:pt>
                <c:pt idx="2249">
                  <c:v>40100</c:v>
                </c:pt>
                <c:pt idx="2250">
                  <c:v>40101</c:v>
                </c:pt>
                <c:pt idx="2251">
                  <c:v>40102</c:v>
                </c:pt>
                <c:pt idx="2252">
                  <c:v>40105</c:v>
                </c:pt>
                <c:pt idx="2253">
                  <c:v>40106</c:v>
                </c:pt>
                <c:pt idx="2254">
                  <c:v>40107</c:v>
                </c:pt>
                <c:pt idx="2255">
                  <c:v>40108</c:v>
                </c:pt>
                <c:pt idx="2256">
                  <c:v>40109</c:v>
                </c:pt>
                <c:pt idx="2257">
                  <c:v>40112</c:v>
                </c:pt>
                <c:pt idx="2258">
                  <c:v>40113</c:v>
                </c:pt>
                <c:pt idx="2259">
                  <c:v>40114</c:v>
                </c:pt>
                <c:pt idx="2260">
                  <c:v>40115</c:v>
                </c:pt>
                <c:pt idx="2261">
                  <c:v>40116</c:v>
                </c:pt>
                <c:pt idx="2262">
                  <c:v>40119</c:v>
                </c:pt>
                <c:pt idx="2263">
                  <c:v>40120</c:v>
                </c:pt>
                <c:pt idx="2264">
                  <c:v>40121</c:v>
                </c:pt>
                <c:pt idx="2265">
                  <c:v>40122</c:v>
                </c:pt>
                <c:pt idx="2266">
                  <c:v>40123</c:v>
                </c:pt>
                <c:pt idx="2267">
                  <c:v>40126</c:v>
                </c:pt>
                <c:pt idx="2268">
                  <c:v>40127</c:v>
                </c:pt>
                <c:pt idx="2269">
                  <c:v>40128</c:v>
                </c:pt>
                <c:pt idx="2270">
                  <c:v>40129</c:v>
                </c:pt>
                <c:pt idx="2271">
                  <c:v>40130</c:v>
                </c:pt>
                <c:pt idx="2272">
                  <c:v>40133</c:v>
                </c:pt>
                <c:pt idx="2273">
                  <c:v>40134</c:v>
                </c:pt>
                <c:pt idx="2274">
                  <c:v>40135</c:v>
                </c:pt>
                <c:pt idx="2275">
                  <c:v>40136</c:v>
                </c:pt>
                <c:pt idx="2276">
                  <c:v>40137</c:v>
                </c:pt>
                <c:pt idx="2277">
                  <c:v>40140</c:v>
                </c:pt>
                <c:pt idx="2278">
                  <c:v>40141</c:v>
                </c:pt>
                <c:pt idx="2279">
                  <c:v>40142</c:v>
                </c:pt>
                <c:pt idx="2280">
                  <c:v>40143</c:v>
                </c:pt>
                <c:pt idx="2281">
                  <c:v>40144</c:v>
                </c:pt>
                <c:pt idx="2282">
                  <c:v>40147</c:v>
                </c:pt>
                <c:pt idx="2283">
                  <c:v>40148</c:v>
                </c:pt>
                <c:pt idx="2284">
                  <c:v>40149</c:v>
                </c:pt>
                <c:pt idx="2285">
                  <c:v>40150</c:v>
                </c:pt>
                <c:pt idx="2286">
                  <c:v>40151</c:v>
                </c:pt>
                <c:pt idx="2287">
                  <c:v>40154</c:v>
                </c:pt>
                <c:pt idx="2288">
                  <c:v>40155</c:v>
                </c:pt>
                <c:pt idx="2289">
                  <c:v>40156</c:v>
                </c:pt>
                <c:pt idx="2290">
                  <c:v>40157</c:v>
                </c:pt>
                <c:pt idx="2291">
                  <c:v>40158</c:v>
                </c:pt>
                <c:pt idx="2292">
                  <c:v>40161</c:v>
                </c:pt>
                <c:pt idx="2293">
                  <c:v>40162</c:v>
                </c:pt>
                <c:pt idx="2294">
                  <c:v>40163</c:v>
                </c:pt>
                <c:pt idx="2295">
                  <c:v>40164</c:v>
                </c:pt>
                <c:pt idx="2296">
                  <c:v>40165</c:v>
                </c:pt>
                <c:pt idx="2297">
                  <c:v>40168</c:v>
                </c:pt>
                <c:pt idx="2298">
                  <c:v>40169</c:v>
                </c:pt>
                <c:pt idx="2299">
                  <c:v>40170</c:v>
                </c:pt>
                <c:pt idx="2300">
                  <c:v>40171</c:v>
                </c:pt>
                <c:pt idx="2301">
                  <c:v>40175</c:v>
                </c:pt>
                <c:pt idx="2302">
                  <c:v>40176</c:v>
                </c:pt>
                <c:pt idx="2303">
                  <c:v>40177</c:v>
                </c:pt>
                <c:pt idx="2304">
                  <c:v>40178</c:v>
                </c:pt>
                <c:pt idx="2305">
                  <c:v>40182</c:v>
                </c:pt>
                <c:pt idx="2306">
                  <c:v>40183</c:v>
                </c:pt>
                <c:pt idx="2307">
                  <c:v>40184</c:v>
                </c:pt>
                <c:pt idx="2308">
                  <c:v>40185</c:v>
                </c:pt>
                <c:pt idx="2309">
                  <c:v>40186</c:v>
                </c:pt>
                <c:pt idx="2310">
                  <c:v>40189</c:v>
                </c:pt>
                <c:pt idx="2311">
                  <c:v>40190</c:v>
                </c:pt>
                <c:pt idx="2312">
                  <c:v>40191</c:v>
                </c:pt>
                <c:pt idx="2313">
                  <c:v>40192</c:v>
                </c:pt>
                <c:pt idx="2314">
                  <c:v>40193</c:v>
                </c:pt>
                <c:pt idx="2315">
                  <c:v>40196</c:v>
                </c:pt>
                <c:pt idx="2316">
                  <c:v>40197</c:v>
                </c:pt>
                <c:pt idx="2317">
                  <c:v>40198</c:v>
                </c:pt>
                <c:pt idx="2318">
                  <c:v>40199</c:v>
                </c:pt>
                <c:pt idx="2319">
                  <c:v>40200</c:v>
                </c:pt>
                <c:pt idx="2320">
                  <c:v>40203</c:v>
                </c:pt>
                <c:pt idx="2321">
                  <c:v>40204</c:v>
                </c:pt>
                <c:pt idx="2322">
                  <c:v>40205</c:v>
                </c:pt>
                <c:pt idx="2323">
                  <c:v>40206</c:v>
                </c:pt>
                <c:pt idx="2324">
                  <c:v>40207</c:v>
                </c:pt>
                <c:pt idx="2325">
                  <c:v>40210</c:v>
                </c:pt>
                <c:pt idx="2326">
                  <c:v>40211</c:v>
                </c:pt>
                <c:pt idx="2327">
                  <c:v>40212</c:v>
                </c:pt>
                <c:pt idx="2328">
                  <c:v>40213</c:v>
                </c:pt>
                <c:pt idx="2329">
                  <c:v>40214</c:v>
                </c:pt>
                <c:pt idx="2330">
                  <c:v>40217</c:v>
                </c:pt>
                <c:pt idx="2331">
                  <c:v>40218</c:v>
                </c:pt>
                <c:pt idx="2332">
                  <c:v>40219</c:v>
                </c:pt>
                <c:pt idx="2333">
                  <c:v>40220</c:v>
                </c:pt>
                <c:pt idx="2334">
                  <c:v>40221</c:v>
                </c:pt>
                <c:pt idx="2335">
                  <c:v>40224</c:v>
                </c:pt>
                <c:pt idx="2336">
                  <c:v>40225</c:v>
                </c:pt>
                <c:pt idx="2337">
                  <c:v>40226</c:v>
                </c:pt>
                <c:pt idx="2338">
                  <c:v>40227</c:v>
                </c:pt>
                <c:pt idx="2339">
                  <c:v>40228</c:v>
                </c:pt>
                <c:pt idx="2340">
                  <c:v>40231</c:v>
                </c:pt>
                <c:pt idx="2341">
                  <c:v>40232</c:v>
                </c:pt>
                <c:pt idx="2342">
                  <c:v>40233</c:v>
                </c:pt>
                <c:pt idx="2343">
                  <c:v>40234</c:v>
                </c:pt>
                <c:pt idx="2344">
                  <c:v>40235</c:v>
                </c:pt>
                <c:pt idx="2345">
                  <c:v>40238</c:v>
                </c:pt>
                <c:pt idx="2346">
                  <c:v>40239</c:v>
                </c:pt>
                <c:pt idx="2347">
                  <c:v>40240</c:v>
                </c:pt>
                <c:pt idx="2348">
                  <c:v>40241</c:v>
                </c:pt>
                <c:pt idx="2349">
                  <c:v>40242</c:v>
                </c:pt>
                <c:pt idx="2350">
                  <c:v>40245</c:v>
                </c:pt>
                <c:pt idx="2351">
                  <c:v>40246</c:v>
                </c:pt>
                <c:pt idx="2352">
                  <c:v>40247</c:v>
                </c:pt>
                <c:pt idx="2353">
                  <c:v>40248</c:v>
                </c:pt>
                <c:pt idx="2354">
                  <c:v>40249</c:v>
                </c:pt>
                <c:pt idx="2355">
                  <c:v>40252</c:v>
                </c:pt>
                <c:pt idx="2356">
                  <c:v>40253</c:v>
                </c:pt>
                <c:pt idx="2357">
                  <c:v>40254</c:v>
                </c:pt>
                <c:pt idx="2358">
                  <c:v>40255</c:v>
                </c:pt>
                <c:pt idx="2359">
                  <c:v>40256</c:v>
                </c:pt>
                <c:pt idx="2360">
                  <c:v>40259</c:v>
                </c:pt>
                <c:pt idx="2361">
                  <c:v>40260</c:v>
                </c:pt>
                <c:pt idx="2362">
                  <c:v>40261</c:v>
                </c:pt>
                <c:pt idx="2363">
                  <c:v>40262</c:v>
                </c:pt>
                <c:pt idx="2364">
                  <c:v>40263</c:v>
                </c:pt>
                <c:pt idx="2365">
                  <c:v>40266</c:v>
                </c:pt>
                <c:pt idx="2366">
                  <c:v>40267</c:v>
                </c:pt>
                <c:pt idx="2367">
                  <c:v>40268</c:v>
                </c:pt>
                <c:pt idx="2368">
                  <c:v>40269</c:v>
                </c:pt>
                <c:pt idx="2369">
                  <c:v>40274</c:v>
                </c:pt>
                <c:pt idx="2370">
                  <c:v>40275</c:v>
                </c:pt>
                <c:pt idx="2371">
                  <c:v>40276</c:v>
                </c:pt>
                <c:pt idx="2372">
                  <c:v>40277</c:v>
                </c:pt>
                <c:pt idx="2373">
                  <c:v>40280</c:v>
                </c:pt>
                <c:pt idx="2374">
                  <c:v>40281</c:v>
                </c:pt>
                <c:pt idx="2375">
                  <c:v>40282</c:v>
                </c:pt>
                <c:pt idx="2376">
                  <c:v>40283</c:v>
                </c:pt>
                <c:pt idx="2377">
                  <c:v>40284</c:v>
                </c:pt>
                <c:pt idx="2378">
                  <c:v>40287</c:v>
                </c:pt>
                <c:pt idx="2379">
                  <c:v>40288</c:v>
                </c:pt>
                <c:pt idx="2380">
                  <c:v>40289</c:v>
                </c:pt>
                <c:pt idx="2381">
                  <c:v>40290</c:v>
                </c:pt>
                <c:pt idx="2382">
                  <c:v>40291</c:v>
                </c:pt>
                <c:pt idx="2383">
                  <c:v>40294</c:v>
                </c:pt>
                <c:pt idx="2384">
                  <c:v>40295</c:v>
                </c:pt>
                <c:pt idx="2385">
                  <c:v>40296</c:v>
                </c:pt>
                <c:pt idx="2386">
                  <c:v>40297</c:v>
                </c:pt>
                <c:pt idx="2387">
                  <c:v>40298</c:v>
                </c:pt>
                <c:pt idx="2388">
                  <c:v>40301</c:v>
                </c:pt>
                <c:pt idx="2389">
                  <c:v>40302</c:v>
                </c:pt>
                <c:pt idx="2390">
                  <c:v>40303</c:v>
                </c:pt>
                <c:pt idx="2391">
                  <c:v>40304</c:v>
                </c:pt>
                <c:pt idx="2392">
                  <c:v>40305</c:v>
                </c:pt>
                <c:pt idx="2393">
                  <c:v>40308</c:v>
                </c:pt>
                <c:pt idx="2394">
                  <c:v>40309</c:v>
                </c:pt>
                <c:pt idx="2395">
                  <c:v>40310</c:v>
                </c:pt>
                <c:pt idx="2396">
                  <c:v>40311</c:v>
                </c:pt>
                <c:pt idx="2397">
                  <c:v>40312</c:v>
                </c:pt>
                <c:pt idx="2398">
                  <c:v>40315</c:v>
                </c:pt>
                <c:pt idx="2399">
                  <c:v>40316</c:v>
                </c:pt>
                <c:pt idx="2400">
                  <c:v>40317</c:v>
                </c:pt>
                <c:pt idx="2401">
                  <c:v>40318</c:v>
                </c:pt>
                <c:pt idx="2402">
                  <c:v>40319</c:v>
                </c:pt>
                <c:pt idx="2403">
                  <c:v>40322</c:v>
                </c:pt>
                <c:pt idx="2404">
                  <c:v>40323</c:v>
                </c:pt>
                <c:pt idx="2405">
                  <c:v>40324</c:v>
                </c:pt>
                <c:pt idx="2406">
                  <c:v>40325</c:v>
                </c:pt>
                <c:pt idx="2407">
                  <c:v>40326</c:v>
                </c:pt>
                <c:pt idx="2408">
                  <c:v>40329</c:v>
                </c:pt>
                <c:pt idx="2409">
                  <c:v>40330</c:v>
                </c:pt>
                <c:pt idx="2410">
                  <c:v>40331</c:v>
                </c:pt>
                <c:pt idx="2411">
                  <c:v>40332</c:v>
                </c:pt>
                <c:pt idx="2412">
                  <c:v>40333</c:v>
                </c:pt>
                <c:pt idx="2413">
                  <c:v>40336</c:v>
                </c:pt>
                <c:pt idx="2414">
                  <c:v>40337</c:v>
                </c:pt>
                <c:pt idx="2415">
                  <c:v>40338</c:v>
                </c:pt>
                <c:pt idx="2416">
                  <c:v>40339</c:v>
                </c:pt>
                <c:pt idx="2417">
                  <c:v>40340</c:v>
                </c:pt>
                <c:pt idx="2418">
                  <c:v>40343</c:v>
                </c:pt>
                <c:pt idx="2419">
                  <c:v>40344</c:v>
                </c:pt>
                <c:pt idx="2420">
                  <c:v>40345</c:v>
                </c:pt>
                <c:pt idx="2421">
                  <c:v>40346</c:v>
                </c:pt>
                <c:pt idx="2422">
                  <c:v>40347</c:v>
                </c:pt>
                <c:pt idx="2423">
                  <c:v>40350</c:v>
                </c:pt>
                <c:pt idx="2424">
                  <c:v>40351</c:v>
                </c:pt>
                <c:pt idx="2425">
                  <c:v>40352</c:v>
                </c:pt>
                <c:pt idx="2426">
                  <c:v>40353</c:v>
                </c:pt>
                <c:pt idx="2427">
                  <c:v>40354</c:v>
                </c:pt>
                <c:pt idx="2428">
                  <c:v>40357</c:v>
                </c:pt>
                <c:pt idx="2429">
                  <c:v>40358</c:v>
                </c:pt>
                <c:pt idx="2430">
                  <c:v>40359</c:v>
                </c:pt>
                <c:pt idx="2431">
                  <c:v>40360</c:v>
                </c:pt>
                <c:pt idx="2432">
                  <c:v>40361</c:v>
                </c:pt>
                <c:pt idx="2433">
                  <c:v>40364</c:v>
                </c:pt>
                <c:pt idx="2434">
                  <c:v>40365</c:v>
                </c:pt>
                <c:pt idx="2435">
                  <c:v>40366</c:v>
                </c:pt>
                <c:pt idx="2436">
                  <c:v>40367</c:v>
                </c:pt>
                <c:pt idx="2437">
                  <c:v>40368</c:v>
                </c:pt>
                <c:pt idx="2438">
                  <c:v>40371</c:v>
                </c:pt>
                <c:pt idx="2439">
                  <c:v>40372</c:v>
                </c:pt>
                <c:pt idx="2440">
                  <c:v>40373</c:v>
                </c:pt>
                <c:pt idx="2441">
                  <c:v>40374</c:v>
                </c:pt>
                <c:pt idx="2442">
                  <c:v>40375</c:v>
                </c:pt>
                <c:pt idx="2443">
                  <c:v>40378</c:v>
                </c:pt>
                <c:pt idx="2444">
                  <c:v>40379</c:v>
                </c:pt>
                <c:pt idx="2445">
                  <c:v>40380</c:v>
                </c:pt>
                <c:pt idx="2446">
                  <c:v>40381</c:v>
                </c:pt>
                <c:pt idx="2447">
                  <c:v>40382</c:v>
                </c:pt>
                <c:pt idx="2448">
                  <c:v>40385</c:v>
                </c:pt>
                <c:pt idx="2449">
                  <c:v>40386</c:v>
                </c:pt>
                <c:pt idx="2450">
                  <c:v>40387</c:v>
                </c:pt>
                <c:pt idx="2451">
                  <c:v>40388</c:v>
                </c:pt>
                <c:pt idx="2452">
                  <c:v>40389</c:v>
                </c:pt>
                <c:pt idx="2453">
                  <c:v>40392</c:v>
                </c:pt>
                <c:pt idx="2454">
                  <c:v>40393</c:v>
                </c:pt>
                <c:pt idx="2455">
                  <c:v>40394</c:v>
                </c:pt>
                <c:pt idx="2456">
                  <c:v>40395</c:v>
                </c:pt>
                <c:pt idx="2457">
                  <c:v>40396</c:v>
                </c:pt>
                <c:pt idx="2458">
                  <c:v>40399</c:v>
                </c:pt>
                <c:pt idx="2459">
                  <c:v>40400</c:v>
                </c:pt>
                <c:pt idx="2460">
                  <c:v>40401</c:v>
                </c:pt>
                <c:pt idx="2461">
                  <c:v>40402</c:v>
                </c:pt>
                <c:pt idx="2462">
                  <c:v>40403</c:v>
                </c:pt>
                <c:pt idx="2463">
                  <c:v>40406</c:v>
                </c:pt>
                <c:pt idx="2464">
                  <c:v>40407</c:v>
                </c:pt>
                <c:pt idx="2465">
                  <c:v>40408</c:v>
                </c:pt>
                <c:pt idx="2466">
                  <c:v>40409</c:v>
                </c:pt>
                <c:pt idx="2467">
                  <c:v>40410</c:v>
                </c:pt>
                <c:pt idx="2468">
                  <c:v>40413</c:v>
                </c:pt>
                <c:pt idx="2469">
                  <c:v>40414</c:v>
                </c:pt>
                <c:pt idx="2470">
                  <c:v>40415</c:v>
                </c:pt>
                <c:pt idx="2471">
                  <c:v>40416</c:v>
                </c:pt>
                <c:pt idx="2472">
                  <c:v>40417</c:v>
                </c:pt>
                <c:pt idx="2473">
                  <c:v>40420</c:v>
                </c:pt>
                <c:pt idx="2474">
                  <c:v>40421</c:v>
                </c:pt>
                <c:pt idx="2475">
                  <c:v>40422</c:v>
                </c:pt>
                <c:pt idx="2476">
                  <c:v>40423</c:v>
                </c:pt>
                <c:pt idx="2477">
                  <c:v>40424</c:v>
                </c:pt>
                <c:pt idx="2478">
                  <c:v>40427</c:v>
                </c:pt>
                <c:pt idx="2479">
                  <c:v>40428</c:v>
                </c:pt>
                <c:pt idx="2480">
                  <c:v>40429</c:v>
                </c:pt>
                <c:pt idx="2481">
                  <c:v>40430</c:v>
                </c:pt>
                <c:pt idx="2482">
                  <c:v>40431</c:v>
                </c:pt>
                <c:pt idx="2483">
                  <c:v>40434</c:v>
                </c:pt>
                <c:pt idx="2484">
                  <c:v>40435</c:v>
                </c:pt>
                <c:pt idx="2485">
                  <c:v>40436</c:v>
                </c:pt>
                <c:pt idx="2486">
                  <c:v>40437</c:v>
                </c:pt>
                <c:pt idx="2487">
                  <c:v>40438</c:v>
                </c:pt>
                <c:pt idx="2488">
                  <c:v>40441</c:v>
                </c:pt>
                <c:pt idx="2489">
                  <c:v>40442</c:v>
                </c:pt>
                <c:pt idx="2490">
                  <c:v>40443</c:v>
                </c:pt>
                <c:pt idx="2491">
                  <c:v>40444</c:v>
                </c:pt>
                <c:pt idx="2492">
                  <c:v>40445</c:v>
                </c:pt>
                <c:pt idx="2493">
                  <c:v>40448</c:v>
                </c:pt>
                <c:pt idx="2494">
                  <c:v>40449</c:v>
                </c:pt>
                <c:pt idx="2495">
                  <c:v>40450</c:v>
                </c:pt>
                <c:pt idx="2496">
                  <c:v>40451</c:v>
                </c:pt>
                <c:pt idx="2497">
                  <c:v>40452</c:v>
                </c:pt>
                <c:pt idx="2498">
                  <c:v>40455</c:v>
                </c:pt>
                <c:pt idx="2499">
                  <c:v>40456</c:v>
                </c:pt>
                <c:pt idx="2500">
                  <c:v>40457</c:v>
                </c:pt>
                <c:pt idx="2501">
                  <c:v>40458</c:v>
                </c:pt>
                <c:pt idx="2502">
                  <c:v>40459</c:v>
                </c:pt>
                <c:pt idx="2503">
                  <c:v>40462</c:v>
                </c:pt>
                <c:pt idx="2504">
                  <c:v>40463</c:v>
                </c:pt>
                <c:pt idx="2505">
                  <c:v>40464</c:v>
                </c:pt>
                <c:pt idx="2506">
                  <c:v>40465</c:v>
                </c:pt>
                <c:pt idx="2507">
                  <c:v>40466</c:v>
                </c:pt>
                <c:pt idx="2508">
                  <c:v>40469</c:v>
                </c:pt>
                <c:pt idx="2509">
                  <c:v>40470</c:v>
                </c:pt>
                <c:pt idx="2510">
                  <c:v>40471</c:v>
                </c:pt>
                <c:pt idx="2511">
                  <c:v>40472</c:v>
                </c:pt>
                <c:pt idx="2512">
                  <c:v>40473</c:v>
                </c:pt>
                <c:pt idx="2513">
                  <c:v>40476</c:v>
                </c:pt>
                <c:pt idx="2514">
                  <c:v>40477</c:v>
                </c:pt>
                <c:pt idx="2515">
                  <c:v>40478</c:v>
                </c:pt>
                <c:pt idx="2516">
                  <c:v>40479</c:v>
                </c:pt>
                <c:pt idx="2517">
                  <c:v>40480</c:v>
                </c:pt>
                <c:pt idx="2518">
                  <c:v>40483</c:v>
                </c:pt>
                <c:pt idx="2519">
                  <c:v>40484</c:v>
                </c:pt>
                <c:pt idx="2520">
                  <c:v>40485</c:v>
                </c:pt>
                <c:pt idx="2521">
                  <c:v>40486</c:v>
                </c:pt>
                <c:pt idx="2522">
                  <c:v>40487</c:v>
                </c:pt>
                <c:pt idx="2523">
                  <c:v>40490</c:v>
                </c:pt>
                <c:pt idx="2524">
                  <c:v>40491</c:v>
                </c:pt>
                <c:pt idx="2525">
                  <c:v>40492</c:v>
                </c:pt>
                <c:pt idx="2526">
                  <c:v>40493</c:v>
                </c:pt>
                <c:pt idx="2527">
                  <c:v>40494</c:v>
                </c:pt>
                <c:pt idx="2528">
                  <c:v>40497</c:v>
                </c:pt>
                <c:pt idx="2529">
                  <c:v>40498</c:v>
                </c:pt>
                <c:pt idx="2530">
                  <c:v>40499</c:v>
                </c:pt>
                <c:pt idx="2531">
                  <c:v>40500</c:v>
                </c:pt>
                <c:pt idx="2532">
                  <c:v>40501</c:v>
                </c:pt>
                <c:pt idx="2533">
                  <c:v>40504</c:v>
                </c:pt>
                <c:pt idx="2534">
                  <c:v>40505</c:v>
                </c:pt>
                <c:pt idx="2535">
                  <c:v>40506</c:v>
                </c:pt>
                <c:pt idx="2536">
                  <c:v>40507</c:v>
                </c:pt>
                <c:pt idx="2537">
                  <c:v>40508</c:v>
                </c:pt>
                <c:pt idx="2538">
                  <c:v>40511</c:v>
                </c:pt>
                <c:pt idx="2539">
                  <c:v>40512</c:v>
                </c:pt>
                <c:pt idx="2540">
                  <c:v>40513</c:v>
                </c:pt>
                <c:pt idx="2541">
                  <c:v>40514</c:v>
                </c:pt>
                <c:pt idx="2542">
                  <c:v>40515</c:v>
                </c:pt>
                <c:pt idx="2543">
                  <c:v>40518</c:v>
                </c:pt>
                <c:pt idx="2544">
                  <c:v>40519</c:v>
                </c:pt>
                <c:pt idx="2545">
                  <c:v>40520</c:v>
                </c:pt>
                <c:pt idx="2546">
                  <c:v>40521</c:v>
                </c:pt>
                <c:pt idx="2547">
                  <c:v>40522</c:v>
                </c:pt>
                <c:pt idx="2548">
                  <c:v>40525</c:v>
                </c:pt>
                <c:pt idx="2549">
                  <c:v>40526</c:v>
                </c:pt>
                <c:pt idx="2550">
                  <c:v>40527</c:v>
                </c:pt>
                <c:pt idx="2551">
                  <c:v>40528</c:v>
                </c:pt>
                <c:pt idx="2552">
                  <c:v>40529</c:v>
                </c:pt>
                <c:pt idx="2553">
                  <c:v>40532</c:v>
                </c:pt>
                <c:pt idx="2554">
                  <c:v>40533</c:v>
                </c:pt>
                <c:pt idx="2555">
                  <c:v>40534</c:v>
                </c:pt>
                <c:pt idx="2556">
                  <c:v>40535</c:v>
                </c:pt>
                <c:pt idx="2557">
                  <c:v>40536</c:v>
                </c:pt>
                <c:pt idx="2558">
                  <c:v>40539</c:v>
                </c:pt>
                <c:pt idx="2559">
                  <c:v>40540</c:v>
                </c:pt>
                <c:pt idx="2560">
                  <c:v>40541</c:v>
                </c:pt>
                <c:pt idx="2561">
                  <c:v>40542</c:v>
                </c:pt>
                <c:pt idx="2562">
                  <c:v>40543</c:v>
                </c:pt>
                <c:pt idx="2563">
                  <c:v>40546</c:v>
                </c:pt>
                <c:pt idx="2564">
                  <c:v>40547</c:v>
                </c:pt>
                <c:pt idx="2565">
                  <c:v>40548</c:v>
                </c:pt>
                <c:pt idx="2566">
                  <c:v>40549</c:v>
                </c:pt>
                <c:pt idx="2567">
                  <c:v>40550</c:v>
                </c:pt>
                <c:pt idx="2568">
                  <c:v>40553</c:v>
                </c:pt>
                <c:pt idx="2569">
                  <c:v>40554</c:v>
                </c:pt>
                <c:pt idx="2570">
                  <c:v>40555</c:v>
                </c:pt>
                <c:pt idx="2571">
                  <c:v>40556</c:v>
                </c:pt>
                <c:pt idx="2572">
                  <c:v>40557</c:v>
                </c:pt>
                <c:pt idx="2573">
                  <c:v>40560</c:v>
                </c:pt>
                <c:pt idx="2574">
                  <c:v>40561</c:v>
                </c:pt>
                <c:pt idx="2575">
                  <c:v>40562</c:v>
                </c:pt>
                <c:pt idx="2576">
                  <c:v>40563</c:v>
                </c:pt>
                <c:pt idx="2577">
                  <c:v>40564</c:v>
                </c:pt>
                <c:pt idx="2578">
                  <c:v>40567</c:v>
                </c:pt>
                <c:pt idx="2579">
                  <c:v>40568</c:v>
                </c:pt>
                <c:pt idx="2580">
                  <c:v>40569</c:v>
                </c:pt>
                <c:pt idx="2581">
                  <c:v>40570</c:v>
                </c:pt>
                <c:pt idx="2582">
                  <c:v>40571</c:v>
                </c:pt>
                <c:pt idx="2583">
                  <c:v>40574</c:v>
                </c:pt>
                <c:pt idx="2584">
                  <c:v>40575</c:v>
                </c:pt>
                <c:pt idx="2585">
                  <c:v>40576</c:v>
                </c:pt>
                <c:pt idx="2586">
                  <c:v>40577</c:v>
                </c:pt>
                <c:pt idx="2587">
                  <c:v>40578</c:v>
                </c:pt>
                <c:pt idx="2588">
                  <c:v>40581</c:v>
                </c:pt>
                <c:pt idx="2589">
                  <c:v>40582</c:v>
                </c:pt>
                <c:pt idx="2590">
                  <c:v>40583</c:v>
                </c:pt>
                <c:pt idx="2591">
                  <c:v>40584</c:v>
                </c:pt>
                <c:pt idx="2592">
                  <c:v>40585</c:v>
                </c:pt>
                <c:pt idx="2593">
                  <c:v>40588</c:v>
                </c:pt>
                <c:pt idx="2594">
                  <c:v>40589</c:v>
                </c:pt>
                <c:pt idx="2595">
                  <c:v>40590</c:v>
                </c:pt>
                <c:pt idx="2596">
                  <c:v>40591</c:v>
                </c:pt>
                <c:pt idx="2597">
                  <c:v>40592</c:v>
                </c:pt>
                <c:pt idx="2598">
                  <c:v>40595</c:v>
                </c:pt>
                <c:pt idx="2599">
                  <c:v>40596</c:v>
                </c:pt>
                <c:pt idx="2600">
                  <c:v>40597</c:v>
                </c:pt>
                <c:pt idx="2601">
                  <c:v>40598</c:v>
                </c:pt>
                <c:pt idx="2602">
                  <c:v>40599</c:v>
                </c:pt>
                <c:pt idx="2603">
                  <c:v>40602</c:v>
                </c:pt>
                <c:pt idx="2604">
                  <c:v>40603</c:v>
                </c:pt>
                <c:pt idx="2605">
                  <c:v>40604</c:v>
                </c:pt>
                <c:pt idx="2606">
                  <c:v>40605</c:v>
                </c:pt>
                <c:pt idx="2607">
                  <c:v>40606</c:v>
                </c:pt>
                <c:pt idx="2608">
                  <c:v>40609</c:v>
                </c:pt>
                <c:pt idx="2609">
                  <c:v>40610</c:v>
                </c:pt>
                <c:pt idx="2610">
                  <c:v>40611</c:v>
                </c:pt>
                <c:pt idx="2611">
                  <c:v>40612</c:v>
                </c:pt>
                <c:pt idx="2612">
                  <c:v>40613</c:v>
                </c:pt>
                <c:pt idx="2613">
                  <c:v>40616</c:v>
                </c:pt>
                <c:pt idx="2614">
                  <c:v>40617</c:v>
                </c:pt>
                <c:pt idx="2615">
                  <c:v>40618</c:v>
                </c:pt>
                <c:pt idx="2616">
                  <c:v>40619</c:v>
                </c:pt>
                <c:pt idx="2617">
                  <c:v>40620</c:v>
                </c:pt>
                <c:pt idx="2618">
                  <c:v>40623</c:v>
                </c:pt>
                <c:pt idx="2619">
                  <c:v>40624</c:v>
                </c:pt>
                <c:pt idx="2620">
                  <c:v>40625</c:v>
                </c:pt>
                <c:pt idx="2621">
                  <c:v>40626</c:v>
                </c:pt>
                <c:pt idx="2622">
                  <c:v>40627</c:v>
                </c:pt>
                <c:pt idx="2623">
                  <c:v>40630</c:v>
                </c:pt>
                <c:pt idx="2624">
                  <c:v>40631</c:v>
                </c:pt>
                <c:pt idx="2625">
                  <c:v>40632</c:v>
                </c:pt>
                <c:pt idx="2626">
                  <c:v>40633</c:v>
                </c:pt>
                <c:pt idx="2627">
                  <c:v>40634</c:v>
                </c:pt>
                <c:pt idx="2628">
                  <c:v>40637</c:v>
                </c:pt>
                <c:pt idx="2629">
                  <c:v>40638</c:v>
                </c:pt>
                <c:pt idx="2630">
                  <c:v>40639</c:v>
                </c:pt>
                <c:pt idx="2631">
                  <c:v>40640</c:v>
                </c:pt>
                <c:pt idx="2632">
                  <c:v>40641</c:v>
                </c:pt>
                <c:pt idx="2633">
                  <c:v>40644</c:v>
                </c:pt>
                <c:pt idx="2634">
                  <c:v>40645</c:v>
                </c:pt>
                <c:pt idx="2635">
                  <c:v>40646</c:v>
                </c:pt>
                <c:pt idx="2636">
                  <c:v>40647</c:v>
                </c:pt>
                <c:pt idx="2637">
                  <c:v>40648</c:v>
                </c:pt>
                <c:pt idx="2638">
                  <c:v>40651</c:v>
                </c:pt>
                <c:pt idx="2639">
                  <c:v>40652</c:v>
                </c:pt>
                <c:pt idx="2640">
                  <c:v>40653</c:v>
                </c:pt>
                <c:pt idx="2641">
                  <c:v>40654</c:v>
                </c:pt>
                <c:pt idx="2642">
                  <c:v>40659</c:v>
                </c:pt>
                <c:pt idx="2643">
                  <c:v>40660</c:v>
                </c:pt>
                <c:pt idx="2644">
                  <c:v>40661</c:v>
                </c:pt>
                <c:pt idx="2645">
                  <c:v>40662</c:v>
                </c:pt>
                <c:pt idx="2646">
                  <c:v>40665</c:v>
                </c:pt>
                <c:pt idx="2647">
                  <c:v>40666</c:v>
                </c:pt>
                <c:pt idx="2648">
                  <c:v>40667</c:v>
                </c:pt>
                <c:pt idx="2649">
                  <c:v>40668</c:v>
                </c:pt>
                <c:pt idx="2650">
                  <c:v>40669</c:v>
                </c:pt>
                <c:pt idx="2651">
                  <c:v>40672</c:v>
                </c:pt>
                <c:pt idx="2652">
                  <c:v>40673</c:v>
                </c:pt>
                <c:pt idx="2653">
                  <c:v>40674</c:v>
                </c:pt>
                <c:pt idx="2654">
                  <c:v>40675</c:v>
                </c:pt>
                <c:pt idx="2655">
                  <c:v>40676</c:v>
                </c:pt>
                <c:pt idx="2656">
                  <c:v>40679</c:v>
                </c:pt>
                <c:pt idx="2657">
                  <c:v>40680</c:v>
                </c:pt>
                <c:pt idx="2658">
                  <c:v>40681</c:v>
                </c:pt>
                <c:pt idx="2659">
                  <c:v>40682</c:v>
                </c:pt>
                <c:pt idx="2660">
                  <c:v>40683</c:v>
                </c:pt>
                <c:pt idx="2661">
                  <c:v>40686</c:v>
                </c:pt>
                <c:pt idx="2662">
                  <c:v>40687</c:v>
                </c:pt>
                <c:pt idx="2663">
                  <c:v>40688</c:v>
                </c:pt>
                <c:pt idx="2664">
                  <c:v>40689</c:v>
                </c:pt>
                <c:pt idx="2665">
                  <c:v>40690</c:v>
                </c:pt>
                <c:pt idx="2666">
                  <c:v>40693</c:v>
                </c:pt>
                <c:pt idx="2667">
                  <c:v>40694</c:v>
                </c:pt>
                <c:pt idx="2668">
                  <c:v>40695</c:v>
                </c:pt>
                <c:pt idx="2669">
                  <c:v>40696</c:v>
                </c:pt>
                <c:pt idx="2670">
                  <c:v>40697</c:v>
                </c:pt>
                <c:pt idx="2671">
                  <c:v>40700</c:v>
                </c:pt>
                <c:pt idx="2672">
                  <c:v>40701</c:v>
                </c:pt>
                <c:pt idx="2673">
                  <c:v>40702</c:v>
                </c:pt>
                <c:pt idx="2674">
                  <c:v>40703</c:v>
                </c:pt>
                <c:pt idx="2675">
                  <c:v>40704</c:v>
                </c:pt>
                <c:pt idx="2676">
                  <c:v>40707</c:v>
                </c:pt>
                <c:pt idx="2677">
                  <c:v>40708</c:v>
                </c:pt>
                <c:pt idx="2678">
                  <c:v>40709</c:v>
                </c:pt>
                <c:pt idx="2679">
                  <c:v>40710</c:v>
                </c:pt>
                <c:pt idx="2680">
                  <c:v>40711</c:v>
                </c:pt>
                <c:pt idx="2681">
                  <c:v>40714</c:v>
                </c:pt>
                <c:pt idx="2682">
                  <c:v>40715</c:v>
                </c:pt>
                <c:pt idx="2683">
                  <c:v>40716</c:v>
                </c:pt>
                <c:pt idx="2684">
                  <c:v>40717</c:v>
                </c:pt>
                <c:pt idx="2685">
                  <c:v>40718</c:v>
                </c:pt>
                <c:pt idx="2686">
                  <c:v>40721</c:v>
                </c:pt>
                <c:pt idx="2687">
                  <c:v>40722</c:v>
                </c:pt>
                <c:pt idx="2688">
                  <c:v>40723</c:v>
                </c:pt>
                <c:pt idx="2689">
                  <c:v>40724</c:v>
                </c:pt>
                <c:pt idx="2690">
                  <c:v>40725</c:v>
                </c:pt>
                <c:pt idx="2691">
                  <c:v>40728</c:v>
                </c:pt>
                <c:pt idx="2692">
                  <c:v>40729</c:v>
                </c:pt>
                <c:pt idx="2693">
                  <c:v>40730</c:v>
                </c:pt>
                <c:pt idx="2694">
                  <c:v>40731</c:v>
                </c:pt>
                <c:pt idx="2695">
                  <c:v>40732</c:v>
                </c:pt>
                <c:pt idx="2696">
                  <c:v>40735</c:v>
                </c:pt>
                <c:pt idx="2697">
                  <c:v>40736</c:v>
                </c:pt>
                <c:pt idx="2698">
                  <c:v>40737</c:v>
                </c:pt>
                <c:pt idx="2699">
                  <c:v>40738</c:v>
                </c:pt>
                <c:pt idx="2700">
                  <c:v>40739</c:v>
                </c:pt>
                <c:pt idx="2701">
                  <c:v>40742</c:v>
                </c:pt>
                <c:pt idx="2702">
                  <c:v>40743</c:v>
                </c:pt>
                <c:pt idx="2703">
                  <c:v>40744</c:v>
                </c:pt>
                <c:pt idx="2704">
                  <c:v>40745</c:v>
                </c:pt>
                <c:pt idx="2705">
                  <c:v>40746</c:v>
                </c:pt>
                <c:pt idx="2706">
                  <c:v>40749</c:v>
                </c:pt>
                <c:pt idx="2707">
                  <c:v>40750</c:v>
                </c:pt>
                <c:pt idx="2708">
                  <c:v>40751</c:v>
                </c:pt>
                <c:pt idx="2709">
                  <c:v>40752</c:v>
                </c:pt>
                <c:pt idx="2710">
                  <c:v>40753</c:v>
                </c:pt>
                <c:pt idx="2711">
                  <c:v>40756</c:v>
                </c:pt>
                <c:pt idx="2712">
                  <c:v>40757</c:v>
                </c:pt>
                <c:pt idx="2713">
                  <c:v>40758</c:v>
                </c:pt>
                <c:pt idx="2714">
                  <c:v>40759</c:v>
                </c:pt>
                <c:pt idx="2715">
                  <c:v>40760</c:v>
                </c:pt>
                <c:pt idx="2716">
                  <c:v>40763</c:v>
                </c:pt>
                <c:pt idx="2717">
                  <c:v>40764</c:v>
                </c:pt>
                <c:pt idx="2718">
                  <c:v>40765</c:v>
                </c:pt>
                <c:pt idx="2719">
                  <c:v>40766</c:v>
                </c:pt>
                <c:pt idx="2720">
                  <c:v>40767</c:v>
                </c:pt>
                <c:pt idx="2721">
                  <c:v>40770</c:v>
                </c:pt>
                <c:pt idx="2722">
                  <c:v>40771</c:v>
                </c:pt>
                <c:pt idx="2723">
                  <c:v>40772</c:v>
                </c:pt>
                <c:pt idx="2724">
                  <c:v>40773</c:v>
                </c:pt>
                <c:pt idx="2725">
                  <c:v>40774</c:v>
                </c:pt>
                <c:pt idx="2726">
                  <c:v>40777</c:v>
                </c:pt>
                <c:pt idx="2727">
                  <c:v>40778</c:v>
                </c:pt>
                <c:pt idx="2728">
                  <c:v>40779</c:v>
                </c:pt>
                <c:pt idx="2729">
                  <c:v>40780</c:v>
                </c:pt>
                <c:pt idx="2730">
                  <c:v>40781</c:v>
                </c:pt>
                <c:pt idx="2731">
                  <c:v>40784</c:v>
                </c:pt>
                <c:pt idx="2732">
                  <c:v>40785</c:v>
                </c:pt>
                <c:pt idx="2733">
                  <c:v>40786</c:v>
                </c:pt>
                <c:pt idx="2734">
                  <c:v>40787</c:v>
                </c:pt>
                <c:pt idx="2735">
                  <c:v>40788</c:v>
                </c:pt>
                <c:pt idx="2736">
                  <c:v>40791</c:v>
                </c:pt>
                <c:pt idx="2737">
                  <c:v>40792</c:v>
                </c:pt>
                <c:pt idx="2738">
                  <c:v>40793</c:v>
                </c:pt>
                <c:pt idx="2739">
                  <c:v>40794</c:v>
                </c:pt>
                <c:pt idx="2740">
                  <c:v>40795</c:v>
                </c:pt>
                <c:pt idx="2741">
                  <c:v>40798</c:v>
                </c:pt>
                <c:pt idx="2742">
                  <c:v>40799</c:v>
                </c:pt>
                <c:pt idx="2743">
                  <c:v>40800</c:v>
                </c:pt>
                <c:pt idx="2744">
                  <c:v>40801</c:v>
                </c:pt>
                <c:pt idx="2745">
                  <c:v>40802</c:v>
                </c:pt>
                <c:pt idx="2746">
                  <c:v>40805</c:v>
                </c:pt>
                <c:pt idx="2747">
                  <c:v>40806</c:v>
                </c:pt>
                <c:pt idx="2748">
                  <c:v>40807</c:v>
                </c:pt>
                <c:pt idx="2749">
                  <c:v>40808</c:v>
                </c:pt>
                <c:pt idx="2750">
                  <c:v>40809</c:v>
                </c:pt>
                <c:pt idx="2751">
                  <c:v>40812</c:v>
                </c:pt>
                <c:pt idx="2752">
                  <c:v>40813</c:v>
                </c:pt>
                <c:pt idx="2753">
                  <c:v>40814</c:v>
                </c:pt>
                <c:pt idx="2754">
                  <c:v>40815</c:v>
                </c:pt>
                <c:pt idx="2755">
                  <c:v>40816</c:v>
                </c:pt>
                <c:pt idx="2756">
                  <c:v>40819</c:v>
                </c:pt>
                <c:pt idx="2757">
                  <c:v>40820</c:v>
                </c:pt>
                <c:pt idx="2758">
                  <c:v>40821</c:v>
                </c:pt>
                <c:pt idx="2759">
                  <c:v>40822</c:v>
                </c:pt>
                <c:pt idx="2760">
                  <c:v>40823</c:v>
                </c:pt>
                <c:pt idx="2761">
                  <c:v>40826</c:v>
                </c:pt>
                <c:pt idx="2762">
                  <c:v>40827</c:v>
                </c:pt>
                <c:pt idx="2763">
                  <c:v>40828</c:v>
                </c:pt>
                <c:pt idx="2764">
                  <c:v>40829</c:v>
                </c:pt>
                <c:pt idx="2765">
                  <c:v>40830</c:v>
                </c:pt>
                <c:pt idx="2766">
                  <c:v>40833</c:v>
                </c:pt>
                <c:pt idx="2767">
                  <c:v>40834</c:v>
                </c:pt>
                <c:pt idx="2768">
                  <c:v>40835</c:v>
                </c:pt>
                <c:pt idx="2769">
                  <c:v>40836</c:v>
                </c:pt>
                <c:pt idx="2770">
                  <c:v>40837</c:v>
                </c:pt>
                <c:pt idx="2771">
                  <c:v>40840</c:v>
                </c:pt>
                <c:pt idx="2772">
                  <c:v>40841</c:v>
                </c:pt>
                <c:pt idx="2773">
                  <c:v>40842</c:v>
                </c:pt>
                <c:pt idx="2774">
                  <c:v>40843</c:v>
                </c:pt>
                <c:pt idx="2775">
                  <c:v>40844</c:v>
                </c:pt>
                <c:pt idx="2776">
                  <c:v>40847</c:v>
                </c:pt>
                <c:pt idx="2777">
                  <c:v>40848</c:v>
                </c:pt>
                <c:pt idx="2778">
                  <c:v>40849</c:v>
                </c:pt>
                <c:pt idx="2779">
                  <c:v>40850</c:v>
                </c:pt>
                <c:pt idx="2780">
                  <c:v>40851</c:v>
                </c:pt>
                <c:pt idx="2781">
                  <c:v>40854</c:v>
                </c:pt>
                <c:pt idx="2782">
                  <c:v>40855</c:v>
                </c:pt>
                <c:pt idx="2783">
                  <c:v>40856</c:v>
                </c:pt>
                <c:pt idx="2784">
                  <c:v>40857</c:v>
                </c:pt>
                <c:pt idx="2785">
                  <c:v>40858</c:v>
                </c:pt>
                <c:pt idx="2786">
                  <c:v>40861</c:v>
                </c:pt>
                <c:pt idx="2787">
                  <c:v>40862</c:v>
                </c:pt>
                <c:pt idx="2788">
                  <c:v>40863</c:v>
                </c:pt>
                <c:pt idx="2789">
                  <c:v>40864</c:v>
                </c:pt>
                <c:pt idx="2790">
                  <c:v>40865</c:v>
                </c:pt>
                <c:pt idx="2791">
                  <c:v>40868</c:v>
                </c:pt>
                <c:pt idx="2792">
                  <c:v>40869</c:v>
                </c:pt>
                <c:pt idx="2793">
                  <c:v>40870</c:v>
                </c:pt>
                <c:pt idx="2794">
                  <c:v>40871</c:v>
                </c:pt>
                <c:pt idx="2795">
                  <c:v>40872</c:v>
                </c:pt>
                <c:pt idx="2796">
                  <c:v>40875</c:v>
                </c:pt>
                <c:pt idx="2797">
                  <c:v>40876</c:v>
                </c:pt>
                <c:pt idx="2798">
                  <c:v>40877</c:v>
                </c:pt>
                <c:pt idx="2799">
                  <c:v>40878</c:v>
                </c:pt>
                <c:pt idx="2800">
                  <c:v>40879</c:v>
                </c:pt>
                <c:pt idx="2801">
                  <c:v>40882</c:v>
                </c:pt>
                <c:pt idx="2802">
                  <c:v>40883</c:v>
                </c:pt>
                <c:pt idx="2803">
                  <c:v>40884</c:v>
                </c:pt>
                <c:pt idx="2804">
                  <c:v>40885</c:v>
                </c:pt>
                <c:pt idx="2805">
                  <c:v>40886</c:v>
                </c:pt>
                <c:pt idx="2806">
                  <c:v>40889</c:v>
                </c:pt>
                <c:pt idx="2807">
                  <c:v>40890</c:v>
                </c:pt>
                <c:pt idx="2808">
                  <c:v>40891</c:v>
                </c:pt>
                <c:pt idx="2809">
                  <c:v>40892</c:v>
                </c:pt>
                <c:pt idx="2810">
                  <c:v>40893</c:v>
                </c:pt>
                <c:pt idx="2811">
                  <c:v>40896</c:v>
                </c:pt>
                <c:pt idx="2812">
                  <c:v>40897</c:v>
                </c:pt>
                <c:pt idx="2813">
                  <c:v>40898</c:v>
                </c:pt>
                <c:pt idx="2814">
                  <c:v>40899</c:v>
                </c:pt>
                <c:pt idx="2815">
                  <c:v>40900</c:v>
                </c:pt>
                <c:pt idx="2816">
                  <c:v>40904</c:v>
                </c:pt>
                <c:pt idx="2817">
                  <c:v>40905</c:v>
                </c:pt>
                <c:pt idx="2818">
                  <c:v>40906</c:v>
                </c:pt>
                <c:pt idx="2819">
                  <c:v>40907</c:v>
                </c:pt>
                <c:pt idx="2820">
                  <c:v>40910</c:v>
                </c:pt>
                <c:pt idx="2821">
                  <c:v>40911</c:v>
                </c:pt>
                <c:pt idx="2822">
                  <c:v>40912</c:v>
                </c:pt>
                <c:pt idx="2823">
                  <c:v>40913</c:v>
                </c:pt>
                <c:pt idx="2824">
                  <c:v>40914</c:v>
                </c:pt>
                <c:pt idx="2825">
                  <c:v>40917</c:v>
                </c:pt>
                <c:pt idx="2826">
                  <c:v>40918</c:v>
                </c:pt>
                <c:pt idx="2827">
                  <c:v>40919</c:v>
                </c:pt>
                <c:pt idx="2828">
                  <c:v>40920</c:v>
                </c:pt>
                <c:pt idx="2829">
                  <c:v>40921</c:v>
                </c:pt>
                <c:pt idx="2830">
                  <c:v>40924</c:v>
                </c:pt>
                <c:pt idx="2831">
                  <c:v>40925</c:v>
                </c:pt>
                <c:pt idx="2832">
                  <c:v>40926</c:v>
                </c:pt>
                <c:pt idx="2833">
                  <c:v>40927</c:v>
                </c:pt>
                <c:pt idx="2834">
                  <c:v>40928</c:v>
                </c:pt>
                <c:pt idx="2835">
                  <c:v>40931</c:v>
                </c:pt>
                <c:pt idx="2836">
                  <c:v>40932</c:v>
                </c:pt>
                <c:pt idx="2837">
                  <c:v>40933</c:v>
                </c:pt>
                <c:pt idx="2838">
                  <c:v>40934</c:v>
                </c:pt>
                <c:pt idx="2839">
                  <c:v>40935</c:v>
                </c:pt>
                <c:pt idx="2840">
                  <c:v>40938</c:v>
                </c:pt>
                <c:pt idx="2841">
                  <c:v>40939</c:v>
                </c:pt>
                <c:pt idx="2842">
                  <c:v>40940</c:v>
                </c:pt>
                <c:pt idx="2843">
                  <c:v>40941</c:v>
                </c:pt>
                <c:pt idx="2844">
                  <c:v>40942</c:v>
                </c:pt>
                <c:pt idx="2845">
                  <c:v>40945</c:v>
                </c:pt>
                <c:pt idx="2846">
                  <c:v>40946</c:v>
                </c:pt>
                <c:pt idx="2847">
                  <c:v>40947</c:v>
                </c:pt>
                <c:pt idx="2848">
                  <c:v>40948</c:v>
                </c:pt>
                <c:pt idx="2849">
                  <c:v>40949</c:v>
                </c:pt>
                <c:pt idx="2850">
                  <c:v>40952</c:v>
                </c:pt>
                <c:pt idx="2851">
                  <c:v>40953</c:v>
                </c:pt>
                <c:pt idx="2852">
                  <c:v>40954</c:v>
                </c:pt>
                <c:pt idx="2853">
                  <c:v>40955</c:v>
                </c:pt>
                <c:pt idx="2854">
                  <c:v>40956</c:v>
                </c:pt>
                <c:pt idx="2855">
                  <c:v>40959</c:v>
                </c:pt>
                <c:pt idx="2856">
                  <c:v>40960</c:v>
                </c:pt>
                <c:pt idx="2857">
                  <c:v>40961</c:v>
                </c:pt>
                <c:pt idx="2858">
                  <c:v>40962</c:v>
                </c:pt>
                <c:pt idx="2859">
                  <c:v>40963</c:v>
                </c:pt>
                <c:pt idx="2860">
                  <c:v>40966</c:v>
                </c:pt>
                <c:pt idx="2861">
                  <c:v>40967</c:v>
                </c:pt>
                <c:pt idx="2862">
                  <c:v>40968</c:v>
                </c:pt>
                <c:pt idx="2863">
                  <c:v>40969</c:v>
                </c:pt>
                <c:pt idx="2864">
                  <c:v>40970</c:v>
                </c:pt>
                <c:pt idx="2865">
                  <c:v>40973</c:v>
                </c:pt>
                <c:pt idx="2866">
                  <c:v>40974</c:v>
                </c:pt>
                <c:pt idx="2867">
                  <c:v>40975</c:v>
                </c:pt>
                <c:pt idx="2868">
                  <c:v>40976</c:v>
                </c:pt>
                <c:pt idx="2869">
                  <c:v>40977</c:v>
                </c:pt>
                <c:pt idx="2870">
                  <c:v>40980</c:v>
                </c:pt>
                <c:pt idx="2871">
                  <c:v>40981</c:v>
                </c:pt>
                <c:pt idx="2872">
                  <c:v>40982</c:v>
                </c:pt>
                <c:pt idx="2873">
                  <c:v>40983</c:v>
                </c:pt>
                <c:pt idx="2874">
                  <c:v>40984</c:v>
                </c:pt>
                <c:pt idx="2875">
                  <c:v>40987</c:v>
                </c:pt>
                <c:pt idx="2876">
                  <c:v>40988</c:v>
                </c:pt>
                <c:pt idx="2877">
                  <c:v>40989</c:v>
                </c:pt>
                <c:pt idx="2878">
                  <c:v>40990</c:v>
                </c:pt>
                <c:pt idx="2879">
                  <c:v>40991</c:v>
                </c:pt>
                <c:pt idx="2880">
                  <c:v>40994</c:v>
                </c:pt>
                <c:pt idx="2881">
                  <c:v>40995</c:v>
                </c:pt>
                <c:pt idx="2882">
                  <c:v>40996</c:v>
                </c:pt>
                <c:pt idx="2883">
                  <c:v>40997</c:v>
                </c:pt>
                <c:pt idx="2884">
                  <c:v>40998</c:v>
                </c:pt>
                <c:pt idx="2885">
                  <c:v>41001</c:v>
                </c:pt>
                <c:pt idx="2886">
                  <c:v>41002</c:v>
                </c:pt>
                <c:pt idx="2887">
                  <c:v>41003</c:v>
                </c:pt>
                <c:pt idx="2888">
                  <c:v>41004</c:v>
                </c:pt>
                <c:pt idx="2889">
                  <c:v>41009</c:v>
                </c:pt>
                <c:pt idx="2890">
                  <c:v>41010</c:v>
                </c:pt>
                <c:pt idx="2891">
                  <c:v>41011</c:v>
                </c:pt>
                <c:pt idx="2892">
                  <c:v>41012</c:v>
                </c:pt>
                <c:pt idx="2893">
                  <c:v>41015</c:v>
                </c:pt>
                <c:pt idx="2894">
                  <c:v>41016</c:v>
                </c:pt>
                <c:pt idx="2895">
                  <c:v>41017</c:v>
                </c:pt>
                <c:pt idx="2896">
                  <c:v>41018</c:v>
                </c:pt>
                <c:pt idx="2897">
                  <c:v>41019</c:v>
                </c:pt>
                <c:pt idx="2898">
                  <c:v>41022</c:v>
                </c:pt>
                <c:pt idx="2899">
                  <c:v>41023</c:v>
                </c:pt>
                <c:pt idx="2900">
                  <c:v>41024</c:v>
                </c:pt>
                <c:pt idx="2901">
                  <c:v>41025</c:v>
                </c:pt>
                <c:pt idx="2902">
                  <c:v>41026</c:v>
                </c:pt>
                <c:pt idx="2903">
                  <c:v>41029</c:v>
                </c:pt>
                <c:pt idx="2904">
                  <c:v>41030</c:v>
                </c:pt>
                <c:pt idx="2905">
                  <c:v>41031</c:v>
                </c:pt>
                <c:pt idx="2906">
                  <c:v>41032</c:v>
                </c:pt>
                <c:pt idx="2907">
                  <c:v>41033</c:v>
                </c:pt>
                <c:pt idx="2908">
                  <c:v>41036</c:v>
                </c:pt>
                <c:pt idx="2909">
                  <c:v>41037</c:v>
                </c:pt>
                <c:pt idx="2910">
                  <c:v>41038</c:v>
                </c:pt>
                <c:pt idx="2911">
                  <c:v>41039</c:v>
                </c:pt>
                <c:pt idx="2912">
                  <c:v>41040</c:v>
                </c:pt>
                <c:pt idx="2913">
                  <c:v>41043</c:v>
                </c:pt>
                <c:pt idx="2914">
                  <c:v>41044</c:v>
                </c:pt>
                <c:pt idx="2915">
                  <c:v>41045</c:v>
                </c:pt>
                <c:pt idx="2916">
                  <c:v>41046</c:v>
                </c:pt>
                <c:pt idx="2917">
                  <c:v>41047</c:v>
                </c:pt>
                <c:pt idx="2918">
                  <c:v>41050</c:v>
                </c:pt>
                <c:pt idx="2919">
                  <c:v>41051</c:v>
                </c:pt>
                <c:pt idx="2920">
                  <c:v>41052</c:v>
                </c:pt>
                <c:pt idx="2921">
                  <c:v>41053</c:v>
                </c:pt>
                <c:pt idx="2922">
                  <c:v>41054</c:v>
                </c:pt>
                <c:pt idx="2923">
                  <c:v>41057</c:v>
                </c:pt>
                <c:pt idx="2924">
                  <c:v>41058</c:v>
                </c:pt>
                <c:pt idx="2925">
                  <c:v>41059</c:v>
                </c:pt>
                <c:pt idx="2926">
                  <c:v>41060</c:v>
                </c:pt>
                <c:pt idx="2927">
                  <c:v>41061</c:v>
                </c:pt>
                <c:pt idx="2928">
                  <c:v>41064</c:v>
                </c:pt>
                <c:pt idx="2929">
                  <c:v>41065</c:v>
                </c:pt>
                <c:pt idx="2930">
                  <c:v>41066</c:v>
                </c:pt>
                <c:pt idx="2931">
                  <c:v>41067</c:v>
                </c:pt>
                <c:pt idx="2932">
                  <c:v>41068</c:v>
                </c:pt>
                <c:pt idx="2933">
                  <c:v>41071</c:v>
                </c:pt>
                <c:pt idx="2934">
                  <c:v>41072</c:v>
                </c:pt>
                <c:pt idx="2935">
                  <c:v>41073</c:v>
                </c:pt>
                <c:pt idx="2936">
                  <c:v>41074</c:v>
                </c:pt>
                <c:pt idx="2937">
                  <c:v>41075</c:v>
                </c:pt>
                <c:pt idx="2938">
                  <c:v>41078</c:v>
                </c:pt>
                <c:pt idx="2939">
                  <c:v>41079</c:v>
                </c:pt>
                <c:pt idx="2940">
                  <c:v>41080</c:v>
                </c:pt>
                <c:pt idx="2941">
                  <c:v>41081</c:v>
                </c:pt>
                <c:pt idx="2942">
                  <c:v>41082</c:v>
                </c:pt>
                <c:pt idx="2943">
                  <c:v>41085</c:v>
                </c:pt>
                <c:pt idx="2944">
                  <c:v>41086</c:v>
                </c:pt>
                <c:pt idx="2945">
                  <c:v>41087</c:v>
                </c:pt>
                <c:pt idx="2946">
                  <c:v>41088</c:v>
                </c:pt>
                <c:pt idx="2947">
                  <c:v>41089</c:v>
                </c:pt>
                <c:pt idx="2948">
                  <c:v>41092</c:v>
                </c:pt>
                <c:pt idx="2949">
                  <c:v>41093</c:v>
                </c:pt>
                <c:pt idx="2950">
                  <c:v>41094</c:v>
                </c:pt>
                <c:pt idx="2951">
                  <c:v>41095</c:v>
                </c:pt>
                <c:pt idx="2952">
                  <c:v>41096</c:v>
                </c:pt>
                <c:pt idx="2953">
                  <c:v>41099</c:v>
                </c:pt>
                <c:pt idx="2954">
                  <c:v>41100</c:v>
                </c:pt>
                <c:pt idx="2955">
                  <c:v>41101</c:v>
                </c:pt>
                <c:pt idx="2956">
                  <c:v>41102</c:v>
                </c:pt>
                <c:pt idx="2957">
                  <c:v>41103</c:v>
                </c:pt>
                <c:pt idx="2958">
                  <c:v>41106</c:v>
                </c:pt>
                <c:pt idx="2959">
                  <c:v>41107</c:v>
                </c:pt>
                <c:pt idx="2960">
                  <c:v>41108</c:v>
                </c:pt>
                <c:pt idx="2961">
                  <c:v>41109</c:v>
                </c:pt>
                <c:pt idx="2962">
                  <c:v>41110</c:v>
                </c:pt>
                <c:pt idx="2963">
                  <c:v>41113</c:v>
                </c:pt>
                <c:pt idx="2964">
                  <c:v>41114</c:v>
                </c:pt>
                <c:pt idx="2965">
                  <c:v>41115</c:v>
                </c:pt>
                <c:pt idx="2966">
                  <c:v>41116</c:v>
                </c:pt>
                <c:pt idx="2967">
                  <c:v>41117</c:v>
                </c:pt>
                <c:pt idx="2968">
                  <c:v>41120</c:v>
                </c:pt>
                <c:pt idx="2969">
                  <c:v>41121</c:v>
                </c:pt>
                <c:pt idx="2970">
                  <c:v>41122</c:v>
                </c:pt>
                <c:pt idx="2971">
                  <c:v>41123</c:v>
                </c:pt>
                <c:pt idx="2972">
                  <c:v>41124</c:v>
                </c:pt>
                <c:pt idx="2973">
                  <c:v>41127</c:v>
                </c:pt>
                <c:pt idx="2974">
                  <c:v>41128</c:v>
                </c:pt>
                <c:pt idx="2975">
                  <c:v>41129</c:v>
                </c:pt>
                <c:pt idx="2976">
                  <c:v>41130</c:v>
                </c:pt>
                <c:pt idx="2977">
                  <c:v>41131</c:v>
                </c:pt>
                <c:pt idx="2978">
                  <c:v>41134</c:v>
                </c:pt>
                <c:pt idx="2979">
                  <c:v>41135</c:v>
                </c:pt>
                <c:pt idx="2980">
                  <c:v>41136</c:v>
                </c:pt>
                <c:pt idx="2981">
                  <c:v>41137</c:v>
                </c:pt>
                <c:pt idx="2982">
                  <c:v>41138</c:v>
                </c:pt>
                <c:pt idx="2983">
                  <c:v>41141</c:v>
                </c:pt>
                <c:pt idx="2984">
                  <c:v>41142</c:v>
                </c:pt>
                <c:pt idx="2985">
                  <c:v>41143</c:v>
                </c:pt>
                <c:pt idx="2986">
                  <c:v>41144</c:v>
                </c:pt>
                <c:pt idx="2987">
                  <c:v>41145</c:v>
                </c:pt>
                <c:pt idx="2988">
                  <c:v>41148</c:v>
                </c:pt>
                <c:pt idx="2989">
                  <c:v>41149</c:v>
                </c:pt>
                <c:pt idx="2990">
                  <c:v>41150</c:v>
                </c:pt>
                <c:pt idx="2991">
                  <c:v>41151</c:v>
                </c:pt>
                <c:pt idx="2992">
                  <c:v>41152</c:v>
                </c:pt>
                <c:pt idx="2993">
                  <c:v>41155</c:v>
                </c:pt>
                <c:pt idx="2994">
                  <c:v>41156</c:v>
                </c:pt>
                <c:pt idx="2995">
                  <c:v>41157</c:v>
                </c:pt>
                <c:pt idx="2996">
                  <c:v>41158</c:v>
                </c:pt>
                <c:pt idx="2997">
                  <c:v>41159</c:v>
                </c:pt>
                <c:pt idx="2998">
                  <c:v>41162</c:v>
                </c:pt>
                <c:pt idx="2999">
                  <c:v>41163</c:v>
                </c:pt>
                <c:pt idx="3000">
                  <c:v>41164</c:v>
                </c:pt>
                <c:pt idx="3001">
                  <c:v>41165</c:v>
                </c:pt>
                <c:pt idx="3002">
                  <c:v>41166</c:v>
                </c:pt>
                <c:pt idx="3003">
                  <c:v>41169</c:v>
                </c:pt>
                <c:pt idx="3004">
                  <c:v>41170</c:v>
                </c:pt>
                <c:pt idx="3005">
                  <c:v>41171</c:v>
                </c:pt>
                <c:pt idx="3006">
                  <c:v>41172</c:v>
                </c:pt>
                <c:pt idx="3007">
                  <c:v>41173</c:v>
                </c:pt>
                <c:pt idx="3008">
                  <c:v>41176</c:v>
                </c:pt>
                <c:pt idx="3009">
                  <c:v>41177</c:v>
                </c:pt>
                <c:pt idx="3010">
                  <c:v>41178</c:v>
                </c:pt>
                <c:pt idx="3011">
                  <c:v>41179</c:v>
                </c:pt>
                <c:pt idx="3012">
                  <c:v>41180</c:v>
                </c:pt>
                <c:pt idx="3013">
                  <c:v>41183</c:v>
                </c:pt>
                <c:pt idx="3014">
                  <c:v>41184</c:v>
                </c:pt>
                <c:pt idx="3015">
                  <c:v>41185</c:v>
                </c:pt>
                <c:pt idx="3016">
                  <c:v>41186</c:v>
                </c:pt>
                <c:pt idx="3017">
                  <c:v>41187</c:v>
                </c:pt>
                <c:pt idx="3018">
                  <c:v>41190</c:v>
                </c:pt>
                <c:pt idx="3019">
                  <c:v>41191</c:v>
                </c:pt>
                <c:pt idx="3020">
                  <c:v>41192</c:v>
                </c:pt>
                <c:pt idx="3021">
                  <c:v>41193</c:v>
                </c:pt>
                <c:pt idx="3022">
                  <c:v>41194</c:v>
                </c:pt>
                <c:pt idx="3023">
                  <c:v>41197</c:v>
                </c:pt>
                <c:pt idx="3024">
                  <c:v>41198</c:v>
                </c:pt>
                <c:pt idx="3025">
                  <c:v>41199</c:v>
                </c:pt>
                <c:pt idx="3026">
                  <c:v>41200</c:v>
                </c:pt>
                <c:pt idx="3027">
                  <c:v>41201</c:v>
                </c:pt>
                <c:pt idx="3028">
                  <c:v>41204</c:v>
                </c:pt>
                <c:pt idx="3029">
                  <c:v>41205</c:v>
                </c:pt>
                <c:pt idx="3030">
                  <c:v>41206</c:v>
                </c:pt>
                <c:pt idx="3031">
                  <c:v>41207</c:v>
                </c:pt>
                <c:pt idx="3032">
                  <c:v>41208</c:v>
                </c:pt>
                <c:pt idx="3033">
                  <c:v>41211</c:v>
                </c:pt>
                <c:pt idx="3034">
                  <c:v>41212</c:v>
                </c:pt>
                <c:pt idx="3035">
                  <c:v>41213</c:v>
                </c:pt>
                <c:pt idx="3036">
                  <c:v>41214</c:v>
                </c:pt>
                <c:pt idx="3037">
                  <c:v>41215</c:v>
                </c:pt>
                <c:pt idx="3038">
                  <c:v>41218</c:v>
                </c:pt>
                <c:pt idx="3039">
                  <c:v>41219</c:v>
                </c:pt>
                <c:pt idx="3040">
                  <c:v>41220</c:v>
                </c:pt>
                <c:pt idx="3041">
                  <c:v>41221</c:v>
                </c:pt>
                <c:pt idx="3042">
                  <c:v>41222</c:v>
                </c:pt>
                <c:pt idx="3043">
                  <c:v>41225</c:v>
                </c:pt>
                <c:pt idx="3044">
                  <c:v>41226</c:v>
                </c:pt>
                <c:pt idx="3045">
                  <c:v>41227</c:v>
                </c:pt>
                <c:pt idx="3046">
                  <c:v>41228</c:v>
                </c:pt>
                <c:pt idx="3047">
                  <c:v>41229</c:v>
                </c:pt>
                <c:pt idx="3048">
                  <c:v>41232</c:v>
                </c:pt>
                <c:pt idx="3049">
                  <c:v>41233</c:v>
                </c:pt>
                <c:pt idx="3050">
                  <c:v>41234</c:v>
                </c:pt>
                <c:pt idx="3051">
                  <c:v>41235</c:v>
                </c:pt>
                <c:pt idx="3052">
                  <c:v>41236</c:v>
                </c:pt>
                <c:pt idx="3053">
                  <c:v>41239</c:v>
                </c:pt>
                <c:pt idx="3054">
                  <c:v>41240</c:v>
                </c:pt>
                <c:pt idx="3055">
                  <c:v>41241</c:v>
                </c:pt>
                <c:pt idx="3056">
                  <c:v>41242</c:v>
                </c:pt>
                <c:pt idx="3057">
                  <c:v>41243</c:v>
                </c:pt>
                <c:pt idx="3058">
                  <c:v>41246</c:v>
                </c:pt>
                <c:pt idx="3059">
                  <c:v>41247</c:v>
                </c:pt>
                <c:pt idx="3060">
                  <c:v>41248</c:v>
                </c:pt>
                <c:pt idx="3061">
                  <c:v>41249</c:v>
                </c:pt>
                <c:pt idx="3062">
                  <c:v>41250</c:v>
                </c:pt>
                <c:pt idx="3063">
                  <c:v>41253</c:v>
                </c:pt>
                <c:pt idx="3064">
                  <c:v>41254</c:v>
                </c:pt>
                <c:pt idx="3065">
                  <c:v>41255</c:v>
                </c:pt>
                <c:pt idx="3066">
                  <c:v>41256</c:v>
                </c:pt>
                <c:pt idx="3067">
                  <c:v>41257</c:v>
                </c:pt>
                <c:pt idx="3068">
                  <c:v>41260</c:v>
                </c:pt>
                <c:pt idx="3069">
                  <c:v>41261</c:v>
                </c:pt>
                <c:pt idx="3070">
                  <c:v>41262</c:v>
                </c:pt>
                <c:pt idx="3071">
                  <c:v>41263</c:v>
                </c:pt>
                <c:pt idx="3072">
                  <c:v>41264</c:v>
                </c:pt>
                <c:pt idx="3073">
                  <c:v>41267</c:v>
                </c:pt>
                <c:pt idx="3074">
                  <c:v>41270</c:v>
                </c:pt>
                <c:pt idx="3075">
                  <c:v>41271</c:v>
                </c:pt>
                <c:pt idx="3076">
                  <c:v>41274</c:v>
                </c:pt>
                <c:pt idx="3077">
                  <c:v>41276</c:v>
                </c:pt>
                <c:pt idx="3078">
                  <c:v>41277</c:v>
                </c:pt>
                <c:pt idx="3079">
                  <c:v>41278</c:v>
                </c:pt>
                <c:pt idx="3080">
                  <c:v>41281</c:v>
                </c:pt>
                <c:pt idx="3081">
                  <c:v>41282</c:v>
                </c:pt>
                <c:pt idx="3082">
                  <c:v>41283</c:v>
                </c:pt>
                <c:pt idx="3083">
                  <c:v>41284</c:v>
                </c:pt>
                <c:pt idx="3084">
                  <c:v>41285</c:v>
                </c:pt>
                <c:pt idx="3085">
                  <c:v>41288</c:v>
                </c:pt>
                <c:pt idx="3086">
                  <c:v>41289</c:v>
                </c:pt>
                <c:pt idx="3087">
                  <c:v>41290</c:v>
                </c:pt>
                <c:pt idx="3088">
                  <c:v>41291</c:v>
                </c:pt>
                <c:pt idx="3089">
                  <c:v>41292</c:v>
                </c:pt>
                <c:pt idx="3090">
                  <c:v>41295</c:v>
                </c:pt>
                <c:pt idx="3091">
                  <c:v>41296</c:v>
                </c:pt>
                <c:pt idx="3092">
                  <c:v>41297</c:v>
                </c:pt>
                <c:pt idx="3093">
                  <c:v>41298</c:v>
                </c:pt>
                <c:pt idx="3094">
                  <c:v>41299</c:v>
                </c:pt>
                <c:pt idx="3095">
                  <c:v>41302</c:v>
                </c:pt>
                <c:pt idx="3096">
                  <c:v>41303</c:v>
                </c:pt>
                <c:pt idx="3097">
                  <c:v>41304</c:v>
                </c:pt>
                <c:pt idx="3098">
                  <c:v>41305</c:v>
                </c:pt>
                <c:pt idx="3099">
                  <c:v>41306</c:v>
                </c:pt>
                <c:pt idx="3100">
                  <c:v>41309</c:v>
                </c:pt>
                <c:pt idx="3101">
                  <c:v>41310</c:v>
                </c:pt>
                <c:pt idx="3102">
                  <c:v>41311</c:v>
                </c:pt>
                <c:pt idx="3103">
                  <c:v>41312</c:v>
                </c:pt>
                <c:pt idx="3104">
                  <c:v>41313</c:v>
                </c:pt>
                <c:pt idx="3105">
                  <c:v>41316</c:v>
                </c:pt>
                <c:pt idx="3106">
                  <c:v>41317</c:v>
                </c:pt>
                <c:pt idx="3107">
                  <c:v>41318</c:v>
                </c:pt>
                <c:pt idx="3108">
                  <c:v>41319</c:v>
                </c:pt>
                <c:pt idx="3109">
                  <c:v>41320</c:v>
                </c:pt>
                <c:pt idx="3110">
                  <c:v>41323</c:v>
                </c:pt>
                <c:pt idx="3111">
                  <c:v>41324</c:v>
                </c:pt>
                <c:pt idx="3112">
                  <c:v>41325</c:v>
                </c:pt>
                <c:pt idx="3113">
                  <c:v>41326</c:v>
                </c:pt>
                <c:pt idx="3114">
                  <c:v>41327</c:v>
                </c:pt>
                <c:pt idx="3115">
                  <c:v>41330</c:v>
                </c:pt>
                <c:pt idx="3116">
                  <c:v>41331</c:v>
                </c:pt>
                <c:pt idx="3117">
                  <c:v>41332</c:v>
                </c:pt>
                <c:pt idx="3118">
                  <c:v>41333</c:v>
                </c:pt>
                <c:pt idx="3119">
                  <c:v>41334</c:v>
                </c:pt>
                <c:pt idx="3120">
                  <c:v>41337</c:v>
                </c:pt>
                <c:pt idx="3121">
                  <c:v>41338</c:v>
                </c:pt>
                <c:pt idx="3122">
                  <c:v>41339</c:v>
                </c:pt>
                <c:pt idx="3123">
                  <c:v>41340</c:v>
                </c:pt>
                <c:pt idx="3124">
                  <c:v>41341</c:v>
                </c:pt>
                <c:pt idx="3125">
                  <c:v>41344</c:v>
                </c:pt>
                <c:pt idx="3126">
                  <c:v>41345</c:v>
                </c:pt>
                <c:pt idx="3127">
                  <c:v>41346</c:v>
                </c:pt>
                <c:pt idx="3128">
                  <c:v>41347</c:v>
                </c:pt>
                <c:pt idx="3129">
                  <c:v>41348</c:v>
                </c:pt>
                <c:pt idx="3130">
                  <c:v>41351</c:v>
                </c:pt>
                <c:pt idx="3131">
                  <c:v>41352</c:v>
                </c:pt>
                <c:pt idx="3132">
                  <c:v>41353</c:v>
                </c:pt>
                <c:pt idx="3133">
                  <c:v>41354</c:v>
                </c:pt>
                <c:pt idx="3134">
                  <c:v>41355</c:v>
                </c:pt>
                <c:pt idx="3135">
                  <c:v>41358</c:v>
                </c:pt>
                <c:pt idx="3136">
                  <c:v>41359</c:v>
                </c:pt>
                <c:pt idx="3137">
                  <c:v>41360</c:v>
                </c:pt>
                <c:pt idx="3138">
                  <c:v>41361</c:v>
                </c:pt>
                <c:pt idx="3139">
                  <c:v>41366</c:v>
                </c:pt>
                <c:pt idx="3140">
                  <c:v>41367</c:v>
                </c:pt>
                <c:pt idx="3141">
                  <c:v>41368</c:v>
                </c:pt>
                <c:pt idx="3142">
                  <c:v>41369</c:v>
                </c:pt>
                <c:pt idx="3143">
                  <c:v>41372</c:v>
                </c:pt>
                <c:pt idx="3144">
                  <c:v>41373</c:v>
                </c:pt>
                <c:pt idx="3145">
                  <c:v>41374</c:v>
                </c:pt>
                <c:pt idx="3146">
                  <c:v>41375</c:v>
                </c:pt>
                <c:pt idx="3147">
                  <c:v>41376</c:v>
                </c:pt>
                <c:pt idx="3148">
                  <c:v>41379</c:v>
                </c:pt>
                <c:pt idx="3149">
                  <c:v>41380</c:v>
                </c:pt>
                <c:pt idx="3150">
                  <c:v>41381</c:v>
                </c:pt>
                <c:pt idx="3151">
                  <c:v>41382</c:v>
                </c:pt>
                <c:pt idx="3152">
                  <c:v>41383</c:v>
                </c:pt>
                <c:pt idx="3153">
                  <c:v>41386</c:v>
                </c:pt>
                <c:pt idx="3154">
                  <c:v>41387</c:v>
                </c:pt>
                <c:pt idx="3155">
                  <c:v>41388</c:v>
                </c:pt>
                <c:pt idx="3156">
                  <c:v>41389</c:v>
                </c:pt>
                <c:pt idx="3157">
                  <c:v>41390</c:v>
                </c:pt>
                <c:pt idx="3158">
                  <c:v>41393</c:v>
                </c:pt>
                <c:pt idx="3159">
                  <c:v>41394</c:v>
                </c:pt>
                <c:pt idx="3160">
                  <c:v>41395</c:v>
                </c:pt>
                <c:pt idx="3161">
                  <c:v>41396</c:v>
                </c:pt>
                <c:pt idx="3162">
                  <c:v>41397</c:v>
                </c:pt>
                <c:pt idx="3163">
                  <c:v>41400</c:v>
                </c:pt>
                <c:pt idx="3164">
                  <c:v>41401</c:v>
                </c:pt>
                <c:pt idx="3165">
                  <c:v>41402</c:v>
                </c:pt>
                <c:pt idx="3166">
                  <c:v>41403</c:v>
                </c:pt>
                <c:pt idx="3167">
                  <c:v>41404</c:v>
                </c:pt>
                <c:pt idx="3168">
                  <c:v>41407</c:v>
                </c:pt>
                <c:pt idx="3169">
                  <c:v>41408</c:v>
                </c:pt>
                <c:pt idx="3170">
                  <c:v>41409</c:v>
                </c:pt>
                <c:pt idx="3171">
                  <c:v>41410</c:v>
                </c:pt>
                <c:pt idx="3172">
                  <c:v>41411</c:v>
                </c:pt>
                <c:pt idx="3173">
                  <c:v>41414</c:v>
                </c:pt>
                <c:pt idx="3174">
                  <c:v>41415</c:v>
                </c:pt>
                <c:pt idx="3175">
                  <c:v>41416</c:v>
                </c:pt>
                <c:pt idx="3176">
                  <c:v>41417</c:v>
                </c:pt>
                <c:pt idx="3177">
                  <c:v>41418</c:v>
                </c:pt>
                <c:pt idx="3178">
                  <c:v>41421</c:v>
                </c:pt>
                <c:pt idx="3179">
                  <c:v>41422</c:v>
                </c:pt>
                <c:pt idx="3180">
                  <c:v>41423</c:v>
                </c:pt>
                <c:pt idx="3181">
                  <c:v>41424</c:v>
                </c:pt>
                <c:pt idx="3182">
                  <c:v>41425</c:v>
                </c:pt>
                <c:pt idx="3183">
                  <c:v>41428</c:v>
                </c:pt>
                <c:pt idx="3184">
                  <c:v>41429</c:v>
                </c:pt>
                <c:pt idx="3185">
                  <c:v>41430</c:v>
                </c:pt>
                <c:pt idx="3186">
                  <c:v>41431</c:v>
                </c:pt>
                <c:pt idx="3187">
                  <c:v>41432</c:v>
                </c:pt>
                <c:pt idx="3188">
                  <c:v>41435</c:v>
                </c:pt>
                <c:pt idx="3189">
                  <c:v>41436</c:v>
                </c:pt>
                <c:pt idx="3190">
                  <c:v>41437</c:v>
                </c:pt>
                <c:pt idx="3191">
                  <c:v>41438</c:v>
                </c:pt>
                <c:pt idx="3192">
                  <c:v>41439</c:v>
                </c:pt>
                <c:pt idx="3193">
                  <c:v>41442</c:v>
                </c:pt>
                <c:pt idx="3194">
                  <c:v>41443</c:v>
                </c:pt>
                <c:pt idx="3195">
                  <c:v>41444</c:v>
                </c:pt>
                <c:pt idx="3196">
                  <c:v>41445</c:v>
                </c:pt>
                <c:pt idx="3197">
                  <c:v>41446</c:v>
                </c:pt>
                <c:pt idx="3198">
                  <c:v>41449</c:v>
                </c:pt>
                <c:pt idx="3199">
                  <c:v>41450</c:v>
                </c:pt>
                <c:pt idx="3200">
                  <c:v>41451</c:v>
                </c:pt>
                <c:pt idx="3201">
                  <c:v>41452</c:v>
                </c:pt>
                <c:pt idx="3202">
                  <c:v>41453</c:v>
                </c:pt>
                <c:pt idx="3203">
                  <c:v>41456</c:v>
                </c:pt>
                <c:pt idx="3204">
                  <c:v>41457</c:v>
                </c:pt>
                <c:pt idx="3205">
                  <c:v>41458</c:v>
                </c:pt>
                <c:pt idx="3206">
                  <c:v>41459</c:v>
                </c:pt>
                <c:pt idx="3207">
                  <c:v>41460</c:v>
                </c:pt>
              </c:numCache>
            </c:numRef>
          </c:cat>
          <c:val>
            <c:numRef>
              <c:f>Sheet2!$F$2:$F$3209</c:f>
              <c:numCache>
                <c:formatCode>General</c:formatCode>
                <c:ptCount val="3208"/>
                <c:pt idx="0">
                  <c:v>100</c:v>
                </c:pt>
                <c:pt idx="1">
                  <c:v>97.330608200173415</c:v>
                </c:pt>
                <c:pt idx="2">
                  <c:v>100.54192988975598</c:v>
                </c:pt>
                <c:pt idx="3">
                  <c:v>100.83302365911061</c:v>
                </c:pt>
                <c:pt idx="4">
                  <c:v>99.59432676823981</c:v>
                </c:pt>
                <c:pt idx="5">
                  <c:v>98.110987241422023</c:v>
                </c:pt>
                <c:pt idx="6">
                  <c:v>97.476155084850731</c:v>
                </c:pt>
                <c:pt idx="7">
                  <c:v>99.557165861513681</c:v>
                </c:pt>
                <c:pt idx="8">
                  <c:v>100.00309674222717</c:v>
                </c:pt>
                <c:pt idx="9">
                  <c:v>99.501424501424495</c:v>
                </c:pt>
                <c:pt idx="10">
                  <c:v>97.93137619224575</c:v>
                </c:pt>
                <c:pt idx="11">
                  <c:v>99.485940790288609</c:v>
                </c:pt>
                <c:pt idx="12">
                  <c:v>100.14554688467732</c:v>
                </c:pt>
                <c:pt idx="13">
                  <c:v>99.275362318840578</c:v>
                </c:pt>
                <c:pt idx="14">
                  <c:v>99.619100706057225</c:v>
                </c:pt>
                <c:pt idx="15">
                  <c:v>99.470457079152709</c:v>
                </c:pt>
                <c:pt idx="16">
                  <c:v>99.136008918617605</c:v>
                </c:pt>
                <c:pt idx="17">
                  <c:v>99.108138238573034</c:v>
                </c:pt>
                <c:pt idx="18">
                  <c:v>98.940914158305461</c:v>
                </c:pt>
                <c:pt idx="19">
                  <c:v>98.86039886039886</c:v>
                </c:pt>
                <c:pt idx="20">
                  <c:v>99.550972377059338</c:v>
                </c:pt>
                <c:pt idx="21">
                  <c:v>100.21677195590239</c:v>
                </c:pt>
                <c:pt idx="22">
                  <c:v>100.32206119162639</c:v>
                </c:pt>
                <c:pt idx="23">
                  <c:v>98.894463024897817</c:v>
                </c:pt>
                <c:pt idx="24">
                  <c:v>99.520004954787552</c:v>
                </c:pt>
                <c:pt idx="25">
                  <c:v>99.080267558528419</c:v>
                </c:pt>
                <c:pt idx="26">
                  <c:v>98.253437383872154</c:v>
                </c:pt>
                <c:pt idx="27">
                  <c:v>96.810355506007681</c:v>
                </c:pt>
                <c:pt idx="28">
                  <c:v>96.262232131797361</c:v>
                </c:pt>
                <c:pt idx="29">
                  <c:v>97.652669391799805</c:v>
                </c:pt>
                <c:pt idx="30">
                  <c:v>96.63384119905858</c:v>
                </c:pt>
                <c:pt idx="31">
                  <c:v>95.537594450637926</c:v>
                </c:pt>
                <c:pt idx="32">
                  <c:v>95.40443453486931</c:v>
                </c:pt>
                <c:pt idx="33">
                  <c:v>94.144060448408268</c:v>
                </c:pt>
                <c:pt idx="34">
                  <c:v>94.599281555803287</c:v>
                </c:pt>
                <c:pt idx="35">
                  <c:v>92.914653784219013</c:v>
                </c:pt>
                <c:pt idx="36">
                  <c:v>92.18382261860522</c:v>
                </c:pt>
                <c:pt idx="37">
                  <c:v>91.295057599405425</c:v>
                </c:pt>
                <c:pt idx="38">
                  <c:v>91.109253065774794</c:v>
                </c:pt>
                <c:pt idx="39">
                  <c:v>91.072092159048665</c:v>
                </c:pt>
                <c:pt idx="40">
                  <c:v>91.75027870680043</c:v>
                </c:pt>
                <c:pt idx="41">
                  <c:v>91.858664684751631</c:v>
                </c:pt>
                <c:pt idx="42">
                  <c:v>91.920599529295174</c:v>
                </c:pt>
                <c:pt idx="43">
                  <c:v>92.140468227424762</c:v>
                </c:pt>
                <c:pt idx="44">
                  <c:v>93.933481976960238</c:v>
                </c:pt>
                <c:pt idx="45">
                  <c:v>94.233865972996398</c:v>
                </c:pt>
                <c:pt idx="46">
                  <c:v>93.933481976960238</c:v>
                </c:pt>
                <c:pt idx="47">
                  <c:v>93.747677443329607</c:v>
                </c:pt>
                <c:pt idx="48">
                  <c:v>92.639043726000239</c:v>
                </c:pt>
                <c:pt idx="49">
                  <c:v>90.372228415706672</c:v>
                </c:pt>
                <c:pt idx="50">
                  <c:v>88.201412114455593</c:v>
                </c:pt>
                <c:pt idx="51">
                  <c:v>86.365043973739617</c:v>
                </c:pt>
                <c:pt idx="52">
                  <c:v>86.789297658862878</c:v>
                </c:pt>
                <c:pt idx="53">
                  <c:v>84.503901895206241</c:v>
                </c:pt>
                <c:pt idx="54">
                  <c:v>84.104422147900394</c:v>
                </c:pt>
                <c:pt idx="55">
                  <c:v>85.702341137123739</c:v>
                </c:pt>
                <c:pt idx="56">
                  <c:v>83.497460671373716</c:v>
                </c:pt>
                <c:pt idx="57">
                  <c:v>79.233246624550972</c:v>
                </c:pt>
                <c:pt idx="58">
                  <c:v>81.50315867707171</c:v>
                </c:pt>
                <c:pt idx="59">
                  <c:v>84.476031215161655</c:v>
                </c:pt>
                <c:pt idx="60">
                  <c:v>86.005821875387085</c:v>
                </c:pt>
                <c:pt idx="61">
                  <c:v>84.578223708658484</c:v>
                </c:pt>
                <c:pt idx="62">
                  <c:v>84.045584045584036</c:v>
                </c:pt>
                <c:pt idx="63">
                  <c:v>84.293323423758196</c:v>
                </c:pt>
                <c:pt idx="64">
                  <c:v>83.977455716586149</c:v>
                </c:pt>
                <c:pt idx="65">
                  <c:v>82.605598909946735</c:v>
                </c:pt>
                <c:pt idx="66">
                  <c:v>83.658491267186903</c:v>
                </c:pt>
                <c:pt idx="67">
                  <c:v>85.03963830050786</c:v>
                </c:pt>
                <c:pt idx="68">
                  <c:v>85.253313514183077</c:v>
                </c:pt>
                <c:pt idx="69">
                  <c:v>86.312399355877631</c:v>
                </c:pt>
                <c:pt idx="70">
                  <c:v>87.10826210826211</c:v>
                </c:pt>
                <c:pt idx="71">
                  <c:v>87.436516784342885</c:v>
                </c:pt>
                <c:pt idx="72">
                  <c:v>87.749287749287745</c:v>
                </c:pt>
                <c:pt idx="73">
                  <c:v>86.365043973739617</c:v>
                </c:pt>
                <c:pt idx="74">
                  <c:v>89.009661835748787</c:v>
                </c:pt>
                <c:pt idx="75">
                  <c:v>89.61972005450265</c:v>
                </c:pt>
                <c:pt idx="76">
                  <c:v>89.790040876997395</c:v>
                </c:pt>
                <c:pt idx="77">
                  <c:v>88.641149510714726</c:v>
                </c:pt>
                <c:pt idx="78">
                  <c:v>88.777406168710513</c:v>
                </c:pt>
                <c:pt idx="79">
                  <c:v>88.861018208844285</c:v>
                </c:pt>
                <c:pt idx="80">
                  <c:v>89.703332094636437</c:v>
                </c:pt>
                <c:pt idx="81">
                  <c:v>90.081134646352027</c:v>
                </c:pt>
                <c:pt idx="82">
                  <c:v>90.638548247243889</c:v>
                </c:pt>
                <c:pt idx="83">
                  <c:v>90.654031958379775</c:v>
                </c:pt>
                <c:pt idx="84">
                  <c:v>88.687600644122384</c:v>
                </c:pt>
                <c:pt idx="85">
                  <c:v>89.84268549485941</c:v>
                </c:pt>
                <c:pt idx="86">
                  <c:v>89.384367645237205</c:v>
                </c:pt>
                <c:pt idx="87">
                  <c:v>89.29456212064909</c:v>
                </c:pt>
                <c:pt idx="88">
                  <c:v>89.093273875882574</c:v>
                </c:pt>
                <c:pt idx="89">
                  <c:v>90.260745695528314</c:v>
                </c:pt>
                <c:pt idx="90">
                  <c:v>89.384367645237205</c:v>
                </c:pt>
                <c:pt idx="91">
                  <c:v>87.650191998018087</c:v>
                </c:pt>
                <c:pt idx="92">
                  <c:v>89.183079400470703</c:v>
                </c:pt>
                <c:pt idx="93">
                  <c:v>89.879846401585525</c:v>
                </c:pt>
                <c:pt idx="94">
                  <c:v>90.533259011519888</c:v>
                </c:pt>
                <c:pt idx="95">
                  <c:v>91.12473677691068</c:v>
                </c:pt>
                <c:pt idx="96">
                  <c:v>91.350798959494611</c:v>
                </c:pt>
                <c:pt idx="97">
                  <c:v>90.684999380651533</c:v>
                </c:pt>
                <c:pt idx="98">
                  <c:v>89.204756596060946</c:v>
                </c:pt>
                <c:pt idx="99">
                  <c:v>89.452495974235106</c:v>
                </c:pt>
                <c:pt idx="100">
                  <c:v>89.077790164746673</c:v>
                </c:pt>
                <c:pt idx="101">
                  <c:v>89.192369627152232</c:v>
                </c:pt>
                <c:pt idx="102">
                  <c:v>88.489409141583053</c:v>
                </c:pt>
                <c:pt idx="103">
                  <c:v>87.582063669020187</c:v>
                </c:pt>
                <c:pt idx="104">
                  <c:v>86.789297658862878</c:v>
                </c:pt>
                <c:pt idx="105">
                  <c:v>86.882199925678179</c:v>
                </c:pt>
                <c:pt idx="106">
                  <c:v>86.944134770221723</c:v>
                </c:pt>
                <c:pt idx="107">
                  <c:v>88.285024154589351</c:v>
                </c:pt>
                <c:pt idx="108">
                  <c:v>87.352904744209084</c:v>
                </c:pt>
                <c:pt idx="109">
                  <c:v>87.39625913538957</c:v>
                </c:pt>
                <c:pt idx="110">
                  <c:v>87.269292704075312</c:v>
                </c:pt>
                <c:pt idx="111">
                  <c:v>85.844791279573869</c:v>
                </c:pt>
                <c:pt idx="112">
                  <c:v>84.637061810974856</c:v>
                </c:pt>
                <c:pt idx="113">
                  <c:v>85.699244394896567</c:v>
                </c:pt>
                <c:pt idx="114">
                  <c:v>85.367892976588621</c:v>
                </c:pt>
                <c:pt idx="115">
                  <c:v>84.819769602378287</c:v>
                </c:pt>
                <c:pt idx="116">
                  <c:v>83.92790784095132</c:v>
                </c:pt>
                <c:pt idx="117">
                  <c:v>83.624427102687974</c:v>
                </c:pt>
                <c:pt idx="118">
                  <c:v>83.590362938189017</c:v>
                </c:pt>
                <c:pt idx="119">
                  <c:v>83.608943391552089</c:v>
                </c:pt>
                <c:pt idx="120">
                  <c:v>83.831908831908819</c:v>
                </c:pt>
                <c:pt idx="121">
                  <c:v>84.389322432800697</c:v>
                </c:pt>
                <c:pt idx="122">
                  <c:v>83.070110244023283</c:v>
                </c:pt>
                <c:pt idx="123">
                  <c:v>83.274495231016971</c:v>
                </c:pt>
                <c:pt idx="124">
                  <c:v>82.847144803666524</c:v>
                </c:pt>
                <c:pt idx="125">
                  <c:v>83.915520872042606</c:v>
                </c:pt>
                <c:pt idx="126">
                  <c:v>84.844543540195716</c:v>
                </c:pt>
                <c:pt idx="127">
                  <c:v>83.841199058590362</c:v>
                </c:pt>
                <c:pt idx="128">
                  <c:v>83.150625541929884</c:v>
                </c:pt>
                <c:pt idx="129">
                  <c:v>81.682769726247983</c:v>
                </c:pt>
                <c:pt idx="130">
                  <c:v>81.060324538585405</c:v>
                </c:pt>
                <c:pt idx="131">
                  <c:v>80.852842809364532</c:v>
                </c:pt>
                <c:pt idx="132">
                  <c:v>80.936454849498318</c:v>
                </c:pt>
                <c:pt idx="133">
                  <c:v>80.245881332837854</c:v>
                </c:pt>
                <c:pt idx="134">
                  <c:v>80.852842809364532</c:v>
                </c:pt>
                <c:pt idx="135">
                  <c:v>81.323547627895451</c:v>
                </c:pt>
                <c:pt idx="136">
                  <c:v>80.930261365043961</c:v>
                </c:pt>
                <c:pt idx="137">
                  <c:v>80.574136008918614</c:v>
                </c:pt>
                <c:pt idx="138">
                  <c:v>80.710392666914402</c:v>
                </c:pt>
                <c:pt idx="139">
                  <c:v>82.014121144555915</c:v>
                </c:pt>
                <c:pt idx="140">
                  <c:v>81.397869441347709</c:v>
                </c:pt>
                <c:pt idx="141">
                  <c:v>81.342128081258508</c:v>
                </c:pt>
                <c:pt idx="142">
                  <c:v>80.620587142326258</c:v>
                </c:pt>
                <c:pt idx="143">
                  <c:v>79.960981047937551</c:v>
                </c:pt>
                <c:pt idx="144">
                  <c:v>80.357364053016227</c:v>
                </c:pt>
                <c:pt idx="145">
                  <c:v>81.688963210702354</c:v>
                </c:pt>
                <c:pt idx="146">
                  <c:v>82.413600891861762</c:v>
                </c:pt>
                <c:pt idx="147">
                  <c:v>83.302365911061557</c:v>
                </c:pt>
                <c:pt idx="148">
                  <c:v>84.163260250216752</c:v>
                </c:pt>
                <c:pt idx="149">
                  <c:v>84.383128948346339</c:v>
                </c:pt>
                <c:pt idx="150">
                  <c:v>83.828812089681648</c:v>
                </c:pt>
                <c:pt idx="151">
                  <c:v>83.553202031462902</c:v>
                </c:pt>
                <c:pt idx="152">
                  <c:v>83.138238573021184</c:v>
                </c:pt>
                <c:pt idx="153">
                  <c:v>82.398117180725876</c:v>
                </c:pt>
                <c:pt idx="154">
                  <c:v>81.927412362194971</c:v>
                </c:pt>
                <c:pt idx="155">
                  <c:v>81.574383748296782</c:v>
                </c:pt>
                <c:pt idx="156">
                  <c:v>82.209215904868088</c:v>
                </c:pt>
                <c:pt idx="157">
                  <c:v>83.655394524959732</c:v>
                </c:pt>
                <c:pt idx="158">
                  <c:v>83.804038151864233</c:v>
                </c:pt>
                <c:pt idx="159">
                  <c:v>83.327139848878971</c:v>
                </c:pt>
                <c:pt idx="160">
                  <c:v>82.246376811594189</c:v>
                </c:pt>
                <c:pt idx="161">
                  <c:v>81.9490895577852</c:v>
                </c:pt>
                <c:pt idx="162">
                  <c:v>82.791403443577366</c:v>
                </c:pt>
                <c:pt idx="163">
                  <c:v>82.899789421528553</c:v>
                </c:pt>
                <c:pt idx="164">
                  <c:v>82.94314381270901</c:v>
                </c:pt>
                <c:pt idx="165">
                  <c:v>83.92790784095132</c:v>
                </c:pt>
                <c:pt idx="166">
                  <c:v>83.999132912176393</c:v>
                </c:pt>
                <c:pt idx="167">
                  <c:v>83.082497212931997</c:v>
                </c:pt>
                <c:pt idx="168">
                  <c:v>82.909079648210081</c:v>
                </c:pt>
                <c:pt idx="169">
                  <c:v>81.961476526693914</c:v>
                </c:pt>
                <c:pt idx="170">
                  <c:v>81.70135017961104</c:v>
                </c:pt>
                <c:pt idx="171">
                  <c:v>80.623683884553458</c:v>
                </c:pt>
                <c:pt idx="172">
                  <c:v>80.007432181345223</c:v>
                </c:pt>
                <c:pt idx="173">
                  <c:v>79.183698748916143</c:v>
                </c:pt>
                <c:pt idx="174">
                  <c:v>77.907840951319201</c:v>
                </c:pt>
                <c:pt idx="175">
                  <c:v>76.64746686485816</c:v>
                </c:pt>
                <c:pt idx="176">
                  <c:v>75.538833147528791</c:v>
                </c:pt>
                <c:pt idx="177">
                  <c:v>72.138610182088442</c:v>
                </c:pt>
                <c:pt idx="178">
                  <c:v>72.80131301870432</c:v>
                </c:pt>
                <c:pt idx="179">
                  <c:v>73.727238944630244</c:v>
                </c:pt>
                <c:pt idx="180">
                  <c:v>70.881332837854572</c:v>
                </c:pt>
                <c:pt idx="181">
                  <c:v>72.652669391799819</c:v>
                </c:pt>
                <c:pt idx="182">
                  <c:v>71.940418679549111</c:v>
                </c:pt>
                <c:pt idx="183">
                  <c:v>70.655270655270655</c:v>
                </c:pt>
                <c:pt idx="184">
                  <c:v>67.468722903505508</c:v>
                </c:pt>
                <c:pt idx="185">
                  <c:v>64.97274866840084</c:v>
                </c:pt>
                <c:pt idx="186">
                  <c:v>68.391552087204261</c:v>
                </c:pt>
                <c:pt idx="187">
                  <c:v>69.837730707295918</c:v>
                </c:pt>
                <c:pt idx="188">
                  <c:v>70.698625046451127</c:v>
                </c:pt>
                <c:pt idx="189">
                  <c:v>71.355134398612662</c:v>
                </c:pt>
                <c:pt idx="190">
                  <c:v>73.024278459061065</c:v>
                </c:pt>
                <c:pt idx="191">
                  <c:v>71.859903381642511</c:v>
                </c:pt>
                <c:pt idx="192">
                  <c:v>72.312027746810358</c:v>
                </c:pt>
                <c:pt idx="193">
                  <c:v>72.745571658615134</c:v>
                </c:pt>
                <c:pt idx="194">
                  <c:v>75.024773937817415</c:v>
                </c:pt>
                <c:pt idx="195">
                  <c:v>74.820388950823727</c:v>
                </c:pt>
                <c:pt idx="196">
                  <c:v>74.845162888641141</c:v>
                </c:pt>
                <c:pt idx="197">
                  <c:v>74.228911185432921</c:v>
                </c:pt>
                <c:pt idx="198">
                  <c:v>75.956893348197696</c:v>
                </c:pt>
                <c:pt idx="199">
                  <c:v>76.142697881828312</c:v>
                </c:pt>
                <c:pt idx="200">
                  <c:v>76.421404682274243</c:v>
                </c:pt>
                <c:pt idx="201">
                  <c:v>74.783228044097612</c:v>
                </c:pt>
                <c:pt idx="202">
                  <c:v>75.529542920847263</c:v>
                </c:pt>
                <c:pt idx="203">
                  <c:v>76.724885420537589</c:v>
                </c:pt>
                <c:pt idx="204">
                  <c:v>75.668896321070235</c:v>
                </c:pt>
                <c:pt idx="205">
                  <c:v>74.036913167347947</c:v>
                </c:pt>
                <c:pt idx="206">
                  <c:v>74.489037532515795</c:v>
                </c:pt>
                <c:pt idx="207">
                  <c:v>76.182955530781612</c:v>
                </c:pt>
                <c:pt idx="208">
                  <c:v>76.601015731450516</c:v>
                </c:pt>
                <c:pt idx="209">
                  <c:v>75.442834138486305</c:v>
                </c:pt>
                <c:pt idx="210">
                  <c:v>76.932367149758448</c:v>
                </c:pt>
                <c:pt idx="211">
                  <c:v>76.322308931004585</c:v>
                </c:pt>
                <c:pt idx="212">
                  <c:v>74.585036541558281</c:v>
                </c:pt>
                <c:pt idx="213">
                  <c:v>75.359222098352532</c:v>
                </c:pt>
                <c:pt idx="214">
                  <c:v>76.086956521739125</c:v>
                </c:pt>
                <c:pt idx="215">
                  <c:v>76.362566579957885</c:v>
                </c:pt>
                <c:pt idx="216">
                  <c:v>77.638424377554813</c:v>
                </c:pt>
                <c:pt idx="217">
                  <c:v>77.7344233865973</c:v>
                </c:pt>
                <c:pt idx="218">
                  <c:v>78.143193360584661</c:v>
                </c:pt>
                <c:pt idx="219">
                  <c:v>79.285891242412973</c:v>
                </c:pt>
                <c:pt idx="220">
                  <c:v>78.613898179115566</c:v>
                </c:pt>
                <c:pt idx="221">
                  <c:v>77.000495478756349</c:v>
                </c:pt>
                <c:pt idx="222">
                  <c:v>78.418803418803421</c:v>
                </c:pt>
                <c:pt idx="223">
                  <c:v>78.459061067756721</c:v>
                </c:pt>
                <c:pt idx="224">
                  <c:v>78.505512201164365</c:v>
                </c:pt>
                <c:pt idx="225">
                  <c:v>79.251827077914029</c:v>
                </c:pt>
                <c:pt idx="226">
                  <c:v>79.611049176266562</c:v>
                </c:pt>
                <c:pt idx="227">
                  <c:v>78.973120277468098</c:v>
                </c:pt>
                <c:pt idx="228">
                  <c:v>78.570543787935094</c:v>
                </c:pt>
                <c:pt idx="229">
                  <c:v>79.093893224327999</c:v>
                </c:pt>
                <c:pt idx="230">
                  <c:v>78.682026508113466</c:v>
                </c:pt>
                <c:pt idx="231">
                  <c:v>78.920475659606097</c:v>
                </c:pt>
                <c:pt idx="232">
                  <c:v>78.121516164994418</c:v>
                </c:pt>
                <c:pt idx="233">
                  <c:v>77.573392790784098</c:v>
                </c:pt>
                <c:pt idx="234">
                  <c:v>77.542425368512326</c:v>
                </c:pt>
                <c:pt idx="235">
                  <c:v>78.195837978446676</c:v>
                </c:pt>
                <c:pt idx="236">
                  <c:v>77.520748172922083</c:v>
                </c:pt>
                <c:pt idx="237">
                  <c:v>78.353771832032692</c:v>
                </c:pt>
                <c:pt idx="238">
                  <c:v>80.270655270655254</c:v>
                </c:pt>
                <c:pt idx="239">
                  <c:v>81.25541929889755</c:v>
                </c:pt>
                <c:pt idx="240">
                  <c:v>80.137495354886639</c:v>
                </c:pt>
                <c:pt idx="241">
                  <c:v>78.762541806020067</c:v>
                </c:pt>
                <c:pt idx="242">
                  <c:v>78.997894215285513</c:v>
                </c:pt>
                <c:pt idx="243">
                  <c:v>78.808992939427725</c:v>
                </c:pt>
                <c:pt idx="244">
                  <c:v>77.282299021429452</c:v>
                </c:pt>
                <c:pt idx="245">
                  <c:v>77.530038399603612</c:v>
                </c:pt>
                <c:pt idx="246">
                  <c:v>79.233246624550972</c:v>
                </c:pt>
                <c:pt idx="247">
                  <c:v>79.131054131054128</c:v>
                </c:pt>
                <c:pt idx="248">
                  <c:v>78.285643503034805</c:v>
                </c:pt>
                <c:pt idx="249">
                  <c:v>77.604360213055855</c:v>
                </c:pt>
                <c:pt idx="250">
                  <c:v>78.189644493992319</c:v>
                </c:pt>
                <c:pt idx="251">
                  <c:v>78.322804409760934</c:v>
                </c:pt>
                <c:pt idx="252">
                  <c:v>79.310665180230387</c:v>
                </c:pt>
                <c:pt idx="253">
                  <c:v>79.71014492753622</c:v>
                </c:pt>
                <c:pt idx="254">
                  <c:v>80.177753003839968</c:v>
                </c:pt>
                <c:pt idx="255">
                  <c:v>81.258516041124722</c:v>
                </c:pt>
                <c:pt idx="256">
                  <c:v>81.304967174532393</c:v>
                </c:pt>
                <c:pt idx="257">
                  <c:v>80.379041248606455</c:v>
                </c:pt>
                <c:pt idx="258">
                  <c:v>79.583178496221976</c:v>
                </c:pt>
                <c:pt idx="259">
                  <c:v>79.45001858045336</c:v>
                </c:pt>
                <c:pt idx="260">
                  <c:v>78.815186423882068</c:v>
                </c:pt>
                <c:pt idx="261">
                  <c:v>79.375696767001116</c:v>
                </c:pt>
                <c:pt idx="262">
                  <c:v>77.8149386845039</c:v>
                </c:pt>
                <c:pt idx="263">
                  <c:v>77.979066022544274</c:v>
                </c:pt>
                <c:pt idx="264">
                  <c:v>76.811594202898547</c:v>
                </c:pt>
                <c:pt idx="265">
                  <c:v>77.567199306329741</c:v>
                </c:pt>
                <c:pt idx="266">
                  <c:v>77.542425368512326</c:v>
                </c:pt>
                <c:pt idx="267">
                  <c:v>77.050043354391178</c:v>
                </c:pt>
                <c:pt idx="268">
                  <c:v>77.167719559023908</c:v>
                </c:pt>
                <c:pt idx="269">
                  <c:v>77.180106527932608</c:v>
                </c:pt>
                <c:pt idx="270">
                  <c:v>78.102935711631361</c:v>
                </c:pt>
                <c:pt idx="271">
                  <c:v>76.703208224947346</c:v>
                </c:pt>
                <c:pt idx="272">
                  <c:v>77.108881456707536</c:v>
                </c:pt>
                <c:pt idx="273">
                  <c:v>76.306825219868699</c:v>
                </c:pt>
                <c:pt idx="274">
                  <c:v>75.303480738263346</c:v>
                </c:pt>
                <c:pt idx="275">
                  <c:v>76.000247739378167</c:v>
                </c:pt>
                <c:pt idx="276">
                  <c:v>76.3873405177753</c:v>
                </c:pt>
                <c:pt idx="277">
                  <c:v>76.235600148643627</c:v>
                </c:pt>
                <c:pt idx="278">
                  <c:v>74.668648581692054</c:v>
                </c:pt>
                <c:pt idx="279">
                  <c:v>74.136008918617605</c:v>
                </c:pt>
                <c:pt idx="280">
                  <c:v>75</c:v>
                </c:pt>
                <c:pt idx="281">
                  <c:v>75.055741360089186</c:v>
                </c:pt>
                <c:pt idx="282">
                  <c:v>76.09934349064784</c:v>
                </c:pt>
                <c:pt idx="283">
                  <c:v>76.009537966059696</c:v>
                </c:pt>
                <c:pt idx="284">
                  <c:v>76.173665304100084</c:v>
                </c:pt>
                <c:pt idx="285">
                  <c:v>77.09339774557165</c:v>
                </c:pt>
                <c:pt idx="286">
                  <c:v>76.368760064412228</c:v>
                </c:pt>
                <c:pt idx="287">
                  <c:v>75.795862752384494</c:v>
                </c:pt>
                <c:pt idx="288">
                  <c:v>74.965935835501043</c:v>
                </c:pt>
                <c:pt idx="289">
                  <c:v>73.999752260621818</c:v>
                </c:pt>
                <c:pt idx="290">
                  <c:v>74.557165861513681</c:v>
                </c:pt>
                <c:pt idx="291">
                  <c:v>74.451876625789666</c:v>
                </c:pt>
                <c:pt idx="292">
                  <c:v>74.897807506503156</c:v>
                </c:pt>
                <c:pt idx="293">
                  <c:v>74.938065155456457</c:v>
                </c:pt>
                <c:pt idx="294">
                  <c:v>76.114827201783726</c:v>
                </c:pt>
                <c:pt idx="295">
                  <c:v>76.11173045955654</c:v>
                </c:pt>
                <c:pt idx="296">
                  <c:v>76.690821256038646</c:v>
                </c:pt>
                <c:pt idx="297">
                  <c:v>78.700606961476524</c:v>
                </c:pt>
                <c:pt idx="298">
                  <c:v>78.344481605351163</c:v>
                </c:pt>
                <c:pt idx="299">
                  <c:v>79.038151864238813</c:v>
                </c:pt>
                <c:pt idx="300">
                  <c:v>80.032206119162637</c:v>
                </c:pt>
                <c:pt idx="301">
                  <c:v>79.672984020810091</c:v>
                </c:pt>
                <c:pt idx="302">
                  <c:v>79.533630620587132</c:v>
                </c:pt>
                <c:pt idx="303">
                  <c:v>78.87402452619844</c:v>
                </c:pt>
                <c:pt idx="304">
                  <c:v>79.022668153102927</c:v>
                </c:pt>
                <c:pt idx="305">
                  <c:v>79.524340393905604</c:v>
                </c:pt>
                <c:pt idx="306">
                  <c:v>80.149882323795367</c:v>
                </c:pt>
                <c:pt idx="307">
                  <c:v>80.608200173417558</c:v>
                </c:pt>
                <c:pt idx="308">
                  <c:v>80.753747058094874</c:v>
                </c:pt>
                <c:pt idx="309">
                  <c:v>80.304719435154212</c:v>
                </c:pt>
                <c:pt idx="310">
                  <c:v>79.97336801684628</c:v>
                </c:pt>
                <c:pt idx="311">
                  <c:v>79.933110367892979</c:v>
                </c:pt>
                <c:pt idx="312">
                  <c:v>79.360213055865231</c:v>
                </c:pt>
                <c:pt idx="313">
                  <c:v>79.555307816177361</c:v>
                </c:pt>
                <c:pt idx="314">
                  <c:v>79.415954415954417</c:v>
                </c:pt>
                <c:pt idx="315">
                  <c:v>80.11891490152361</c:v>
                </c:pt>
                <c:pt idx="316">
                  <c:v>80.375944506379284</c:v>
                </c:pt>
                <c:pt idx="317">
                  <c:v>80.391428217515184</c:v>
                </c:pt>
                <c:pt idx="318">
                  <c:v>79.45001858045336</c:v>
                </c:pt>
                <c:pt idx="319">
                  <c:v>79.632726371856791</c:v>
                </c:pt>
                <c:pt idx="320">
                  <c:v>78.136999876130304</c:v>
                </c:pt>
                <c:pt idx="321">
                  <c:v>78.750154837111353</c:v>
                </c:pt>
                <c:pt idx="322">
                  <c:v>79.45001858045336</c:v>
                </c:pt>
                <c:pt idx="323">
                  <c:v>78.372352285395763</c:v>
                </c:pt>
                <c:pt idx="324">
                  <c:v>78.462157809983893</c:v>
                </c:pt>
                <c:pt idx="325">
                  <c:v>79.118667162145414</c:v>
                </c:pt>
                <c:pt idx="326">
                  <c:v>80.527684875510971</c:v>
                </c:pt>
                <c:pt idx="327">
                  <c:v>81.097485445311534</c:v>
                </c:pt>
                <c:pt idx="328">
                  <c:v>80.663941533506744</c:v>
                </c:pt>
                <c:pt idx="329">
                  <c:v>80.936454849498318</c:v>
                </c:pt>
                <c:pt idx="330">
                  <c:v>80.199430199430196</c:v>
                </c:pt>
                <c:pt idx="331">
                  <c:v>79.911433172302736</c:v>
                </c:pt>
                <c:pt idx="332">
                  <c:v>79.899046203394022</c:v>
                </c:pt>
                <c:pt idx="333">
                  <c:v>79.592468722903504</c:v>
                </c:pt>
                <c:pt idx="334">
                  <c:v>79.493372971633832</c:v>
                </c:pt>
                <c:pt idx="335">
                  <c:v>79.372600024773931</c:v>
                </c:pt>
                <c:pt idx="336">
                  <c:v>79.682274247491634</c:v>
                </c:pt>
                <c:pt idx="337">
                  <c:v>79.632726371856791</c:v>
                </c:pt>
                <c:pt idx="338">
                  <c:v>80.292332466245497</c:v>
                </c:pt>
                <c:pt idx="339">
                  <c:v>80.069367025888766</c:v>
                </c:pt>
                <c:pt idx="340">
                  <c:v>79.04434534869317</c:v>
                </c:pt>
                <c:pt idx="341">
                  <c:v>79.982658243527794</c:v>
                </c:pt>
                <c:pt idx="342">
                  <c:v>80.044593088071352</c:v>
                </c:pt>
                <c:pt idx="343">
                  <c:v>79.505759940542546</c:v>
                </c:pt>
                <c:pt idx="344">
                  <c:v>79.988851727982166</c:v>
                </c:pt>
                <c:pt idx="345">
                  <c:v>80.267558528428083</c:v>
                </c:pt>
                <c:pt idx="346">
                  <c:v>81.069614765266948</c:v>
                </c:pt>
                <c:pt idx="347">
                  <c:v>81.097485445311534</c:v>
                </c:pt>
                <c:pt idx="348">
                  <c:v>81.351418307940037</c:v>
                </c:pt>
                <c:pt idx="349">
                  <c:v>80.979809240678804</c:v>
                </c:pt>
                <c:pt idx="350">
                  <c:v>80.784714480366645</c:v>
                </c:pt>
                <c:pt idx="351">
                  <c:v>80.122011643750767</c:v>
                </c:pt>
                <c:pt idx="352">
                  <c:v>80.010528923572394</c:v>
                </c:pt>
                <c:pt idx="353">
                  <c:v>79.945497336801694</c:v>
                </c:pt>
                <c:pt idx="354">
                  <c:v>79.995045212436509</c:v>
                </c:pt>
                <c:pt idx="355">
                  <c:v>79.806143936578707</c:v>
                </c:pt>
                <c:pt idx="356">
                  <c:v>80.060076799207224</c:v>
                </c:pt>
                <c:pt idx="357">
                  <c:v>79.484082744952303</c:v>
                </c:pt>
                <c:pt idx="358">
                  <c:v>79.443825095999017</c:v>
                </c:pt>
                <c:pt idx="359">
                  <c:v>79.428341384863117</c:v>
                </c:pt>
                <c:pt idx="360">
                  <c:v>78.347578347578349</c:v>
                </c:pt>
                <c:pt idx="361">
                  <c:v>77.632230893100456</c:v>
                </c:pt>
                <c:pt idx="362">
                  <c:v>77.759197324414714</c:v>
                </c:pt>
                <c:pt idx="363">
                  <c:v>76.715595193856061</c:v>
                </c:pt>
                <c:pt idx="364">
                  <c:v>76.755852842809361</c:v>
                </c:pt>
                <c:pt idx="365">
                  <c:v>77.802551715595186</c:v>
                </c:pt>
                <c:pt idx="366">
                  <c:v>76.025021677195582</c:v>
                </c:pt>
                <c:pt idx="367">
                  <c:v>75.006193484454357</c:v>
                </c:pt>
                <c:pt idx="368">
                  <c:v>73.287501548371111</c:v>
                </c:pt>
                <c:pt idx="369">
                  <c:v>75.541929889755977</c:v>
                </c:pt>
                <c:pt idx="370">
                  <c:v>75.712250712250707</c:v>
                </c:pt>
                <c:pt idx="371">
                  <c:v>74.81419546636937</c:v>
                </c:pt>
                <c:pt idx="372">
                  <c:v>73.717948717948715</c:v>
                </c:pt>
                <c:pt idx="373">
                  <c:v>74.040009909575119</c:v>
                </c:pt>
                <c:pt idx="374">
                  <c:v>72.420413724761545</c:v>
                </c:pt>
                <c:pt idx="375">
                  <c:v>74.26607209215905</c:v>
                </c:pt>
                <c:pt idx="376">
                  <c:v>73.690078037904115</c:v>
                </c:pt>
                <c:pt idx="377">
                  <c:v>74.340393905611293</c:v>
                </c:pt>
                <c:pt idx="378">
                  <c:v>77.059333581072707</c:v>
                </c:pt>
                <c:pt idx="379">
                  <c:v>77.105784714480365</c:v>
                </c:pt>
                <c:pt idx="380">
                  <c:v>74.442586399108137</c:v>
                </c:pt>
                <c:pt idx="381">
                  <c:v>72.339898426854944</c:v>
                </c:pt>
                <c:pt idx="382">
                  <c:v>73.587885544407285</c:v>
                </c:pt>
                <c:pt idx="383">
                  <c:v>76.021924934968411</c:v>
                </c:pt>
                <c:pt idx="384">
                  <c:v>76.678434287129932</c:v>
                </c:pt>
                <c:pt idx="385">
                  <c:v>76.353276353276343</c:v>
                </c:pt>
                <c:pt idx="386">
                  <c:v>73.857302118171674</c:v>
                </c:pt>
                <c:pt idx="387">
                  <c:v>71.206490771708161</c:v>
                </c:pt>
                <c:pt idx="388">
                  <c:v>71.268425616251704</c:v>
                </c:pt>
                <c:pt idx="389">
                  <c:v>68.877740616871051</c:v>
                </c:pt>
                <c:pt idx="390">
                  <c:v>68.719806763285021</c:v>
                </c:pt>
                <c:pt idx="391">
                  <c:v>71.042363433667774</c:v>
                </c:pt>
                <c:pt idx="392">
                  <c:v>71.924934968413226</c:v>
                </c:pt>
                <c:pt idx="393">
                  <c:v>69.091415830546268</c:v>
                </c:pt>
                <c:pt idx="394">
                  <c:v>65.595193856063418</c:v>
                </c:pt>
                <c:pt idx="395">
                  <c:v>63.21999256781865</c:v>
                </c:pt>
                <c:pt idx="396">
                  <c:v>62.696643131425738</c:v>
                </c:pt>
                <c:pt idx="397">
                  <c:v>65.2886163755729</c:v>
                </c:pt>
                <c:pt idx="398">
                  <c:v>65.155456459804284</c:v>
                </c:pt>
                <c:pt idx="399">
                  <c:v>68.131425740121387</c:v>
                </c:pt>
                <c:pt idx="400">
                  <c:v>68.190263842437759</c:v>
                </c:pt>
                <c:pt idx="401">
                  <c:v>68.273875882571531</c:v>
                </c:pt>
                <c:pt idx="402">
                  <c:v>65.83673974978322</c:v>
                </c:pt>
                <c:pt idx="403">
                  <c:v>65.95441595441595</c:v>
                </c:pt>
                <c:pt idx="404">
                  <c:v>63.672116932986498</c:v>
                </c:pt>
                <c:pt idx="405">
                  <c:v>65.155456459804284</c:v>
                </c:pt>
                <c:pt idx="406">
                  <c:v>65.047070481853083</c:v>
                </c:pt>
                <c:pt idx="407">
                  <c:v>66.874148395887516</c:v>
                </c:pt>
                <c:pt idx="408">
                  <c:v>67.988975597671242</c:v>
                </c:pt>
                <c:pt idx="409">
                  <c:v>67.090920351789919</c:v>
                </c:pt>
                <c:pt idx="410">
                  <c:v>67.902266815310284</c:v>
                </c:pt>
                <c:pt idx="411">
                  <c:v>66.57066765762417</c:v>
                </c:pt>
                <c:pt idx="412">
                  <c:v>68.605227300879477</c:v>
                </c:pt>
                <c:pt idx="413">
                  <c:v>68.933481976960238</c:v>
                </c:pt>
                <c:pt idx="414">
                  <c:v>70.305338783599652</c:v>
                </c:pt>
                <c:pt idx="415">
                  <c:v>69.466121640034686</c:v>
                </c:pt>
                <c:pt idx="416">
                  <c:v>70.196952805648451</c:v>
                </c:pt>
                <c:pt idx="417">
                  <c:v>70.791527313266442</c:v>
                </c:pt>
                <c:pt idx="418">
                  <c:v>70.082373343242907</c:v>
                </c:pt>
                <c:pt idx="419">
                  <c:v>69.577604360213058</c:v>
                </c:pt>
                <c:pt idx="420">
                  <c:v>71.596680292332465</c:v>
                </c:pt>
                <c:pt idx="421">
                  <c:v>68.825095999009037</c:v>
                </c:pt>
                <c:pt idx="422">
                  <c:v>67.985878855444071</c:v>
                </c:pt>
                <c:pt idx="423">
                  <c:v>68.459680416202147</c:v>
                </c:pt>
                <c:pt idx="424">
                  <c:v>67.45943267682398</c:v>
                </c:pt>
                <c:pt idx="425">
                  <c:v>65.53635575374706</c:v>
                </c:pt>
                <c:pt idx="426">
                  <c:v>65.638548247243889</c:v>
                </c:pt>
                <c:pt idx="427">
                  <c:v>65.254552211073943</c:v>
                </c:pt>
                <c:pt idx="428">
                  <c:v>66.620215533259014</c:v>
                </c:pt>
                <c:pt idx="429">
                  <c:v>65.502291589248102</c:v>
                </c:pt>
                <c:pt idx="430">
                  <c:v>66.81840703579833</c:v>
                </c:pt>
                <c:pt idx="431">
                  <c:v>68.140715966802915</c:v>
                </c:pt>
                <c:pt idx="432">
                  <c:v>66.093769354638923</c:v>
                </c:pt>
                <c:pt idx="433">
                  <c:v>64.359593707419791</c:v>
                </c:pt>
                <c:pt idx="434">
                  <c:v>64.16140220488046</c:v>
                </c:pt>
                <c:pt idx="435">
                  <c:v>63.545150501672239</c:v>
                </c:pt>
                <c:pt idx="436">
                  <c:v>61.820265081134643</c:v>
                </c:pt>
                <c:pt idx="437">
                  <c:v>61.142078533382879</c:v>
                </c:pt>
                <c:pt idx="438">
                  <c:v>61.046079524340392</c:v>
                </c:pt>
                <c:pt idx="439">
                  <c:v>58.974358974358971</c:v>
                </c:pt>
                <c:pt idx="440">
                  <c:v>58.051529790660226</c:v>
                </c:pt>
                <c:pt idx="441">
                  <c:v>58.785457698501176</c:v>
                </c:pt>
                <c:pt idx="442">
                  <c:v>61.414591849374453</c:v>
                </c:pt>
                <c:pt idx="443">
                  <c:v>61.529171311780004</c:v>
                </c:pt>
                <c:pt idx="444">
                  <c:v>59.119905859036294</c:v>
                </c:pt>
                <c:pt idx="445">
                  <c:v>59.890994673603366</c:v>
                </c:pt>
                <c:pt idx="446">
                  <c:v>61.631363805276848</c:v>
                </c:pt>
                <c:pt idx="447">
                  <c:v>60.897435897435898</c:v>
                </c:pt>
                <c:pt idx="448">
                  <c:v>59.237582063669016</c:v>
                </c:pt>
                <c:pt idx="449">
                  <c:v>58.537718320327016</c:v>
                </c:pt>
                <c:pt idx="450">
                  <c:v>57.385730211817169</c:v>
                </c:pt>
                <c:pt idx="451">
                  <c:v>57.704694661216401</c:v>
                </c:pt>
                <c:pt idx="452">
                  <c:v>58.760683760683754</c:v>
                </c:pt>
                <c:pt idx="453">
                  <c:v>61.566332218506126</c:v>
                </c:pt>
                <c:pt idx="454">
                  <c:v>60.996531648705556</c:v>
                </c:pt>
                <c:pt idx="455">
                  <c:v>64.083983649201031</c:v>
                </c:pt>
                <c:pt idx="456">
                  <c:v>63.275733927907837</c:v>
                </c:pt>
                <c:pt idx="457">
                  <c:v>64.663074445683137</c:v>
                </c:pt>
                <c:pt idx="458">
                  <c:v>64.353400222965433</c:v>
                </c:pt>
                <c:pt idx="459">
                  <c:v>64.551591725504764</c:v>
                </c:pt>
                <c:pt idx="460">
                  <c:v>64.341013254056733</c:v>
                </c:pt>
                <c:pt idx="461">
                  <c:v>62.368388455344977</c:v>
                </c:pt>
                <c:pt idx="462">
                  <c:v>63.857921466617114</c:v>
                </c:pt>
                <c:pt idx="463">
                  <c:v>63.529666790536353</c:v>
                </c:pt>
                <c:pt idx="464">
                  <c:v>64.755976712498452</c:v>
                </c:pt>
                <c:pt idx="465">
                  <c:v>62.213551343986126</c:v>
                </c:pt>
                <c:pt idx="466">
                  <c:v>63.746438746438741</c:v>
                </c:pt>
                <c:pt idx="467">
                  <c:v>64.969651926173668</c:v>
                </c:pt>
                <c:pt idx="468">
                  <c:v>64.582559147776536</c:v>
                </c:pt>
                <c:pt idx="469">
                  <c:v>66.858664684751645</c:v>
                </c:pt>
                <c:pt idx="470">
                  <c:v>67.289111854329249</c:v>
                </c:pt>
                <c:pt idx="471">
                  <c:v>66.431314257401212</c:v>
                </c:pt>
                <c:pt idx="472">
                  <c:v>65.923448532144178</c:v>
                </c:pt>
                <c:pt idx="473">
                  <c:v>65.50848507370246</c:v>
                </c:pt>
                <c:pt idx="474">
                  <c:v>64.951071472810597</c:v>
                </c:pt>
                <c:pt idx="475">
                  <c:v>65.86461042982782</c:v>
                </c:pt>
                <c:pt idx="476">
                  <c:v>65.078037904124855</c:v>
                </c:pt>
                <c:pt idx="477">
                  <c:v>66.164994425863995</c:v>
                </c:pt>
                <c:pt idx="478">
                  <c:v>66.753375449027615</c:v>
                </c:pt>
                <c:pt idx="479">
                  <c:v>67.295305338783592</c:v>
                </c:pt>
                <c:pt idx="480">
                  <c:v>66.641892728849243</c:v>
                </c:pt>
                <c:pt idx="481">
                  <c:v>66.514926297534984</c:v>
                </c:pt>
                <c:pt idx="482">
                  <c:v>68.422519509476032</c:v>
                </c:pt>
                <c:pt idx="483">
                  <c:v>68.357487922705317</c:v>
                </c:pt>
                <c:pt idx="484">
                  <c:v>67.527561005821866</c:v>
                </c:pt>
                <c:pt idx="485">
                  <c:v>66.24241298154341</c:v>
                </c:pt>
                <c:pt idx="486">
                  <c:v>67.601882819274124</c:v>
                </c:pt>
                <c:pt idx="487">
                  <c:v>68.332713984887889</c:v>
                </c:pt>
                <c:pt idx="488">
                  <c:v>68.230521491391059</c:v>
                </c:pt>
                <c:pt idx="489">
                  <c:v>68.376068376068375</c:v>
                </c:pt>
                <c:pt idx="490">
                  <c:v>66.991824600520246</c:v>
                </c:pt>
                <c:pt idx="491">
                  <c:v>66.89582559147776</c:v>
                </c:pt>
                <c:pt idx="492">
                  <c:v>66.115446550229152</c:v>
                </c:pt>
                <c:pt idx="493">
                  <c:v>66.344605475040254</c:v>
                </c:pt>
                <c:pt idx="494">
                  <c:v>65.062554192988969</c:v>
                </c:pt>
                <c:pt idx="495">
                  <c:v>65.146166233122756</c:v>
                </c:pt>
                <c:pt idx="496">
                  <c:v>65.83673974978322</c:v>
                </c:pt>
                <c:pt idx="497">
                  <c:v>65.471324166976331</c:v>
                </c:pt>
                <c:pt idx="498">
                  <c:v>64.793137619224566</c:v>
                </c:pt>
                <c:pt idx="499">
                  <c:v>66.651182955530771</c:v>
                </c:pt>
                <c:pt idx="500">
                  <c:v>66.025641025641022</c:v>
                </c:pt>
                <c:pt idx="501">
                  <c:v>64.635203765638551</c:v>
                </c:pt>
                <c:pt idx="502">
                  <c:v>64.505140592097106</c:v>
                </c:pt>
                <c:pt idx="503">
                  <c:v>65.17094017094017</c:v>
                </c:pt>
                <c:pt idx="504">
                  <c:v>65.239068499938057</c:v>
                </c:pt>
                <c:pt idx="505">
                  <c:v>64.269788182831661</c:v>
                </c:pt>
                <c:pt idx="506">
                  <c:v>65.242165242165242</c:v>
                </c:pt>
                <c:pt idx="507">
                  <c:v>66.883438622569059</c:v>
                </c:pt>
                <c:pt idx="508">
                  <c:v>67.682398117180725</c:v>
                </c:pt>
                <c:pt idx="509">
                  <c:v>68.174780131301873</c:v>
                </c:pt>
                <c:pt idx="510">
                  <c:v>67.21169329864982</c:v>
                </c:pt>
                <c:pt idx="511">
                  <c:v>66.843180973615759</c:v>
                </c:pt>
                <c:pt idx="512">
                  <c:v>67.233370494240063</c:v>
                </c:pt>
                <c:pt idx="513">
                  <c:v>67.753623188405797</c:v>
                </c:pt>
                <c:pt idx="514">
                  <c:v>67.614269788182824</c:v>
                </c:pt>
                <c:pt idx="515">
                  <c:v>68.066394153350672</c:v>
                </c:pt>
                <c:pt idx="516">
                  <c:v>67.100210578471447</c:v>
                </c:pt>
                <c:pt idx="517">
                  <c:v>67.38201412114455</c:v>
                </c:pt>
                <c:pt idx="518">
                  <c:v>66.093769354638923</c:v>
                </c:pt>
                <c:pt idx="519">
                  <c:v>65.400099095751273</c:v>
                </c:pt>
                <c:pt idx="520">
                  <c:v>64.994425863991083</c:v>
                </c:pt>
                <c:pt idx="521">
                  <c:v>63.870308435525821</c:v>
                </c:pt>
                <c:pt idx="522">
                  <c:v>63.560634212808125</c:v>
                </c:pt>
                <c:pt idx="523">
                  <c:v>63.50179611049176</c:v>
                </c:pt>
                <c:pt idx="524">
                  <c:v>61.436269044964696</c:v>
                </c:pt>
                <c:pt idx="525">
                  <c:v>61.42078533382881</c:v>
                </c:pt>
                <c:pt idx="526">
                  <c:v>61.696395392047563</c:v>
                </c:pt>
                <c:pt idx="527">
                  <c:v>62.879350922829182</c:v>
                </c:pt>
                <c:pt idx="528">
                  <c:v>62.752384491514924</c:v>
                </c:pt>
                <c:pt idx="529">
                  <c:v>63.919856311160657</c:v>
                </c:pt>
                <c:pt idx="530">
                  <c:v>62.507741855567943</c:v>
                </c:pt>
                <c:pt idx="531">
                  <c:v>63.229282794500186</c:v>
                </c:pt>
                <c:pt idx="532">
                  <c:v>62.105165366034932</c:v>
                </c:pt>
                <c:pt idx="533">
                  <c:v>61.473429951690818</c:v>
                </c:pt>
                <c:pt idx="534">
                  <c:v>60.730211817168339</c:v>
                </c:pt>
                <c:pt idx="535">
                  <c:v>61.993682645856559</c:v>
                </c:pt>
                <c:pt idx="536">
                  <c:v>60.785953177257525</c:v>
                </c:pt>
                <c:pt idx="537">
                  <c:v>61.101820884429578</c:v>
                </c:pt>
                <c:pt idx="538">
                  <c:v>61.718072587637799</c:v>
                </c:pt>
                <c:pt idx="539">
                  <c:v>62.572773442338658</c:v>
                </c:pt>
                <c:pt idx="540">
                  <c:v>62.842190016103054</c:v>
                </c:pt>
                <c:pt idx="541">
                  <c:v>61.876006441223829</c:v>
                </c:pt>
                <c:pt idx="542">
                  <c:v>61.857425987860765</c:v>
                </c:pt>
                <c:pt idx="543">
                  <c:v>61.962715223584787</c:v>
                </c:pt>
                <c:pt idx="544">
                  <c:v>61.498203889508233</c:v>
                </c:pt>
                <c:pt idx="545">
                  <c:v>59.590610677567199</c:v>
                </c:pt>
                <c:pt idx="546">
                  <c:v>59.271646228167967</c:v>
                </c:pt>
                <c:pt idx="547">
                  <c:v>59.602997646475906</c:v>
                </c:pt>
                <c:pt idx="548">
                  <c:v>60.736405301622689</c:v>
                </c:pt>
                <c:pt idx="549">
                  <c:v>61.405301622692924</c:v>
                </c:pt>
                <c:pt idx="550">
                  <c:v>60.28737767868202</c:v>
                </c:pt>
                <c:pt idx="551">
                  <c:v>60.135637309550347</c:v>
                </c:pt>
                <c:pt idx="552">
                  <c:v>59.630868326520499</c:v>
                </c:pt>
                <c:pt idx="553">
                  <c:v>58.60584664932491</c:v>
                </c:pt>
                <c:pt idx="554">
                  <c:v>57.410504149634583</c:v>
                </c:pt>
                <c:pt idx="555">
                  <c:v>57.438374829679177</c:v>
                </c:pt>
                <c:pt idx="556">
                  <c:v>55.598909946736029</c:v>
                </c:pt>
                <c:pt idx="557">
                  <c:v>57.664437012263093</c:v>
                </c:pt>
                <c:pt idx="558">
                  <c:v>59.609191130930256</c:v>
                </c:pt>
                <c:pt idx="559">
                  <c:v>60.699244394896567</c:v>
                </c:pt>
                <c:pt idx="560">
                  <c:v>60.931500061934841</c:v>
                </c:pt>
                <c:pt idx="561">
                  <c:v>61.464139725009289</c:v>
                </c:pt>
                <c:pt idx="562">
                  <c:v>61.34646352037656</c:v>
                </c:pt>
                <c:pt idx="563">
                  <c:v>62.935092282918369</c:v>
                </c:pt>
                <c:pt idx="564">
                  <c:v>61.06465997770345</c:v>
                </c:pt>
                <c:pt idx="565">
                  <c:v>61.714975845410628</c:v>
                </c:pt>
                <c:pt idx="566">
                  <c:v>61.95652173913043</c:v>
                </c:pt>
                <c:pt idx="567">
                  <c:v>60.869565217391305</c:v>
                </c:pt>
                <c:pt idx="568">
                  <c:v>61.309302613650438</c:v>
                </c:pt>
                <c:pt idx="569">
                  <c:v>59.791898922333701</c:v>
                </c:pt>
                <c:pt idx="570">
                  <c:v>60.544407283537716</c:v>
                </c:pt>
                <c:pt idx="571">
                  <c:v>61.770717205499814</c:v>
                </c:pt>
                <c:pt idx="572">
                  <c:v>62.225938312894833</c:v>
                </c:pt>
                <c:pt idx="573">
                  <c:v>62.749287749287745</c:v>
                </c:pt>
                <c:pt idx="574">
                  <c:v>64.371980676328505</c:v>
                </c:pt>
                <c:pt idx="575">
                  <c:v>63.730955035302856</c:v>
                </c:pt>
                <c:pt idx="576">
                  <c:v>64.155208720426103</c:v>
                </c:pt>
                <c:pt idx="577">
                  <c:v>63.164251207729464</c:v>
                </c:pt>
                <c:pt idx="578">
                  <c:v>63.576117923944011</c:v>
                </c:pt>
                <c:pt idx="579">
                  <c:v>64.245014245014247</c:v>
                </c:pt>
                <c:pt idx="580">
                  <c:v>65.514678558156817</c:v>
                </c:pt>
                <c:pt idx="581">
                  <c:v>65.39080886906973</c:v>
                </c:pt>
                <c:pt idx="582">
                  <c:v>65.70667657624179</c:v>
                </c:pt>
                <c:pt idx="583">
                  <c:v>66.49015235971757</c:v>
                </c:pt>
                <c:pt idx="584">
                  <c:v>67.515174036913166</c:v>
                </c:pt>
                <c:pt idx="585">
                  <c:v>66.849374458070102</c:v>
                </c:pt>
                <c:pt idx="586">
                  <c:v>66.019447541186665</c:v>
                </c:pt>
                <c:pt idx="587">
                  <c:v>67.282918369874892</c:v>
                </c:pt>
                <c:pt idx="588">
                  <c:v>67.347949956645607</c:v>
                </c:pt>
                <c:pt idx="589">
                  <c:v>68.029233246624543</c:v>
                </c:pt>
                <c:pt idx="590">
                  <c:v>68.106651802303972</c:v>
                </c:pt>
                <c:pt idx="591">
                  <c:v>68.48135761179239</c:v>
                </c:pt>
                <c:pt idx="592">
                  <c:v>69.236962715223584</c:v>
                </c:pt>
                <c:pt idx="593">
                  <c:v>70.689334819769599</c:v>
                </c:pt>
                <c:pt idx="594">
                  <c:v>70.020438498699363</c:v>
                </c:pt>
                <c:pt idx="595">
                  <c:v>68.955159172550466</c:v>
                </c:pt>
                <c:pt idx="596">
                  <c:v>69.596184813576116</c:v>
                </c:pt>
                <c:pt idx="597">
                  <c:v>70.060696147652664</c:v>
                </c:pt>
                <c:pt idx="598">
                  <c:v>70.076179858788549</c:v>
                </c:pt>
                <c:pt idx="599">
                  <c:v>70.094760312151607</c:v>
                </c:pt>
                <c:pt idx="600">
                  <c:v>70.44469218382261</c:v>
                </c:pt>
                <c:pt idx="601">
                  <c:v>71.513068252198678</c:v>
                </c:pt>
                <c:pt idx="602">
                  <c:v>69.812956769478504</c:v>
                </c:pt>
                <c:pt idx="603">
                  <c:v>70.376563854824724</c:v>
                </c:pt>
                <c:pt idx="604">
                  <c:v>69.716957760436017</c:v>
                </c:pt>
                <c:pt idx="605">
                  <c:v>70.757463148767499</c:v>
                </c:pt>
                <c:pt idx="606">
                  <c:v>70.989718815805773</c:v>
                </c:pt>
                <c:pt idx="607">
                  <c:v>70.961848135761173</c:v>
                </c:pt>
                <c:pt idx="608">
                  <c:v>71.367521367521363</c:v>
                </c:pt>
                <c:pt idx="609">
                  <c:v>72.312027746810358</c:v>
                </c:pt>
                <c:pt idx="610">
                  <c:v>73.21937321937321</c:v>
                </c:pt>
                <c:pt idx="611">
                  <c:v>72.63099219620959</c:v>
                </c:pt>
                <c:pt idx="612">
                  <c:v>73.971881580577232</c:v>
                </c:pt>
                <c:pt idx="613">
                  <c:v>73.318468970642883</c:v>
                </c:pt>
                <c:pt idx="614">
                  <c:v>73.804657500309673</c:v>
                </c:pt>
                <c:pt idx="615">
                  <c:v>74.414715719063537</c:v>
                </c:pt>
                <c:pt idx="616">
                  <c:v>75.151740369131673</c:v>
                </c:pt>
                <c:pt idx="617">
                  <c:v>74.47665056360708</c:v>
                </c:pt>
                <c:pt idx="618">
                  <c:v>74.427102687972251</c:v>
                </c:pt>
                <c:pt idx="619">
                  <c:v>75.817539947974723</c:v>
                </c:pt>
                <c:pt idx="620">
                  <c:v>76.362566579957885</c:v>
                </c:pt>
                <c:pt idx="621">
                  <c:v>75.919732441471567</c:v>
                </c:pt>
                <c:pt idx="622">
                  <c:v>77.04075312770965</c:v>
                </c:pt>
                <c:pt idx="623">
                  <c:v>77.660101573145042</c:v>
                </c:pt>
                <c:pt idx="624">
                  <c:v>77.297782732565338</c:v>
                </c:pt>
                <c:pt idx="625">
                  <c:v>76.331599157686114</c:v>
                </c:pt>
                <c:pt idx="626">
                  <c:v>75.950699863743338</c:v>
                </c:pt>
                <c:pt idx="627">
                  <c:v>74.656261612783354</c:v>
                </c:pt>
                <c:pt idx="628">
                  <c:v>73.903753251579332</c:v>
                </c:pt>
                <c:pt idx="629">
                  <c:v>74.777034559643255</c:v>
                </c:pt>
                <c:pt idx="630">
                  <c:v>73.714851975721544</c:v>
                </c:pt>
                <c:pt idx="631">
                  <c:v>73.705561749040001</c:v>
                </c:pt>
                <c:pt idx="632">
                  <c:v>73.32466245509724</c:v>
                </c:pt>
                <c:pt idx="633">
                  <c:v>72.491638795986617</c:v>
                </c:pt>
                <c:pt idx="634">
                  <c:v>73.49498327759197</c:v>
                </c:pt>
                <c:pt idx="635">
                  <c:v>73.677691068995415</c:v>
                </c:pt>
                <c:pt idx="636">
                  <c:v>73.519757215409385</c:v>
                </c:pt>
                <c:pt idx="637">
                  <c:v>74.216524216524206</c:v>
                </c:pt>
                <c:pt idx="638">
                  <c:v>73.944010900532632</c:v>
                </c:pt>
                <c:pt idx="639">
                  <c:v>73.628143193360586</c:v>
                </c:pt>
                <c:pt idx="640">
                  <c:v>73.241050414963453</c:v>
                </c:pt>
                <c:pt idx="641">
                  <c:v>73.5724018332714</c:v>
                </c:pt>
                <c:pt idx="642">
                  <c:v>74.420909203517894</c:v>
                </c:pt>
                <c:pt idx="643">
                  <c:v>73.188405797101439</c:v>
                </c:pt>
                <c:pt idx="644">
                  <c:v>73.07692307692308</c:v>
                </c:pt>
                <c:pt idx="645">
                  <c:v>72.327511457946244</c:v>
                </c:pt>
                <c:pt idx="646">
                  <c:v>72.909698996655521</c:v>
                </c:pt>
                <c:pt idx="647">
                  <c:v>72.612411742846518</c:v>
                </c:pt>
                <c:pt idx="648">
                  <c:v>72.841570667657621</c:v>
                </c:pt>
                <c:pt idx="649">
                  <c:v>73.646723646723643</c:v>
                </c:pt>
                <c:pt idx="650">
                  <c:v>74.795615013006312</c:v>
                </c:pt>
                <c:pt idx="651">
                  <c:v>74.646971386101811</c:v>
                </c:pt>
                <c:pt idx="652">
                  <c:v>75.473801560758076</c:v>
                </c:pt>
                <c:pt idx="653">
                  <c:v>74.969032577728228</c:v>
                </c:pt>
                <c:pt idx="654">
                  <c:v>74.783228044097612</c:v>
                </c:pt>
                <c:pt idx="655">
                  <c:v>74.72438994178124</c:v>
                </c:pt>
                <c:pt idx="656">
                  <c:v>73.996655518394647</c:v>
                </c:pt>
                <c:pt idx="657">
                  <c:v>74.123621949708905</c:v>
                </c:pt>
                <c:pt idx="658">
                  <c:v>74.575746314876753</c:v>
                </c:pt>
                <c:pt idx="659">
                  <c:v>73.513563730955028</c:v>
                </c:pt>
                <c:pt idx="660">
                  <c:v>73.903753251579332</c:v>
                </c:pt>
                <c:pt idx="661">
                  <c:v>74.12052520748172</c:v>
                </c:pt>
                <c:pt idx="662">
                  <c:v>74.739873652917126</c:v>
                </c:pt>
                <c:pt idx="663">
                  <c:v>74.876130310912913</c:v>
                </c:pt>
                <c:pt idx="664">
                  <c:v>75.164127338040373</c:v>
                </c:pt>
                <c:pt idx="665">
                  <c:v>75.721540938932236</c:v>
                </c:pt>
                <c:pt idx="666">
                  <c:v>75.882571534745438</c:v>
                </c:pt>
                <c:pt idx="667">
                  <c:v>75.901151988108509</c:v>
                </c:pt>
                <c:pt idx="668">
                  <c:v>75.885668276972623</c:v>
                </c:pt>
                <c:pt idx="669">
                  <c:v>75.57599405425492</c:v>
                </c:pt>
                <c:pt idx="670">
                  <c:v>75</c:v>
                </c:pt>
                <c:pt idx="671">
                  <c:v>75.021677195590229</c:v>
                </c:pt>
                <c:pt idx="672">
                  <c:v>74.495231016970138</c:v>
                </c:pt>
                <c:pt idx="673">
                  <c:v>73.875882571534746</c:v>
                </c:pt>
                <c:pt idx="674">
                  <c:v>74.352780874520008</c:v>
                </c:pt>
                <c:pt idx="675">
                  <c:v>74.588133283785453</c:v>
                </c:pt>
                <c:pt idx="676">
                  <c:v>74.47665056360708</c:v>
                </c:pt>
                <c:pt idx="677">
                  <c:v>75.476898302985262</c:v>
                </c:pt>
                <c:pt idx="678">
                  <c:v>74.941161897683628</c:v>
                </c:pt>
                <c:pt idx="679">
                  <c:v>76.254180602006684</c:v>
                </c:pt>
                <c:pt idx="680">
                  <c:v>76.467855815681901</c:v>
                </c:pt>
                <c:pt idx="681">
                  <c:v>77.285395763656624</c:v>
                </c:pt>
                <c:pt idx="682">
                  <c:v>77.694165737643999</c:v>
                </c:pt>
                <c:pt idx="683">
                  <c:v>77.582683017465627</c:v>
                </c:pt>
                <c:pt idx="684">
                  <c:v>76.771336553945247</c:v>
                </c:pt>
                <c:pt idx="685">
                  <c:v>76.861142078533376</c:v>
                </c:pt>
                <c:pt idx="686">
                  <c:v>77.248234856930509</c:v>
                </c:pt>
                <c:pt idx="687">
                  <c:v>77.465006812832897</c:v>
                </c:pt>
                <c:pt idx="688">
                  <c:v>77.393781741607825</c:v>
                </c:pt>
                <c:pt idx="689">
                  <c:v>78.42809364548495</c:v>
                </c:pt>
                <c:pt idx="690">
                  <c:v>78.765638548247239</c:v>
                </c:pt>
                <c:pt idx="691">
                  <c:v>78.951443081877855</c:v>
                </c:pt>
                <c:pt idx="692">
                  <c:v>78.313514183079391</c:v>
                </c:pt>
                <c:pt idx="693">
                  <c:v>77.873776786820258</c:v>
                </c:pt>
                <c:pt idx="694">
                  <c:v>77.997646475907345</c:v>
                </c:pt>
                <c:pt idx="695">
                  <c:v>77.468103555060068</c:v>
                </c:pt>
                <c:pt idx="696">
                  <c:v>76.802303976217019</c:v>
                </c:pt>
                <c:pt idx="697">
                  <c:v>77.12126842561625</c:v>
                </c:pt>
                <c:pt idx="698">
                  <c:v>76.207729468599027</c:v>
                </c:pt>
                <c:pt idx="699">
                  <c:v>77.653908088690699</c:v>
                </c:pt>
                <c:pt idx="700">
                  <c:v>78.03480738263346</c:v>
                </c:pt>
                <c:pt idx="701">
                  <c:v>79.103183451009528</c:v>
                </c:pt>
                <c:pt idx="702">
                  <c:v>79.611049176266562</c:v>
                </c:pt>
                <c:pt idx="703">
                  <c:v>79.388083735909817</c:v>
                </c:pt>
                <c:pt idx="704">
                  <c:v>79.685370989718805</c:v>
                </c:pt>
                <c:pt idx="705">
                  <c:v>80.434782608695642</c:v>
                </c:pt>
                <c:pt idx="706">
                  <c:v>80.704199182460044</c:v>
                </c:pt>
                <c:pt idx="707">
                  <c:v>81.335934596804151</c:v>
                </c:pt>
                <c:pt idx="708">
                  <c:v>81.289483463396508</c:v>
                </c:pt>
                <c:pt idx="709">
                  <c:v>81.431933605846638</c:v>
                </c:pt>
                <c:pt idx="710">
                  <c:v>81.267806267806264</c:v>
                </c:pt>
                <c:pt idx="711">
                  <c:v>81.032453858540805</c:v>
                </c:pt>
                <c:pt idx="712">
                  <c:v>81.202774681035564</c:v>
                </c:pt>
                <c:pt idx="713">
                  <c:v>81.301870432305222</c:v>
                </c:pt>
                <c:pt idx="714">
                  <c:v>81.032453858540805</c:v>
                </c:pt>
                <c:pt idx="715">
                  <c:v>80.10343119038771</c:v>
                </c:pt>
                <c:pt idx="716">
                  <c:v>80.357364053016227</c:v>
                </c:pt>
                <c:pt idx="717">
                  <c:v>80.617490400099086</c:v>
                </c:pt>
                <c:pt idx="718">
                  <c:v>80.865229778273246</c:v>
                </c:pt>
                <c:pt idx="719">
                  <c:v>81.208968165489907</c:v>
                </c:pt>
                <c:pt idx="720">
                  <c:v>81.540319583797839</c:v>
                </c:pt>
                <c:pt idx="721">
                  <c:v>81.190387712126835</c:v>
                </c:pt>
                <c:pt idx="722">
                  <c:v>81.719930632974112</c:v>
                </c:pt>
                <c:pt idx="723">
                  <c:v>81.571287006069625</c:v>
                </c:pt>
                <c:pt idx="724">
                  <c:v>81.004583178496219</c:v>
                </c:pt>
                <c:pt idx="725">
                  <c:v>81.00767992072339</c:v>
                </c:pt>
                <c:pt idx="726">
                  <c:v>82.09463644246253</c:v>
                </c:pt>
                <c:pt idx="727">
                  <c:v>81.639415335067511</c:v>
                </c:pt>
                <c:pt idx="728">
                  <c:v>81.388579214666166</c:v>
                </c:pt>
                <c:pt idx="729">
                  <c:v>82.456955283042234</c:v>
                </c:pt>
                <c:pt idx="730">
                  <c:v>83.184689706428827</c:v>
                </c:pt>
                <c:pt idx="731">
                  <c:v>83.989842685494864</c:v>
                </c:pt>
                <c:pt idx="732">
                  <c:v>82.587018456583664</c:v>
                </c:pt>
                <c:pt idx="733">
                  <c:v>83.246624550972371</c:v>
                </c:pt>
                <c:pt idx="734">
                  <c:v>82.949337297163382</c:v>
                </c:pt>
                <c:pt idx="735">
                  <c:v>82.735662083488165</c:v>
                </c:pt>
                <c:pt idx="736">
                  <c:v>83.063916759568926</c:v>
                </c:pt>
                <c:pt idx="737">
                  <c:v>83.553202031462902</c:v>
                </c:pt>
                <c:pt idx="738">
                  <c:v>83.74210330732069</c:v>
                </c:pt>
                <c:pt idx="739">
                  <c:v>84.358355010528925</c:v>
                </c:pt>
                <c:pt idx="740">
                  <c:v>84.60609438870307</c:v>
                </c:pt>
                <c:pt idx="741">
                  <c:v>84.844543540195716</c:v>
                </c:pt>
                <c:pt idx="742">
                  <c:v>85.996531648705556</c:v>
                </c:pt>
                <c:pt idx="743">
                  <c:v>86.426978818283146</c:v>
                </c:pt>
                <c:pt idx="744">
                  <c:v>87.030843552582695</c:v>
                </c:pt>
                <c:pt idx="745">
                  <c:v>86.581815929642005</c:v>
                </c:pt>
                <c:pt idx="746">
                  <c:v>86.55704199182459</c:v>
                </c:pt>
                <c:pt idx="747">
                  <c:v>86.70258887650192</c:v>
                </c:pt>
                <c:pt idx="748">
                  <c:v>87.232131797349183</c:v>
                </c:pt>
                <c:pt idx="749">
                  <c:v>86.783104174408521</c:v>
                </c:pt>
                <c:pt idx="750">
                  <c:v>86.609686609686605</c:v>
                </c:pt>
                <c:pt idx="751">
                  <c:v>87.337421033073198</c:v>
                </c:pt>
                <c:pt idx="752">
                  <c:v>87.699739873652916</c:v>
                </c:pt>
                <c:pt idx="753">
                  <c:v>87.560386473429944</c:v>
                </c:pt>
                <c:pt idx="754">
                  <c:v>87.969156447417319</c:v>
                </c:pt>
                <c:pt idx="755">
                  <c:v>88.749535488665913</c:v>
                </c:pt>
                <c:pt idx="756">
                  <c:v>88.823857302118171</c:v>
                </c:pt>
                <c:pt idx="757">
                  <c:v>88.957017217886772</c:v>
                </c:pt>
                <c:pt idx="758">
                  <c:v>89.39675461414592</c:v>
                </c:pt>
                <c:pt idx="759">
                  <c:v>89.839588752632224</c:v>
                </c:pt>
                <c:pt idx="760">
                  <c:v>90.322680540071843</c:v>
                </c:pt>
                <c:pt idx="761">
                  <c:v>90.979189892233379</c:v>
                </c:pt>
                <c:pt idx="762">
                  <c:v>91.716214542301501</c:v>
                </c:pt>
                <c:pt idx="763">
                  <c:v>92.51207729468598</c:v>
                </c:pt>
                <c:pt idx="764">
                  <c:v>93.602130558652291</c:v>
                </c:pt>
                <c:pt idx="765">
                  <c:v>94.125479995045211</c:v>
                </c:pt>
                <c:pt idx="766">
                  <c:v>93.28316610925306</c:v>
                </c:pt>
                <c:pt idx="767">
                  <c:v>94.422767248854214</c:v>
                </c:pt>
                <c:pt idx="768">
                  <c:v>94.853214418431804</c:v>
                </c:pt>
                <c:pt idx="769">
                  <c:v>94.428960733308557</c:v>
                </c:pt>
                <c:pt idx="770">
                  <c:v>94.487798835624915</c:v>
                </c:pt>
                <c:pt idx="771">
                  <c:v>94.59308807134893</c:v>
                </c:pt>
                <c:pt idx="772">
                  <c:v>94.041867954911424</c:v>
                </c:pt>
                <c:pt idx="773">
                  <c:v>93.484454354019562</c:v>
                </c:pt>
                <c:pt idx="774">
                  <c:v>93.564969651926162</c:v>
                </c:pt>
                <c:pt idx="775">
                  <c:v>94.55283042239563</c:v>
                </c:pt>
                <c:pt idx="776">
                  <c:v>95.426111730459539</c:v>
                </c:pt>
                <c:pt idx="777">
                  <c:v>96.067137371485202</c:v>
                </c:pt>
                <c:pt idx="778">
                  <c:v>95.73268921095007</c:v>
                </c:pt>
                <c:pt idx="779">
                  <c:v>94.55283042239563</c:v>
                </c:pt>
                <c:pt idx="780">
                  <c:v>95.054502663198306</c:v>
                </c:pt>
                <c:pt idx="781">
                  <c:v>95.361080143688838</c:v>
                </c:pt>
                <c:pt idx="782">
                  <c:v>93.016846277715842</c:v>
                </c:pt>
                <c:pt idx="783">
                  <c:v>92.954911433172299</c:v>
                </c:pt>
                <c:pt idx="784">
                  <c:v>93.239811718072573</c:v>
                </c:pt>
                <c:pt idx="785">
                  <c:v>93.877740616871037</c:v>
                </c:pt>
                <c:pt idx="786">
                  <c:v>93.317230273752003</c:v>
                </c:pt>
                <c:pt idx="787">
                  <c:v>93.806515545645979</c:v>
                </c:pt>
                <c:pt idx="788">
                  <c:v>95.150501672240793</c:v>
                </c:pt>
                <c:pt idx="789">
                  <c:v>96.091911309302603</c:v>
                </c:pt>
                <c:pt idx="790">
                  <c:v>96.25603864734299</c:v>
                </c:pt>
                <c:pt idx="791">
                  <c:v>96.330360460795234</c:v>
                </c:pt>
                <c:pt idx="792">
                  <c:v>97.361575622445173</c:v>
                </c:pt>
                <c:pt idx="793">
                  <c:v>96.918741483958883</c:v>
                </c:pt>
                <c:pt idx="794">
                  <c:v>97.166480862133028</c:v>
                </c:pt>
                <c:pt idx="795">
                  <c:v>98.32466245509724</c:v>
                </c:pt>
                <c:pt idx="796">
                  <c:v>98.389694041867955</c:v>
                </c:pt>
                <c:pt idx="797">
                  <c:v>98.504273504273485</c:v>
                </c:pt>
                <c:pt idx="798">
                  <c:v>97.104546017589485</c:v>
                </c:pt>
                <c:pt idx="799">
                  <c:v>97.1850613154961</c:v>
                </c:pt>
                <c:pt idx="800">
                  <c:v>97.076675337544899</c:v>
                </c:pt>
                <c:pt idx="801">
                  <c:v>96.609067261241179</c:v>
                </c:pt>
                <c:pt idx="802">
                  <c:v>95.776043602130542</c:v>
                </c:pt>
                <c:pt idx="803">
                  <c:v>95.776043602130542</c:v>
                </c:pt>
                <c:pt idx="804">
                  <c:v>96.937321937321926</c:v>
                </c:pt>
                <c:pt idx="805">
                  <c:v>96.367521367521363</c:v>
                </c:pt>
                <c:pt idx="806">
                  <c:v>94.806763285024132</c:v>
                </c:pt>
                <c:pt idx="807">
                  <c:v>95.711012015359842</c:v>
                </c:pt>
                <c:pt idx="808">
                  <c:v>97.181964573268914</c:v>
                </c:pt>
                <c:pt idx="809">
                  <c:v>97.225318964449386</c:v>
                </c:pt>
                <c:pt idx="810">
                  <c:v>96.444939923200792</c:v>
                </c:pt>
                <c:pt idx="811">
                  <c:v>94.822246996160032</c:v>
                </c:pt>
                <c:pt idx="812">
                  <c:v>92.48730335686858</c:v>
                </c:pt>
                <c:pt idx="813">
                  <c:v>92.295305338783606</c:v>
                </c:pt>
                <c:pt idx="814">
                  <c:v>90.808869069738634</c:v>
                </c:pt>
                <c:pt idx="815">
                  <c:v>92.137371485197562</c:v>
                </c:pt>
                <c:pt idx="816">
                  <c:v>92.52756100582188</c:v>
                </c:pt>
                <c:pt idx="817">
                  <c:v>92.440852223460908</c:v>
                </c:pt>
                <c:pt idx="818">
                  <c:v>92.574012139229524</c:v>
                </c:pt>
                <c:pt idx="819">
                  <c:v>91.075188901275865</c:v>
                </c:pt>
                <c:pt idx="820">
                  <c:v>90.842933234237591</c:v>
                </c:pt>
                <c:pt idx="821">
                  <c:v>90.003716090672611</c:v>
                </c:pt>
                <c:pt idx="822">
                  <c:v>90.880094140963706</c:v>
                </c:pt>
                <c:pt idx="823">
                  <c:v>90.511581815929631</c:v>
                </c:pt>
                <c:pt idx="824">
                  <c:v>91.914406044840817</c:v>
                </c:pt>
                <c:pt idx="825">
                  <c:v>92.118791031834519</c:v>
                </c:pt>
                <c:pt idx="826">
                  <c:v>92.74742970395144</c:v>
                </c:pt>
                <c:pt idx="827">
                  <c:v>94.413477022172671</c:v>
                </c:pt>
                <c:pt idx="828">
                  <c:v>94.351542177629128</c:v>
                </c:pt>
                <c:pt idx="829">
                  <c:v>93.908708039142823</c:v>
                </c:pt>
                <c:pt idx="830">
                  <c:v>93.815805772327508</c:v>
                </c:pt>
                <c:pt idx="831">
                  <c:v>94.509476031215158</c:v>
                </c:pt>
                <c:pt idx="832">
                  <c:v>94.459928155580315</c:v>
                </c:pt>
                <c:pt idx="833">
                  <c:v>93.74458070110245</c:v>
                </c:pt>
                <c:pt idx="834">
                  <c:v>92.434658739006565</c:v>
                </c:pt>
                <c:pt idx="835">
                  <c:v>92.443948965688094</c:v>
                </c:pt>
                <c:pt idx="836">
                  <c:v>93.75696767001115</c:v>
                </c:pt>
                <c:pt idx="837">
                  <c:v>93.958255914777666</c:v>
                </c:pt>
                <c:pt idx="838">
                  <c:v>93.719806763285021</c:v>
                </c:pt>
                <c:pt idx="839">
                  <c:v>92.47181964573268</c:v>
                </c:pt>
                <c:pt idx="840">
                  <c:v>92.936330979809242</c:v>
                </c:pt>
                <c:pt idx="841">
                  <c:v>93.041620215533257</c:v>
                </c:pt>
                <c:pt idx="842">
                  <c:v>93.642388207605592</c:v>
                </c:pt>
                <c:pt idx="843">
                  <c:v>93.986126594822238</c:v>
                </c:pt>
                <c:pt idx="844">
                  <c:v>92.239563978694406</c:v>
                </c:pt>
                <c:pt idx="845">
                  <c:v>92.233370494240049</c:v>
                </c:pt>
                <c:pt idx="846">
                  <c:v>91.768859160163487</c:v>
                </c:pt>
                <c:pt idx="847">
                  <c:v>92.07853338288119</c:v>
                </c:pt>
                <c:pt idx="848">
                  <c:v>93.45658367397499</c:v>
                </c:pt>
                <c:pt idx="849">
                  <c:v>94.196705066270283</c:v>
                </c:pt>
                <c:pt idx="850">
                  <c:v>92.592592592592581</c:v>
                </c:pt>
                <c:pt idx="851">
                  <c:v>91.375572897312026</c:v>
                </c:pt>
                <c:pt idx="852">
                  <c:v>88.551343986126597</c:v>
                </c:pt>
                <c:pt idx="853">
                  <c:v>89.155208720426103</c:v>
                </c:pt>
                <c:pt idx="854">
                  <c:v>88.972500929022658</c:v>
                </c:pt>
                <c:pt idx="855">
                  <c:v>89.43701226309922</c:v>
                </c:pt>
                <c:pt idx="856">
                  <c:v>89.040629258020545</c:v>
                </c:pt>
                <c:pt idx="857">
                  <c:v>88.789793137619228</c:v>
                </c:pt>
                <c:pt idx="858">
                  <c:v>89.192369627152232</c:v>
                </c:pt>
                <c:pt idx="859">
                  <c:v>91.279573888269539</c:v>
                </c:pt>
                <c:pt idx="860">
                  <c:v>89.898426854948596</c:v>
                </c:pt>
                <c:pt idx="861">
                  <c:v>90.520872042611174</c:v>
                </c:pt>
                <c:pt idx="862">
                  <c:v>90.697386349560261</c:v>
                </c:pt>
                <c:pt idx="863">
                  <c:v>91.267186919360839</c:v>
                </c:pt>
                <c:pt idx="864">
                  <c:v>92.007308311656132</c:v>
                </c:pt>
                <c:pt idx="865">
                  <c:v>93.791031834510093</c:v>
                </c:pt>
                <c:pt idx="866">
                  <c:v>93.109748544531143</c:v>
                </c:pt>
                <c:pt idx="867">
                  <c:v>93.280069367025902</c:v>
                </c:pt>
                <c:pt idx="868">
                  <c:v>92.735042735042725</c:v>
                </c:pt>
                <c:pt idx="869">
                  <c:v>93.521615260745691</c:v>
                </c:pt>
                <c:pt idx="870">
                  <c:v>93.63929146537842</c:v>
                </c:pt>
                <c:pt idx="871">
                  <c:v>94.295800817539941</c:v>
                </c:pt>
                <c:pt idx="872">
                  <c:v>95.478756348321568</c:v>
                </c:pt>
                <c:pt idx="873">
                  <c:v>95.398241050414953</c:v>
                </c:pt>
                <c:pt idx="874">
                  <c:v>94.106899541682139</c:v>
                </c:pt>
                <c:pt idx="875">
                  <c:v>94.258639910813812</c:v>
                </c:pt>
                <c:pt idx="876">
                  <c:v>93.534002229654405</c:v>
                </c:pt>
                <c:pt idx="877">
                  <c:v>92.769106899541683</c:v>
                </c:pt>
                <c:pt idx="878">
                  <c:v>93.410132540567318</c:v>
                </c:pt>
                <c:pt idx="879">
                  <c:v>93.821999256781865</c:v>
                </c:pt>
                <c:pt idx="880">
                  <c:v>94.165737643998511</c:v>
                </c:pt>
                <c:pt idx="881">
                  <c:v>94.980180849746048</c:v>
                </c:pt>
                <c:pt idx="882">
                  <c:v>94.661216400346831</c:v>
                </c:pt>
                <c:pt idx="883">
                  <c:v>93.664065403195821</c:v>
                </c:pt>
                <c:pt idx="884">
                  <c:v>93.989223337049424</c:v>
                </c:pt>
                <c:pt idx="885">
                  <c:v>95.060696147652678</c:v>
                </c:pt>
                <c:pt idx="886">
                  <c:v>94.760312151616489</c:v>
                </c:pt>
                <c:pt idx="887">
                  <c:v>95.785333828812085</c:v>
                </c:pt>
                <c:pt idx="888">
                  <c:v>94.769602378298018</c:v>
                </c:pt>
                <c:pt idx="889">
                  <c:v>94.537346711259744</c:v>
                </c:pt>
                <c:pt idx="890">
                  <c:v>94.178124612907212</c:v>
                </c:pt>
                <c:pt idx="891">
                  <c:v>94.633345720302231</c:v>
                </c:pt>
                <c:pt idx="892">
                  <c:v>94.363929146537842</c:v>
                </c:pt>
                <c:pt idx="893">
                  <c:v>93.880837359098237</c:v>
                </c:pt>
                <c:pt idx="894">
                  <c:v>94.4506379288988</c:v>
                </c:pt>
                <c:pt idx="895">
                  <c:v>95.023535240926549</c:v>
                </c:pt>
                <c:pt idx="896">
                  <c:v>94.887278582930762</c:v>
                </c:pt>
                <c:pt idx="897">
                  <c:v>94.630248978075059</c:v>
                </c:pt>
                <c:pt idx="898">
                  <c:v>94.14715719063544</c:v>
                </c:pt>
                <c:pt idx="899">
                  <c:v>94.466121640034686</c:v>
                </c:pt>
                <c:pt idx="900">
                  <c:v>93.357487922705317</c:v>
                </c:pt>
                <c:pt idx="901">
                  <c:v>94.128576737272368</c:v>
                </c:pt>
                <c:pt idx="902">
                  <c:v>93.478260869565219</c:v>
                </c:pt>
                <c:pt idx="903">
                  <c:v>93.295553078161774</c:v>
                </c:pt>
                <c:pt idx="904">
                  <c:v>93.050910442214786</c:v>
                </c:pt>
                <c:pt idx="905">
                  <c:v>91.982534373838703</c:v>
                </c:pt>
                <c:pt idx="906">
                  <c:v>91.062801932367151</c:v>
                </c:pt>
                <c:pt idx="907">
                  <c:v>90.496098104793759</c:v>
                </c:pt>
                <c:pt idx="908">
                  <c:v>90.632354762789546</c:v>
                </c:pt>
                <c:pt idx="909">
                  <c:v>90.728353771832033</c:v>
                </c:pt>
                <c:pt idx="910">
                  <c:v>91.991824600520246</c:v>
                </c:pt>
                <c:pt idx="911">
                  <c:v>91.898922333704931</c:v>
                </c:pt>
                <c:pt idx="912">
                  <c:v>91.775052644617858</c:v>
                </c:pt>
                <c:pt idx="913">
                  <c:v>92.258144432057478</c:v>
                </c:pt>
                <c:pt idx="914">
                  <c:v>91.505636070853456</c:v>
                </c:pt>
                <c:pt idx="915">
                  <c:v>91.586151368760056</c:v>
                </c:pt>
                <c:pt idx="916">
                  <c:v>91.099962839093266</c:v>
                </c:pt>
                <c:pt idx="917">
                  <c:v>90.316487055617472</c:v>
                </c:pt>
                <c:pt idx="918">
                  <c:v>91.301251083859782</c:v>
                </c:pt>
                <c:pt idx="919">
                  <c:v>89.957264957264954</c:v>
                </c:pt>
                <c:pt idx="920">
                  <c:v>89.98513563730954</c:v>
                </c:pt>
                <c:pt idx="921">
                  <c:v>90.573516660473175</c:v>
                </c:pt>
                <c:pt idx="922">
                  <c:v>91.378669639539197</c:v>
                </c:pt>
                <c:pt idx="923">
                  <c:v>91.403443577356626</c:v>
                </c:pt>
                <c:pt idx="924">
                  <c:v>91.22692927040751</c:v>
                </c:pt>
                <c:pt idx="925">
                  <c:v>91.917502787068003</c:v>
                </c:pt>
                <c:pt idx="926">
                  <c:v>91.443701226309926</c:v>
                </c:pt>
                <c:pt idx="927">
                  <c:v>91.784342871299387</c:v>
                </c:pt>
                <c:pt idx="928">
                  <c:v>91.022544283413851</c:v>
                </c:pt>
                <c:pt idx="929">
                  <c:v>91.121640034683509</c:v>
                </c:pt>
                <c:pt idx="930">
                  <c:v>91.821503778025516</c:v>
                </c:pt>
                <c:pt idx="931">
                  <c:v>92.106404062925805</c:v>
                </c:pt>
                <c:pt idx="932">
                  <c:v>92.010405053883304</c:v>
                </c:pt>
                <c:pt idx="933">
                  <c:v>91.970147404930003</c:v>
                </c:pt>
                <c:pt idx="934">
                  <c:v>92.731945992815554</c:v>
                </c:pt>
                <c:pt idx="935">
                  <c:v>92.970395144308199</c:v>
                </c:pt>
                <c:pt idx="936">
                  <c:v>92.908460299764641</c:v>
                </c:pt>
                <c:pt idx="937">
                  <c:v>93.425616251703204</c:v>
                </c:pt>
                <c:pt idx="938">
                  <c:v>93.376068376068361</c:v>
                </c:pt>
                <c:pt idx="939">
                  <c:v>93.74458070110245</c:v>
                </c:pt>
                <c:pt idx="940">
                  <c:v>93.472067385110847</c:v>
                </c:pt>
                <c:pt idx="941">
                  <c:v>94.797473058342618</c:v>
                </c:pt>
                <c:pt idx="942">
                  <c:v>95.206243032329979</c:v>
                </c:pt>
                <c:pt idx="943">
                  <c:v>95.165985383376679</c:v>
                </c:pt>
                <c:pt idx="944">
                  <c:v>93.958255914777666</c:v>
                </c:pt>
                <c:pt idx="945">
                  <c:v>94.308187786448656</c:v>
                </c:pt>
                <c:pt idx="946">
                  <c:v>95.048309178743963</c:v>
                </c:pt>
                <c:pt idx="947">
                  <c:v>94.577604360213058</c:v>
                </c:pt>
                <c:pt idx="948">
                  <c:v>95.862752384491515</c:v>
                </c:pt>
                <c:pt idx="949">
                  <c:v>95.200049547875636</c:v>
                </c:pt>
                <c:pt idx="950">
                  <c:v>94.939923200792762</c:v>
                </c:pt>
                <c:pt idx="951">
                  <c:v>95.001858045336292</c:v>
                </c:pt>
                <c:pt idx="952">
                  <c:v>94.617862009166359</c:v>
                </c:pt>
                <c:pt idx="953">
                  <c:v>95.181469094512565</c:v>
                </c:pt>
                <c:pt idx="954">
                  <c:v>95.540691192865097</c:v>
                </c:pt>
                <c:pt idx="955">
                  <c:v>95.711012015359842</c:v>
                </c:pt>
                <c:pt idx="956">
                  <c:v>97.166480862133028</c:v>
                </c:pt>
                <c:pt idx="957">
                  <c:v>97.045707915273127</c:v>
                </c:pt>
                <c:pt idx="958">
                  <c:v>97.491638795986617</c:v>
                </c:pt>
                <c:pt idx="959">
                  <c:v>97.392543044716959</c:v>
                </c:pt>
                <c:pt idx="960">
                  <c:v>97.2377059333581</c:v>
                </c:pt>
                <c:pt idx="961">
                  <c:v>97.832280440976092</c:v>
                </c:pt>
                <c:pt idx="962">
                  <c:v>97.504025764895331</c:v>
                </c:pt>
                <c:pt idx="963">
                  <c:v>96.187910318345089</c:v>
                </c:pt>
                <c:pt idx="964">
                  <c:v>96.082621082621074</c:v>
                </c:pt>
                <c:pt idx="965">
                  <c:v>96.423262727610549</c:v>
                </c:pt>
                <c:pt idx="966">
                  <c:v>96.915644741731683</c:v>
                </c:pt>
                <c:pt idx="967">
                  <c:v>96.912547999504511</c:v>
                </c:pt>
                <c:pt idx="968">
                  <c:v>97.829183698748921</c:v>
                </c:pt>
                <c:pt idx="969">
                  <c:v>97.544283413848632</c:v>
                </c:pt>
                <c:pt idx="970">
                  <c:v>98.141954663693795</c:v>
                </c:pt>
                <c:pt idx="971">
                  <c:v>98.250340641644982</c:v>
                </c:pt>
                <c:pt idx="972">
                  <c:v>97.751765143069491</c:v>
                </c:pt>
                <c:pt idx="973">
                  <c:v>98.030471943515423</c:v>
                </c:pt>
                <c:pt idx="974">
                  <c:v>99.173169825343734</c:v>
                </c:pt>
                <c:pt idx="975">
                  <c:v>99.513811470333209</c:v>
                </c:pt>
                <c:pt idx="976">
                  <c:v>99.132912176390434</c:v>
                </c:pt>
                <c:pt idx="977">
                  <c:v>100.14554688467732</c:v>
                </c:pt>
                <c:pt idx="978">
                  <c:v>100.70296048556918</c:v>
                </c:pt>
                <c:pt idx="979">
                  <c:v>101.86733556298773</c:v>
                </c:pt>
                <c:pt idx="980">
                  <c:v>102.21107395020438</c:v>
                </c:pt>
                <c:pt idx="981">
                  <c:v>103.00383996036169</c:v>
                </c:pt>
                <c:pt idx="982">
                  <c:v>103.18964449399232</c:v>
                </c:pt>
                <c:pt idx="983">
                  <c:v>102.86138981791156</c:v>
                </c:pt>
                <c:pt idx="984">
                  <c:v>103.14009661835749</c:v>
                </c:pt>
                <c:pt idx="985">
                  <c:v>103.91428217515174</c:v>
                </c:pt>
                <c:pt idx="986">
                  <c:v>104.58937198067632</c:v>
                </c:pt>
                <c:pt idx="987">
                  <c:v>104.52124365167843</c:v>
                </c:pt>
                <c:pt idx="988">
                  <c:v>104.12486064659977</c:v>
                </c:pt>
                <c:pt idx="989">
                  <c:v>105.44716957760436</c:v>
                </c:pt>
                <c:pt idx="990">
                  <c:v>105.17465626161278</c:v>
                </c:pt>
                <c:pt idx="991">
                  <c:v>104.94240059457451</c:v>
                </c:pt>
                <c:pt idx="992">
                  <c:v>104.27040753127709</c:v>
                </c:pt>
                <c:pt idx="993">
                  <c:v>104.80304719435154</c:v>
                </c:pt>
                <c:pt idx="994">
                  <c:v>105.32949337297163</c:v>
                </c:pt>
                <c:pt idx="995">
                  <c:v>106.72922085965564</c:v>
                </c:pt>
                <c:pt idx="996">
                  <c:v>106.72922085965564</c:v>
                </c:pt>
                <c:pt idx="997">
                  <c:v>106.8283166109253</c:v>
                </c:pt>
                <c:pt idx="998">
                  <c:v>106.42883686361947</c:v>
                </c:pt>
                <c:pt idx="999">
                  <c:v>107.76662950575994</c:v>
                </c:pt>
                <c:pt idx="1000">
                  <c:v>107.91836987489161</c:v>
                </c:pt>
                <c:pt idx="1001">
                  <c:v>108.49126718691936</c:v>
                </c:pt>
                <c:pt idx="1002">
                  <c:v>108.42623560014864</c:v>
                </c:pt>
                <c:pt idx="1003">
                  <c:v>108.82571534745448</c:v>
                </c:pt>
                <c:pt idx="1004">
                  <c:v>107.3268921095008</c:v>
                </c:pt>
                <c:pt idx="1005">
                  <c:v>106.48148148148148</c:v>
                </c:pt>
                <c:pt idx="1006">
                  <c:v>106.6270283661588</c:v>
                </c:pt>
                <c:pt idx="1007">
                  <c:v>108.03604607952434</c:v>
                </c:pt>
                <c:pt idx="1008">
                  <c:v>108.03914282175151</c:v>
                </c:pt>
                <c:pt idx="1009">
                  <c:v>109.10751889012758</c:v>
                </c:pt>
                <c:pt idx="1010">
                  <c:v>108.40765514678557</c:v>
                </c:pt>
                <c:pt idx="1011">
                  <c:v>107.2990214294562</c:v>
                </c:pt>
                <c:pt idx="1012">
                  <c:v>109.04558404558404</c:v>
                </c:pt>
                <c:pt idx="1013">
                  <c:v>108.47268673355629</c:v>
                </c:pt>
                <c:pt idx="1014">
                  <c:v>109.15087328130807</c:v>
                </c:pt>
                <c:pt idx="1015">
                  <c:v>110.12944382509599</c:v>
                </c:pt>
                <c:pt idx="1016">
                  <c:v>110.53821379908337</c:v>
                </c:pt>
                <c:pt idx="1017">
                  <c:v>111.04298278211321</c:v>
                </c:pt>
                <c:pt idx="1018">
                  <c:v>110.99343490647838</c:v>
                </c:pt>
                <c:pt idx="1019">
                  <c:v>110.83859779511953</c:v>
                </c:pt>
                <c:pt idx="1020">
                  <c:v>111.19781989347206</c:v>
                </c:pt>
                <c:pt idx="1021">
                  <c:v>110.93150006193484</c:v>
                </c:pt>
                <c:pt idx="1022">
                  <c:v>110.50105289235724</c:v>
                </c:pt>
                <c:pt idx="1023">
                  <c:v>109.5503530286139</c:v>
                </c:pt>
                <c:pt idx="1024">
                  <c:v>108.69565217391303</c:v>
                </c:pt>
                <c:pt idx="1025">
                  <c:v>108.37049424005946</c:v>
                </c:pt>
                <c:pt idx="1026">
                  <c:v>108.03914282175151</c:v>
                </c:pt>
                <c:pt idx="1027">
                  <c:v>108.40146166233123</c:v>
                </c:pt>
                <c:pt idx="1028">
                  <c:v>108.0546265328874</c:v>
                </c:pt>
                <c:pt idx="1029">
                  <c:v>108.32713984887897</c:v>
                </c:pt>
                <c:pt idx="1030">
                  <c:v>108.0546265328874</c:v>
                </c:pt>
                <c:pt idx="1031">
                  <c:v>107.70779140344357</c:v>
                </c:pt>
                <c:pt idx="1032">
                  <c:v>108.05772327511457</c:v>
                </c:pt>
                <c:pt idx="1033">
                  <c:v>107.67063049671745</c:v>
                </c:pt>
                <c:pt idx="1034">
                  <c:v>107.95553078161774</c:v>
                </c:pt>
                <c:pt idx="1035">
                  <c:v>106.83760683760683</c:v>
                </c:pt>
                <c:pt idx="1036">
                  <c:v>107.11012015359842</c:v>
                </c:pt>
                <c:pt idx="1037">
                  <c:v>107.42598786077046</c:v>
                </c:pt>
                <c:pt idx="1038">
                  <c:v>107.41050414963458</c:v>
                </c:pt>
                <c:pt idx="1039">
                  <c:v>108.4045584045584</c:v>
                </c:pt>
                <c:pt idx="1040">
                  <c:v>108.5934596804162</c:v>
                </c:pt>
                <c:pt idx="1041">
                  <c:v>107.95243403939055</c:v>
                </c:pt>
                <c:pt idx="1042">
                  <c:v>108.89384367645236</c:v>
                </c:pt>
                <c:pt idx="1043">
                  <c:v>109.51319212188777</c:v>
                </c:pt>
                <c:pt idx="1044">
                  <c:v>110.08299269168833</c:v>
                </c:pt>
                <c:pt idx="1045">
                  <c:v>109.3614517527561</c:v>
                </c:pt>
                <c:pt idx="1046">
                  <c:v>110.29666790536355</c:v>
                </c:pt>
                <c:pt idx="1047">
                  <c:v>109.93744580701102</c:v>
                </c:pt>
                <c:pt idx="1048">
                  <c:v>109.60919113093026</c:v>
                </c:pt>
                <c:pt idx="1049">
                  <c:v>109.65564226433791</c:v>
                </c:pt>
                <c:pt idx="1050">
                  <c:v>110.42673107890499</c:v>
                </c:pt>
                <c:pt idx="1051">
                  <c:v>111.29381890251454</c:v>
                </c:pt>
                <c:pt idx="1052">
                  <c:v>112.21974482844047</c:v>
                </c:pt>
                <c:pt idx="1053">
                  <c:v>112.69044964697137</c:v>
                </c:pt>
                <c:pt idx="1054">
                  <c:v>112.2166480862133</c:v>
                </c:pt>
                <c:pt idx="1055">
                  <c:v>113.03109129196085</c:v>
                </c:pt>
                <c:pt idx="1056">
                  <c:v>113.19831537222841</c:v>
                </c:pt>
                <c:pt idx="1057">
                  <c:v>113.09921962095875</c:v>
                </c:pt>
                <c:pt idx="1058">
                  <c:v>113.57302118171683</c:v>
                </c:pt>
                <c:pt idx="1059">
                  <c:v>112.76167471819645</c:v>
                </c:pt>
                <c:pt idx="1060">
                  <c:v>112.78954539824105</c:v>
                </c:pt>
                <c:pt idx="1061">
                  <c:v>113.96011396011396</c:v>
                </c:pt>
                <c:pt idx="1062">
                  <c:v>114.31004583178496</c:v>
                </c:pt>
                <c:pt idx="1063">
                  <c:v>114.39675461414592</c:v>
                </c:pt>
                <c:pt idx="1064">
                  <c:v>113.77430942648333</c:v>
                </c:pt>
                <c:pt idx="1065">
                  <c:v>113.89508237334324</c:v>
                </c:pt>
                <c:pt idx="1066">
                  <c:v>115.6911928651059</c:v>
                </c:pt>
                <c:pt idx="1067">
                  <c:v>115.12139229530533</c:v>
                </c:pt>
                <c:pt idx="1068">
                  <c:v>115.83983649201041</c:v>
                </c:pt>
                <c:pt idx="1069">
                  <c:v>115.33816425120773</c:v>
                </c:pt>
                <c:pt idx="1070">
                  <c:v>114.82720178372352</c:v>
                </c:pt>
                <c:pt idx="1071">
                  <c:v>115.52396878483835</c:v>
                </c:pt>
                <c:pt idx="1072">
                  <c:v>114.58565589000371</c:v>
                </c:pt>
                <c:pt idx="1073">
                  <c:v>115.01610305958131</c:v>
                </c:pt>
                <c:pt idx="1074">
                  <c:v>114.57326892109501</c:v>
                </c:pt>
                <c:pt idx="1075">
                  <c:v>114.14901523597175</c:v>
                </c:pt>
                <c:pt idx="1076">
                  <c:v>113.61637557289731</c:v>
                </c:pt>
                <c:pt idx="1077">
                  <c:v>112.44890375325157</c:v>
                </c:pt>
                <c:pt idx="1078">
                  <c:v>112.84528675833023</c:v>
                </c:pt>
                <c:pt idx="1079">
                  <c:v>110.84169453734671</c:v>
                </c:pt>
                <c:pt idx="1080">
                  <c:v>111.09253065774804</c:v>
                </c:pt>
                <c:pt idx="1081">
                  <c:v>110.94079028861637</c:v>
                </c:pt>
                <c:pt idx="1082">
                  <c:v>111.05536975102191</c:v>
                </c:pt>
                <c:pt idx="1083">
                  <c:v>111.38672116932986</c:v>
                </c:pt>
                <c:pt idx="1084">
                  <c:v>111.62517032082249</c:v>
                </c:pt>
                <c:pt idx="1085">
                  <c:v>109.97460671373715</c:v>
                </c:pt>
                <c:pt idx="1086">
                  <c:v>111.01511210206861</c:v>
                </c:pt>
                <c:pt idx="1087">
                  <c:v>111.581815929642</c:v>
                </c:pt>
                <c:pt idx="1088">
                  <c:v>112.40864610429827</c:v>
                </c:pt>
                <c:pt idx="1089">
                  <c:v>112.19187414839588</c:v>
                </c:pt>
                <c:pt idx="1090">
                  <c:v>112.95367273628143</c:v>
                </c:pt>
                <c:pt idx="1091">
                  <c:v>111.91936083240431</c:v>
                </c:pt>
                <c:pt idx="1092">
                  <c:v>112.57277344233866</c:v>
                </c:pt>
                <c:pt idx="1093">
                  <c:v>111.53846153846153</c:v>
                </c:pt>
                <c:pt idx="1094">
                  <c:v>110.86646847516413</c:v>
                </c:pt>
                <c:pt idx="1095">
                  <c:v>109.65873900656509</c:v>
                </c:pt>
                <c:pt idx="1096">
                  <c:v>110.60943887030842</c:v>
                </c:pt>
                <c:pt idx="1097">
                  <c:v>110.34931252322556</c:v>
                </c:pt>
                <c:pt idx="1098">
                  <c:v>110.54440728353771</c:v>
                </c:pt>
                <c:pt idx="1099">
                  <c:v>111.21640034683513</c:v>
                </c:pt>
                <c:pt idx="1100">
                  <c:v>110.86337173293694</c:v>
                </c:pt>
                <c:pt idx="1101">
                  <c:v>110.30286138981791</c:v>
                </c:pt>
                <c:pt idx="1102">
                  <c:v>108.92171435649696</c:v>
                </c:pt>
                <c:pt idx="1103">
                  <c:v>108.42933234237582</c:v>
                </c:pt>
                <c:pt idx="1104">
                  <c:v>108.6058466493249</c:v>
                </c:pt>
                <c:pt idx="1105">
                  <c:v>108.38597795119534</c:v>
                </c:pt>
                <c:pt idx="1106">
                  <c:v>109.27783971262231</c:v>
                </c:pt>
                <c:pt idx="1107">
                  <c:v>110.45460175894958</c:v>
                </c:pt>
                <c:pt idx="1108">
                  <c:v>110.96556422643378</c:v>
                </c:pt>
                <c:pt idx="1109">
                  <c:v>110.65898674594327</c:v>
                </c:pt>
                <c:pt idx="1110">
                  <c:v>110.12325034064163</c:v>
                </c:pt>
                <c:pt idx="1111">
                  <c:v>109.76093150006193</c:v>
                </c:pt>
                <c:pt idx="1112">
                  <c:v>109.05177753003839</c:v>
                </c:pt>
                <c:pt idx="1113">
                  <c:v>108.87526322308931</c:v>
                </c:pt>
                <c:pt idx="1114">
                  <c:v>108.34881704446921</c:v>
                </c:pt>
                <c:pt idx="1115">
                  <c:v>107.69540443453486</c:v>
                </c:pt>
                <c:pt idx="1116">
                  <c:v>107.92456335934597</c:v>
                </c:pt>
                <c:pt idx="1117">
                  <c:v>109.2530657748049</c:v>
                </c:pt>
                <c:pt idx="1118">
                  <c:v>109.64015855320203</c:v>
                </c:pt>
                <c:pt idx="1119">
                  <c:v>109.09513192121888</c:v>
                </c:pt>
                <c:pt idx="1120">
                  <c:v>109.92815558032949</c:v>
                </c:pt>
                <c:pt idx="1121">
                  <c:v>109.9002849002849</c:v>
                </c:pt>
                <c:pt idx="1122">
                  <c:v>109.94983277591973</c:v>
                </c:pt>
                <c:pt idx="1123">
                  <c:v>110.09847640282422</c:v>
                </c:pt>
                <c:pt idx="1124">
                  <c:v>110.22544283413848</c:v>
                </c:pt>
                <c:pt idx="1125">
                  <c:v>110.182088442958</c:v>
                </c:pt>
                <c:pt idx="1126">
                  <c:v>109.03319707667534</c:v>
                </c:pt>
                <c:pt idx="1127">
                  <c:v>109.80738263346959</c:v>
                </c:pt>
                <c:pt idx="1128">
                  <c:v>109.9808001981915</c:v>
                </c:pt>
                <c:pt idx="1129">
                  <c:v>109.66493249101944</c:v>
                </c:pt>
                <c:pt idx="1130">
                  <c:v>109.40480614393657</c:v>
                </c:pt>
                <c:pt idx="1131">
                  <c:v>110.60634212808125</c:v>
                </c:pt>
                <c:pt idx="1132">
                  <c:v>110.8974358974359</c:v>
                </c:pt>
                <c:pt idx="1133">
                  <c:v>109.70209339774557</c:v>
                </c:pt>
                <c:pt idx="1134">
                  <c:v>109.73306082001734</c:v>
                </c:pt>
                <c:pt idx="1135">
                  <c:v>109.39861265948223</c:v>
                </c:pt>
                <c:pt idx="1136">
                  <c:v>109.62467484206614</c:v>
                </c:pt>
                <c:pt idx="1137">
                  <c:v>109.77331846897064</c:v>
                </c:pt>
                <c:pt idx="1138">
                  <c:v>110.1542177629134</c:v>
                </c:pt>
                <c:pt idx="1139">
                  <c:v>111.63446054750402</c:v>
                </c:pt>
                <c:pt idx="1140">
                  <c:v>110.79834014616623</c:v>
                </c:pt>
                <c:pt idx="1141">
                  <c:v>111.31239935587762</c:v>
                </c:pt>
                <c:pt idx="1142">
                  <c:v>111.43007556051033</c:v>
                </c:pt>
                <c:pt idx="1143">
                  <c:v>111.16065898674594</c:v>
                </c:pt>
                <c:pt idx="1144">
                  <c:v>110.58776167471819</c:v>
                </c:pt>
                <c:pt idx="1145">
                  <c:v>110.17899170073082</c:v>
                </c:pt>
                <c:pt idx="1146">
                  <c:v>110.36789297658862</c:v>
                </c:pt>
                <c:pt idx="1147">
                  <c:v>110.60324538585408</c:v>
                </c:pt>
                <c:pt idx="1148">
                  <c:v>110.60324538585408</c:v>
                </c:pt>
                <c:pt idx="1149">
                  <c:v>110.20686238077542</c:v>
                </c:pt>
                <c:pt idx="1150">
                  <c:v>109.91886535364796</c:v>
                </c:pt>
                <c:pt idx="1151">
                  <c:v>109.68970642883686</c:v>
                </c:pt>
                <c:pt idx="1152">
                  <c:v>110.53821379908337</c:v>
                </c:pt>
                <c:pt idx="1153">
                  <c:v>108.74520004954788</c:v>
                </c:pt>
                <c:pt idx="1154">
                  <c:v>110.07679920723399</c:v>
                </c:pt>
                <c:pt idx="1155">
                  <c:v>111.91626409017712</c:v>
                </c:pt>
                <c:pt idx="1156">
                  <c:v>112.69973987365292</c:v>
                </c:pt>
                <c:pt idx="1157">
                  <c:v>112.35290474420908</c:v>
                </c:pt>
                <c:pt idx="1158">
                  <c:v>112.9691564474173</c:v>
                </c:pt>
                <c:pt idx="1159">
                  <c:v>112.19806763285024</c:v>
                </c:pt>
                <c:pt idx="1160">
                  <c:v>112.08039142821751</c:v>
                </c:pt>
                <c:pt idx="1161">
                  <c:v>111.88839341013254</c:v>
                </c:pt>
                <c:pt idx="1162">
                  <c:v>111.86361947231512</c:v>
                </c:pt>
                <c:pt idx="1163">
                  <c:v>113.01560758082496</c:v>
                </c:pt>
                <c:pt idx="1164">
                  <c:v>113.04967174532392</c:v>
                </c:pt>
                <c:pt idx="1165">
                  <c:v>113.05896197200545</c:v>
                </c:pt>
                <c:pt idx="1166">
                  <c:v>112.72451381147033</c:v>
                </c:pt>
                <c:pt idx="1167">
                  <c:v>113.19521863000124</c:v>
                </c:pt>
                <c:pt idx="1168">
                  <c:v>114.1830794004707</c:v>
                </c:pt>
                <c:pt idx="1169">
                  <c:v>114.71262232131797</c:v>
                </c:pt>
                <c:pt idx="1170">
                  <c:v>115.41558280688714</c:v>
                </c:pt>
                <c:pt idx="1171">
                  <c:v>116.2981543416326</c:v>
                </c:pt>
                <c:pt idx="1172">
                  <c:v>117.25504768983029</c:v>
                </c:pt>
                <c:pt idx="1173">
                  <c:v>116.87105165366034</c:v>
                </c:pt>
                <c:pt idx="1174">
                  <c:v>116.12783351913787</c:v>
                </c:pt>
                <c:pt idx="1175">
                  <c:v>117.1187910318345</c:v>
                </c:pt>
                <c:pt idx="1176">
                  <c:v>117.65143069490895</c:v>
                </c:pt>
                <c:pt idx="1177">
                  <c:v>119.1007060572278</c:v>
                </c:pt>
                <c:pt idx="1178">
                  <c:v>119.28341384863123</c:v>
                </c:pt>
                <c:pt idx="1179">
                  <c:v>118.95206243032329</c:v>
                </c:pt>
                <c:pt idx="1180">
                  <c:v>118.27387588257153</c:v>
                </c:pt>
                <c:pt idx="1181">
                  <c:v>117.61426978818282</c:v>
                </c:pt>
                <c:pt idx="1182">
                  <c:v>117.18072587637805</c:v>
                </c:pt>
                <c:pt idx="1183">
                  <c:v>115.57661340270036</c:v>
                </c:pt>
                <c:pt idx="1184">
                  <c:v>116.38176638176638</c:v>
                </c:pt>
                <c:pt idx="1185">
                  <c:v>117.31388579214665</c:v>
                </c:pt>
                <c:pt idx="1186">
                  <c:v>116.36937941285767</c:v>
                </c:pt>
                <c:pt idx="1187">
                  <c:v>116.29196085717824</c:v>
                </c:pt>
                <c:pt idx="1188">
                  <c:v>115.83054626532886</c:v>
                </c:pt>
                <c:pt idx="1189">
                  <c:v>115.48371113588504</c:v>
                </c:pt>
                <c:pt idx="1190">
                  <c:v>115.22668153102936</c:v>
                </c:pt>
                <c:pt idx="1191">
                  <c:v>114.46488294314381</c:v>
                </c:pt>
                <c:pt idx="1192">
                  <c:v>116.40344357735661</c:v>
                </c:pt>
                <c:pt idx="1193">
                  <c:v>118.82819274123621</c:v>
                </c:pt>
                <c:pt idx="1194">
                  <c:v>119.54663693794129</c:v>
                </c:pt>
                <c:pt idx="1195">
                  <c:v>119.92753623188405</c:v>
                </c:pt>
                <c:pt idx="1196">
                  <c:v>120.58404558404558</c:v>
                </c:pt>
                <c:pt idx="1197">
                  <c:v>120.73268921095007</c:v>
                </c:pt>
                <c:pt idx="1198">
                  <c:v>120.28056484578224</c:v>
                </c:pt>
                <c:pt idx="1199">
                  <c:v>120.80701102440233</c:v>
                </c:pt>
                <c:pt idx="1200">
                  <c:v>119.68289359593707</c:v>
                </c:pt>
                <c:pt idx="1201">
                  <c:v>118.78483835005574</c:v>
                </c:pt>
                <c:pt idx="1202">
                  <c:v>119.46612164003467</c:v>
                </c:pt>
                <c:pt idx="1203">
                  <c:v>118.64858169205995</c:v>
                </c:pt>
                <c:pt idx="1204">
                  <c:v>119.35154217762913</c:v>
                </c:pt>
                <c:pt idx="1205">
                  <c:v>118.97064288368635</c:v>
                </c:pt>
                <c:pt idx="1206">
                  <c:v>119.34844543540196</c:v>
                </c:pt>
                <c:pt idx="1207">
                  <c:v>118.65477517651431</c:v>
                </c:pt>
                <c:pt idx="1208">
                  <c:v>117.44394896568809</c:v>
                </c:pt>
                <c:pt idx="1209">
                  <c:v>117.25504768983029</c:v>
                </c:pt>
                <c:pt idx="1210">
                  <c:v>118.3048433048433</c:v>
                </c:pt>
                <c:pt idx="1211">
                  <c:v>117.66691440604484</c:v>
                </c:pt>
                <c:pt idx="1212">
                  <c:v>118.72290350551219</c:v>
                </c:pt>
                <c:pt idx="1213">
                  <c:v>118.34819769602377</c:v>
                </c:pt>
                <c:pt idx="1214">
                  <c:v>119.22457574631487</c:v>
                </c:pt>
                <c:pt idx="1215">
                  <c:v>118.70122630992195</c:v>
                </c:pt>
                <c:pt idx="1216">
                  <c:v>119.32367149758454</c:v>
                </c:pt>
                <c:pt idx="1217">
                  <c:v>118.27387588257153</c:v>
                </c:pt>
                <c:pt idx="1218">
                  <c:v>118.39155208720426</c:v>
                </c:pt>
                <c:pt idx="1219">
                  <c:v>117.6731078904992</c:v>
                </c:pt>
                <c:pt idx="1220">
                  <c:v>117.31078904991948</c:v>
                </c:pt>
                <c:pt idx="1221">
                  <c:v>117.10330732069862</c:v>
                </c:pt>
                <c:pt idx="1222">
                  <c:v>116.58924811098724</c:v>
                </c:pt>
                <c:pt idx="1223">
                  <c:v>114.47726991205252</c:v>
                </c:pt>
                <c:pt idx="1224">
                  <c:v>115.99157686114208</c:v>
                </c:pt>
                <c:pt idx="1225">
                  <c:v>115.55803294933729</c:v>
                </c:pt>
                <c:pt idx="1226">
                  <c:v>114.36269044964696</c:v>
                </c:pt>
                <c:pt idx="1227">
                  <c:v>112.91960857178248</c:v>
                </c:pt>
                <c:pt idx="1228">
                  <c:v>113.39960361699491</c:v>
                </c:pt>
                <c:pt idx="1229">
                  <c:v>113.21999256781865</c:v>
                </c:pt>
                <c:pt idx="1230">
                  <c:v>114.22643379165117</c:v>
                </c:pt>
                <c:pt idx="1231">
                  <c:v>115.0315867707172</c:v>
                </c:pt>
                <c:pt idx="1232">
                  <c:v>115.29480986002724</c:v>
                </c:pt>
                <c:pt idx="1233">
                  <c:v>114.39985135637309</c:v>
                </c:pt>
                <c:pt idx="1234">
                  <c:v>114.13972500929022</c:v>
                </c:pt>
                <c:pt idx="1235">
                  <c:v>115.67570915397002</c:v>
                </c:pt>
                <c:pt idx="1236">
                  <c:v>115.87699739873652</c:v>
                </c:pt>
                <c:pt idx="1237">
                  <c:v>117.08472686733556</c:v>
                </c:pt>
                <c:pt idx="1238">
                  <c:v>118.2243280069367</c:v>
                </c:pt>
                <c:pt idx="1239">
                  <c:v>116.20215533259011</c:v>
                </c:pt>
                <c:pt idx="1240">
                  <c:v>116.46537842190016</c:v>
                </c:pt>
                <c:pt idx="1241">
                  <c:v>116.16809116809117</c:v>
                </c:pt>
                <c:pt idx="1242">
                  <c:v>115.84912671869193</c:v>
                </c:pt>
                <c:pt idx="1243">
                  <c:v>116.05660844791279</c:v>
                </c:pt>
                <c:pt idx="1244">
                  <c:v>116.87105165366034</c:v>
                </c:pt>
                <c:pt idx="1245">
                  <c:v>116.85556794252446</c:v>
                </c:pt>
                <c:pt idx="1246">
                  <c:v>116.2300260126347</c:v>
                </c:pt>
                <c:pt idx="1247">
                  <c:v>115.24835872661959</c:v>
                </c:pt>
                <c:pt idx="1248">
                  <c:v>116.38486312399355</c:v>
                </c:pt>
                <c:pt idx="1249">
                  <c:v>116.90511581815929</c:v>
                </c:pt>
                <c:pt idx="1250">
                  <c:v>117.57401213922952</c:v>
                </c:pt>
                <c:pt idx="1251">
                  <c:v>117.44704570791527</c:v>
                </c:pt>
                <c:pt idx="1252">
                  <c:v>118.74148395887526</c:v>
                </c:pt>
                <c:pt idx="1253">
                  <c:v>118.43180973615756</c:v>
                </c:pt>
                <c:pt idx="1254">
                  <c:v>118.2243280069367</c:v>
                </c:pt>
                <c:pt idx="1255">
                  <c:v>118.03852347330607</c:v>
                </c:pt>
                <c:pt idx="1256">
                  <c:v>117.99207233989843</c:v>
                </c:pt>
                <c:pt idx="1257">
                  <c:v>117.69788182831661</c:v>
                </c:pt>
                <c:pt idx="1258">
                  <c:v>118.82199925678187</c:v>
                </c:pt>
                <c:pt idx="1259">
                  <c:v>119.53734671125974</c:v>
                </c:pt>
                <c:pt idx="1260">
                  <c:v>119.76960237829802</c:v>
                </c:pt>
                <c:pt idx="1261">
                  <c:v>120.5685618729097</c:v>
                </c:pt>
                <c:pt idx="1262">
                  <c:v>119.89656880961228</c:v>
                </c:pt>
                <c:pt idx="1263">
                  <c:v>121.00520252694164</c:v>
                </c:pt>
                <c:pt idx="1264">
                  <c:v>121.06094388703083</c:v>
                </c:pt>
                <c:pt idx="1265">
                  <c:v>122.2655766134027</c:v>
                </c:pt>
                <c:pt idx="1266">
                  <c:v>122.21602873776786</c:v>
                </c:pt>
                <c:pt idx="1267">
                  <c:v>122.85705437879351</c:v>
                </c:pt>
                <c:pt idx="1268">
                  <c:v>121.77319459928155</c:v>
                </c:pt>
                <c:pt idx="1269">
                  <c:v>123.21317973491885</c:v>
                </c:pt>
                <c:pt idx="1270">
                  <c:v>122.95305338783599</c:v>
                </c:pt>
                <c:pt idx="1271">
                  <c:v>122.3182212312647</c:v>
                </c:pt>
                <c:pt idx="1272">
                  <c:v>122.17267434658739</c:v>
                </c:pt>
                <c:pt idx="1273">
                  <c:v>122.46996160039637</c:v>
                </c:pt>
                <c:pt idx="1274">
                  <c:v>122.5597671249845</c:v>
                </c:pt>
                <c:pt idx="1275">
                  <c:v>122.83228044097609</c:v>
                </c:pt>
                <c:pt idx="1276">
                  <c:v>123.21937321937321</c:v>
                </c:pt>
                <c:pt idx="1277">
                  <c:v>123.17292208596555</c:v>
                </c:pt>
                <c:pt idx="1278">
                  <c:v>121.94970890623064</c:v>
                </c:pt>
                <c:pt idx="1279">
                  <c:v>122.41731698253437</c:v>
                </c:pt>
                <c:pt idx="1280">
                  <c:v>125.04645113340764</c:v>
                </c:pt>
                <c:pt idx="1281">
                  <c:v>127.45881332837854</c:v>
                </c:pt>
                <c:pt idx="1282">
                  <c:v>127.05623683884552</c:v>
                </c:pt>
                <c:pt idx="1283">
                  <c:v>128.45906106775672</c:v>
                </c:pt>
                <c:pt idx="1284">
                  <c:v>127.95429208472686</c:v>
                </c:pt>
                <c:pt idx="1285">
                  <c:v>127.09030100334448</c:v>
                </c:pt>
                <c:pt idx="1286">
                  <c:v>128.14319336058466</c:v>
                </c:pt>
                <c:pt idx="1287">
                  <c:v>127.96667905363557</c:v>
                </c:pt>
                <c:pt idx="1288">
                  <c:v>127.63223089310046</c:v>
                </c:pt>
                <c:pt idx="1289">
                  <c:v>128.39402948098601</c:v>
                </c:pt>
                <c:pt idx="1290">
                  <c:v>126.8704323052149</c:v>
                </c:pt>
                <c:pt idx="1291">
                  <c:v>126.14889136628267</c:v>
                </c:pt>
                <c:pt idx="1292">
                  <c:v>127.05314009661835</c:v>
                </c:pt>
                <c:pt idx="1293">
                  <c:v>126.06218258392171</c:v>
                </c:pt>
                <c:pt idx="1294">
                  <c:v>127.71584293323423</c:v>
                </c:pt>
                <c:pt idx="1295">
                  <c:v>127.3566208348817</c:v>
                </c:pt>
                <c:pt idx="1296">
                  <c:v>128.66034931252321</c:v>
                </c:pt>
                <c:pt idx="1297">
                  <c:v>129.75659606094388</c:v>
                </c:pt>
                <c:pt idx="1298">
                  <c:v>130.07246376811594</c:v>
                </c:pt>
                <c:pt idx="1299">
                  <c:v>129.44692183822619</c:v>
                </c:pt>
                <c:pt idx="1300">
                  <c:v>130.07556051034311</c:v>
                </c:pt>
                <c:pt idx="1301">
                  <c:v>131.01077666295058</c:v>
                </c:pt>
                <c:pt idx="1302">
                  <c:v>129.70395144308188</c:v>
                </c:pt>
                <c:pt idx="1303">
                  <c:v>128.85234733060818</c:v>
                </c:pt>
                <c:pt idx="1304">
                  <c:v>128.76563854824724</c:v>
                </c:pt>
                <c:pt idx="1305">
                  <c:v>128.0688715471324</c:v>
                </c:pt>
                <c:pt idx="1306">
                  <c:v>127.87997027127462</c:v>
                </c:pt>
                <c:pt idx="1307">
                  <c:v>129.37879350922827</c:v>
                </c:pt>
                <c:pt idx="1308">
                  <c:v>128.46525455221106</c:v>
                </c:pt>
                <c:pt idx="1309">
                  <c:v>129.05053883314753</c:v>
                </c:pt>
                <c:pt idx="1310">
                  <c:v>128.46525455221106</c:v>
                </c:pt>
                <c:pt idx="1311">
                  <c:v>128.9173789173789</c:v>
                </c:pt>
                <c:pt idx="1312">
                  <c:v>129.49337297163385</c:v>
                </c:pt>
                <c:pt idx="1313">
                  <c:v>130.28304223956397</c:v>
                </c:pt>
                <c:pt idx="1314">
                  <c:v>130.86213303604606</c:v>
                </c:pt>
                <c:pt idx="1315">
                  <c:v>130.78471448036666</c:v>
                </c:pt>
                <c:pt idx="1316">
                  <c:v>131.34832156571287</c:v>
                </c:pt>
                <c:pt idx="1317">
                  <c:v>131.59915768611421</c:v>
                </c:pt>
                <c:pt idx="1318">
                  <c:v>131.42264337916512</c:v>
                </c:pt>
                <c:pt idx="1319">
                  <c:v>131.6951566951567</c:v>
                </c:pt>
                <c:pt idx="1320">
                  <c:v>130.58652297782731</c:v>
                </c:pt>
                <c:pt idx="1321">
                  <c:v>131.87786448656013</c:v>
                </c:pt>
                <c:pt idx="1322">
                  <c:v>131.27399975226061</c:v>
                </c:pt>
                <c:pt idx="1323">
                  <c:v>131.53722284157067</c:v>
                </c:pt>
                <c:pt idx="1324">
                  <c:v>132.24637681159419</c:v>
                </c:pt>
                <c:pt idx="1325">
                  <c:v>130.1467855815682</c:v>
                </c:pt>
                <c:pt idx="1326">
                  <c:v>129.63582311408399</c:v>
                </c:pt>
                <c:pt idx="1327">
                  <c:v>130.69181221355134</c:v>
                </c:pt>
                <c:pt idx="1328">
                  <c:v>131.28019323671498</c:v>
                </c:pt>
                <c:pt idx="1329">
                  <c:v>132.78520995912299</c:v>
                </c:pt>
                <c:pt idx="1330">
                  <c:v>134.07345472562864</c:v>
                </c:pt>
                <c:pt idx="1331">
                  <c:v>134.6029976464759</c:v>
                </c:pt>
                <c:pt idx="1332">
                  <c:v>136.00891861761426</c:v>
                </c:pt>
                <c:pt idx="1333">
                  <c:v>136.30930261365043</c:v>
                </c:pt>
                <c:pt idx="1334">
                  <c:v>136.62207357859532</c:v>
                </c:pt>
                <c:pt idx="1335">
                  <c:v>135.84788802180105</c:v>
                </c:pt>
                <c:pt idx="1336">
                  <c:v>136.27523844915149</c:v>
                </c:pt>
                <c:pt idx="1337">
                  <c:v>135.00247739378173</c:v>
                </c:pt>
                <c:pt idx="1338">
                  <c:v>136.02130558652297</c:v>
                </c:pt>
                <c:pt idx="1339">
                  <c:v>135.15731450514059</c:v>
                </c:pt>
                <c:pt idx="1340">
                  <c:v>134.9529295181469</c:v>
                </c:pt>
                <c:pt idx="1341">
                  <c:v>134.33048433048432</c:v>
                </c:pt>
                <c:pt idx="1342">
                  <c:v>136.99987613031089</c:v>
                </c:pt>
                <c:pt idx="1343">
                  <c:v>135.6930509104422</c:v>
                </c:pt>
                <c:pt idx="1344">
                  <c:v>136.96890870803912</c:v>
                </c:pt>
                <c:pt idx="1345">
                  <c:v>137.95367273628142</c:v>
                </c:pt>
                <c:pt idx="1346">
                  <c:v>138.56992443948965</c:v>
                </c:pt>
                <c:pt idx="1347">
                  <c:v>138.47392543044717</c:v>
                </c:pt>
                <c:pt idx="1348">
                  <c:v>136.54155828068872</c:v>
                </c:pt>
                <c:pt idx="1349">
                  <c:v>137.11135885048927</c:v>
                </c:pt>
                <c:pt idx="1350">
                  <c:v>135.79524340393905</c:v>
                </c:pt>
                <c:pt idx="1351">
                  <c:v>135.37408646104296</c:v>
                </c:pt>
                <c:pt idx="1352">
                  <c:v>135.68066394153351</c:v>
                </c:pt>
                <c:pt idx="1353">
                  <c:v>137.75238449151493</c:v>
                </c:pt>
                <c:pt idx="1354">
                  <c:v>139.94797473058341</c:v>
                </c:pt>
                <c:pt idx="1355">
                  <c:v>140.04087699739873</c:v>
                </c:pt>
                <c:pt idx="1356">
                  <c:v>141.39415335067508</c:v>
                </c:pt>
                <c:pt idx="1357">
                  <c:v>141.02564102564102</c:v>
                </c:pt>
                <c:pt idx="1358">
                  <c:v>141.36937941285765</c:v>
                </c:pt>
                <c:pt idx="1359">
                  <c:v>142.12188777406169</c:v>
                </c:pt>
                <c:pt idx="1360">
                  <c:v>142.47801313018704</c:v>
                </c:pt>
                <c:pt idx="1361">
                  <c:v>142.58020562368387</c:v>
                </c:pt>
                <c:pt idx="1362">
                  <c:v>143.18716710021056</c:v>
                </c:pt>
                <c:pt idx="1363">
                  <c:v>144.63334572030223</c:v>
                </c:pt>
                <c:pt idx="1364">
                  <c:v>143.15619967793882</c:v>
                </c:pt>
                <c:pt idx="1365">
                  <c:v>144.8005698005698</c:v>
                </c:pt>
                <c:pt idx="1366">
                  <c:v>146.89087080391428</c:v>
                </c:pt>
                <c:pt idx="1367">
                  <c:v>146.78558156819025</c:v>
                </c:pt>
                <c:pt idx="1368">
                  <c:v>147.94066641892729</c:v>
                </c:pt>
                <c:pt idx="1369">
                  <c:v>147.67744332961723</c:v>
                </c:pt>
                <c:pt idx="1370">
                  <c:v>147.47615508485072</c:v>
                </c:pt>
                <c:pt idx="1371">
                  <c:v>145.15359841446798</c:v>
                </c:pt>
                <c:pt idx="1372">
                  <c:v>142.47491638795987</c:v>
                </c:pt>
                <c:pt idx="1373">
                  <c:v>142.9022668153103</c:v>
                </c:pt>
                <c:pt idx="1374">
                  <c:v>138.28812089681654</c:v>
                </c:pt>
                <c:pt idx="1375">
                  <c:v>137.97225318964448</c:v>
                </c:pt>
                <c:pt idx="1376">
                  <c:v>136.90387712126841</c:v>
                </c:pt>
                <c:pt idx="1377">
                  <c:v>134.21280812585161</c:v>
                </c:pt>
                <c:pt idx="1378">
                  <c:v>138.01251083859779</c:v>
                </c:pt>
                <c:pt idx="1379">
                  <c:v>135.1697014740493</c:v>
                </c:pt>
                <c:pt idx="1380">
                  <c:v>137.03084355258267</c:v>
                </c:pt>
                <c:pt idx="1381">
                  <c:v>139.09637061810975</c:v>
                </c:pt>
                <c:pt idx="1382">
                  <c:v>139.40294809860026</c:v>
                </c:pt>
                <c:pt idx="1383">
                  <c:v>137.78644865601387</c:v>
                </c:pt>
                <c:pt idx="1384">
                  <c:v>138.69069738634954</c:v>
                </c:pt>
                <c:pt idx="1385">
                  <c:v>138.94772699120526</c:v>
                </c:pt>
                <c:pt idx="1386">
                  <c:v>140.5828068871547</c:v>
                </c:pt>
                <c:pt idx="1387">
                  <c:v>139.82100829926915</c:v>
                </c:pt>
                <c:pt idx="1388">
                  <c:v>135.71472810603245</c:v>
                </c:pt>
                <c:pt idx="1389">
                  <c:v>136.16065898674594</c:v>
                </c:pt>
                <c:pt idx="1390">
                  <c:v>131.08819521863001</c:v>
                </c:pt>
                <c:pt idx="1391">
                  <c:v>133.38907469342251</c:v>
                </c:pt>
                <c:pt idx="1392">
                  <c:v>131.70135017961104</c:v>
                </c:pt>
                <c:pt idx="1393">
                  <c:v>128.53338288120895</c:v>
                </c:pt>
                <c:pt idx="1394">
                  <c:v>129.35711631363804</c:v>
                </c:pt>
                <c:pt idx="1395">
                  <c:v>132.56224451876625</c:v>
                </c:pt>
                <c:pt idx="1396">
                  <c:v>131.86238077542424</c:v>
                </c:pt>
                <c:pt idx="1397">
                  <c:v>131.96767001114827</c:v>
                </c:pt>
                <c:pt idx="1398">
                  <c:v>132.87811222593831</c:v>
                </c:pt>
                <c:pt idx="1399">
                  <c:v>133.63062058714232</c:v>
                </c:pt>
                <c:pt idx="1400">
                  <c:v>133.46339650687477</c:v>
                </c:pt>
                <c:pt idx="1401">
                  <c:v>133.04223956397868</c:v>
                </c:pt>
                <c:pt idx="1402">
                  <c:v>133.04223956397868</c:v>
                </c:pt>
                <c:pt idx="1403">
                  <c:v>132.60869565217391</c:v>
                </c:pt>
                <c:pt idx="1404">
                  <c:v>132.13179734918864</c:v>
                </c:pt>
                <c:pt idx="1405">
                  <c:v>134.59680416202156</c:v>
                </c:pt>
                <c:pt idx="1406">
                  <c:v>139.18617614269789</c:v>
                </c:pt>
                <c:pt idx="1407">
                  <c:v>140.05945745076178</c:v>
                </c:pt>
                <c:pt idx="1408">
                  <c:v>140.31648705561747</c:v>
                </c:pt>
                <c:pt idx="1409">
                  <c:v>137.77406168710516</c:v>
                </c:pt>
                <c:pt idx="1410">
                  <c:v>139.44010900532638</c:v>
                </c:pt>
                <c:pt idx="1411">
                  <c:v>139.94797473058341</c:v>
                </c:pt>
                <c:pt idx="1412">
                  <c:v>139.50204384986992</c:v>
                </c:pt>
                <c:pt idx="1413">
                  <c:v>138.35315248358725</c:v>
                </c:pt>
                <c:pt idx="1414">
                  <c:v>138.04038151864239</c:v>
                </c:pt>
                <c:pt idx="1415">
                  <c:v>136.09253065774803</c:v>
                </c:pt>
                <c:pt idx="1416">
                  <c:v>133.76378050291092</c:v>
                </c:pt>
                <c:pt idx="1417">
                  <c:v>131.99244394896567</c:v>
                </c:pt>
                <c:pt idx="1418">
                  <c:v>131.47219125479995</c:v>
                </c:pt>
                <c:pt idx="1419">
                  <c:v>135.22544283413848</c:v>
                </c:pt>
                <c:pt idx="1420">
                  <c:v>136.3960113960114</c:v>
                </c:pt>
                <c:pt idx="1421">
                  <c:v>135.56608447912794</c:v>
                </c:pt>
                <c:pt idx="1422">
                  <c:v>137.42722655766133</c:v>
                </c:pt>
                <c:pt idx="1423">
                  <c:v>137.60064412238324</c:v>
                </c:pt>
                <c:pt idx="1424">
                  <c:v>138.04967174532391</c:v>
                </c:pt>
                <c:pt idx="1425">
                  <c:v>140.75003096742228</c:v>
                </c:pt>
                <c:pt idx="1426">
                  <c:v>141.95466369379412</c:v>
                </c:pt>
                <c:pt idx="1427">
                  <c:v>141.36008918617614</c:v>
                </c:pt>
                <c:pt idx="1428">
                  <c:v>140.08732813080638</c:v>
                </c:pt>
                <c:pt idx="1429">
                  <c:v>142.32627276105535</c:v>
                </c:pt>
                <c:pt idx="1430">
                  <c:v>140.95441595441594</c:v>
                </c:pt>
                <c:pt idx="1431">
                  <c:v>143.73219373219374</c:v>
                </c:pt>
                <c:pt idx="1432">
                  <c:v>141.74718196457326</c:v>
                </c:pt>
                <c:pt idx="1433">
                  <c:v>141.59853833766877</c:v>
                </c:pt>
                <c:pt idx="1434">
                  <c:v>143.17478013130187</c:v>
                </c:pt>
                <c:pt idx="1435">
                  <c:v>140.83673974978322</c:v>
                </c:pt>
                <c:pt idx="1436">
                  <c:v>140.94822246996159</c:v>
                </c:pt>
                <c:pt idx="1437">
                  <c:v>141.98253437383872</c:v>
                </c:pt>
                <c:pt idx="1438">
                  <c:v>143.65167843428713</c:v>
                </c:pt>
                <c:pt idx="1439">
                  <c:v>145.09476031215161</c:v>
                </c:pt>
                <c:pt idx="1440">
                  <c:v>145.3796605970519</c:v>
                </c:pt>
                <c:pt idx="1441">
                  <c:v>144.53424996903257</c:v>
                </c:pt>
                <c:pt idx="1442">
                  <c:v>145.52520748172921</c:v>
                </c:pt>
                <c:pt idx="1443">
                  <c:v>144.78198934720672</c:v>
                </c:pt>
                <c:pt idx="1444">
                  <c:v>143.92728849250588</c:v>
                </c:pt>
                <c:pt idx="1445">
                  <c:v>144.30818778644866</c:v>
                </c:pt>
                <c:pt idx="1446">
                  <c:v>143.92109500805151</c:v>
                </c:pt>
                <c:pt idx="1447">
                  <c:v>145.01734175647218</c:v>
                </c:pt>
                <c:pt idx="1448">
                  <c:v>144.97398736529172</c:v>
                </c:pt>
                <c:pt idx="1449">
                  <c:v>146.67409884801188</c:v>
                </c:pt>
                <c:pt idx="1450">
                  <c:v>145.97733184689704</c:v>
                </c:pt>
                <c:pt idx="1451">
                  <c:v>146.75771088814565</c:v>
                </c:pt>
                <c:pt idx="1452">
                  <c:v>148.05524588133284</c:v>
                </c:pt>
                <c:pt idx="1453">
                  <c:v>146.88777406168711</c:v>
                </c:pt>
                <c:pt idx="1454">
                  <c:v>145.10095379660595</c:v>
                </c:pt>
                <c:pt idx="1455">
                  <c:v>143.10665180230396</c:v>
                </c:pt>
                <c:pt idx="1456">
                  <c:v>142.9827821132169</c:v>
                </c:pt>
                <c:pt idx="1457">
                  <c:v>142.47491638795987</c:v>
                </c:pt>
                <c:pt idx="1458">
                  <c:v>144.27102687972251</c:v>
                </c:pt>
                <c:pt idx="1459">
                  <c:v>144.58999132912174</c:v>
                </c:pt>
                <c:pt idx="1460">
                  <c:v>145.41682150377801</c:v>
                </c:pt>
                <c:pt idx="1461">
                  <c:v>144.72934472934472</c:v>
                </c:pt>
                <c:pt idx="1462">
                  <c:v>145.18456583673975</c:v>
                </c:pt>
                <c:pt idx="1463">
                  <c:v>144.60237829803046</c:v>
                </c:pt>
                <c:pt idx="1464">
                  <c:v>146.14455592716462</c:v>
                </c:pt>
                <c:pt idx="1465">
                  <c:v>146.99306329741111</c:v>
                </c:pt>
                <c:pt idx="1466">
                  <c:v>146.23745819397993</c:v>
                </c:pt>
                <c:pt idx="1467">
                  <c:v>145.43849869936827</c:v>
                </c:pt>
                <c:pt idx="1468">
                  <c:v>146.68029233246625</c:v>
                </c:pt>
                <c:pt idx="1469">
                  <c:v>147.89421528551964</c:v>
                </c:pt>
                <c:pt idx="1470">
                  <c:v>147.77034559643255</c:v>
                </c:pt>
                <c:pt idx="1471">
                  <c:v>147.4389941781246</c:v>
                </c:pt>
                <c:pt idx="1472">
                  <c:v>148.31846897064287</c:v>
                </c:pt>
                <c:pt idx="1473">
                  <c:v>147.87563483215658</c:v>
                </c:pt>
                <c:pt idx="1474">
                  <c:v>148.3711135885049</c:v>
                </c:pt>
                <c:pt idx="1475">
                  <c:v>149.23510466988728</c:v>
                </c:pt>
                <c:pt idx="1476">
                  <c:v>148.28130806391675</c:v>
                </c:pt>
                <c:pt idx="1477">
                  <c:v>148.6374334200421</c:v>
                </c:pt>
                <c:pt idx="1478">
                  <c:v>148.8820760559891</c:v>
                </c:pt>
                <c:pt idx="1479">
                  <c:v>149.14220240307196</c:v>
                </c:pt>
                <c:pt idx="1480">
                  <c:v>150.2136752136752</c:v>
                </c:pt>
                <c:pt idx="1481">
                  <c:v>150.13006317354143</c:v>
                </c:pt>
                <c:pt idx="1482">
                  <c:v>150.69367025888764</c:v>
                </c:pt>
                <c:pt idx="1483">
                  <c:v>149.33729716338411</c:v>
                </c:pt>
                <c:pt idx="1484">
                  <c:v>150.455221107395</c:v>
                </c:pt>
                <c:pt idx="1485">
                  <c:v>151.44927536231884</c:v>
                </c:pt>
                <c:pt idx="1486">
                  <c:v>151.99739873652916</c:v>
                </c:pt>
                <c:pt idx="1487">
                  <c:v>151.89210950080513</c:v>
                </c:pt>
                <c:pt idx="1488">
                  <c:v>151.8704323052149</c:v>
                </c:pt>
                <c:pt idx="1489">
                  <c:v>152.84590610677566</c:v>
                </c:pt>
                <c:pt idx="1490">
                  <c:v>153.60460795243404</c:v>
                </c:pt>
                <c:pt idx="1491">
                  <c:v>153.86163755728973</c:v>
                </c:pt>
                <c:pt idx="1492">
                  <c:v>153.28874024526198</c:v>
                </c:pt>
                <c:pt idx="1493">
                  <c:v>153.82137990833641</c:v>
                </c:pt>
                <c:pt idx="1494">
                  <c:v>154.53982410504148</c:v>
                </c:pt>
                <c:pt idx="1495">
                  <c:v>153.86783104174407</c:v>
                </c:pt>
                <c:pt idx="1496">
                  <c:v>153.60460795243404</c:v>
                </c:pt>
                <c:pt idx="1497">
                  <c:v>155.42239563978694</c:v>
                </c:pt>
                <c:pt idx="1498">
                  <c:v>157.18444196705065</c:v>
                </c:pt>
                <c:pt idx="1499">
                  <c:v>156.58986745943267</c:v>
                </c:pt>
                <c:pt idx="1500">
                  <c:v>156.75399479747304</c:v>
                </c:pt>
                <c:pt idx="1501">
                  <c:v>157.38882695404433</c:v>
                </c:pt>
                <c:pt idx="1502">
                  <c:v>157.15347454477887</c:v>
                </c:pt>
                <c:pt idx="1503">
                  <c:v>156.69825343738387</c:v>
                </c:pt>
                <c:pt idx="1504">
                  <c:v>157.54056732317602</c:v>
                </c:pt>
                <c:pt idx="1505">
                  <c:v>157.87811222593831</c:v>
                </c:pt>
                <c:pt idx="1506">
                  <c:v>156.94908955778521</c:v>
                </c:pt>
                <c:pt idx="1507">
                  <c:v>157.37024650068128</c:v>
                </c:pt>
                <c:pt idx="1508">
                  <c:v>157.71398488789794</c:v>
                </c:pt>
                <c:pt idx="1509">
                  <c:v>158.94029480986001</c:v>
                </c:pt>
                <c:pt idx="1510">
                  <c:v>158.7544902762294</c:v>
                </c:pt>
                <c:pt idx="1511">
                  <c:v>159.28403319707667</c:v>
                </c:pt>
                <c:pt idx="1512">
                  <c:v>157.24947355382136</c:v>
                </c:pt>
                <c:pt idx="1513">
                  <c:v>157.0977331846897</c:v>
                </c:pt>
                <c:pt idx="1514">
                  <c:v>159.24687229035055</c:v>
                </c:pt>
                <c:pt idx="1515">
                  <c:v>159.38622569057353</c:v>
                </c:pt>
                <c:pt idx="1516">
                  <c:v>159.22519509476029</c:v>
                </c:pt>
                <c:pt idx="1517">
                  <c:v>160.13254056732316</c:v>
                </c:pt>
                <c:pt idx="1518">
                  <c:v>160.98414467979686</c:v>
                </c:pt>
                <c:pt idx="1519">
                  <c:v>161.15756224451877</c:v>
                </c:pt>
                <c:pt idx="1520">
                  <c:v>161.82336182336178</c:v>
                </c:pt>
                <c:pt idx="1521">
                  <c:v>162.21974482844047</c:v>
                </c:pt>
                <c:pt idx="1522">
                  <c:v>161.92555431685867</c:v>
                </c:pt>
                <c:pt idx="1523">
                  <c:v>162.8081258516041</c:v>
                </c:pt>
                <c:pt idx="1524">
                  <c:v>163.61637557289731</c:v>
                </c:pt>
                <c:pt idx="1525">
                  <c:v>163.96940418679549</c:v>
                </c:pt>
                <c:pt idx="1526">
                  <c:v>163.84863123993557</c:v>
                </c:pt>
                <c:pt idx="1527">
                  <c:v>163.46153846153845</c:v>
                </c:pt>
                <c:pt idx="1528">
                  <c:v>163.65043973739625</c:v>
                </c:pt>
                <c:pt idx="1529">
                  <c:v>164.31314257401212</c:v>
                </c:pt>
                <c:pt idx="1530">
                  <c:v>163.89508237334323</c:v>
                </c:pt>
                <c:pt idx="1531">
                  <c:v>163.01560758082496</c:v>
                </c:pt>
                <c:pt idx="1532">
                  <c:v>164.3317230273752</c:v>
                </c:pt>
                <c:pt idx="1533">
                  <c:v>164.62591353895701</c:v>
                </c:pt>
                <c:pt idx="1534">
                  <c:v>164.68475164127335</c:v>
                </c:pt>
                <c:pt idx="1535">
                  <c:v>167.92394401090053</c:v>
                </c:pt>
                <c:pt idx="1536">
                  <c:v>166.88343862256906</c:v>
                </c:pt>
                <c:pt idx="1537">
                  <c:v>165.05945745076178</c:v>
                </c:pt>
                <c:pt idx="1538">
                  <c:v>162.48296791775053</c:v>
                </c:pt>
                <c:pt idx="1539">
                  <c:v>162.53561253561253</c:v>
                </c:pt>
                <c:pt idx="1540">
                  <c:v>162.81741607828565</c:v>
                </c:pt>
                <c:pt idx="1541">
                  <c:v>161.09253065774806</c:v>
                </c:pt>
                <c:pt idx="1542">
                  <c:v>163.16115446550228</c:v>
                </c:pt>
                <c:pt idx="1543">
                  <c:v>164.46797968537098</c:v>
                </c:pt>
                <c:pt idx="1544">
                  <c:v>165.51467855815682</c:v>
                </c:pt>
                <c:pt idx="1545">
                  <c:v>164.51752756100581</c:v>
                </c:pt>
                <c:pt idx="1546">
                  <c:v>164.62901028118418</c:v>
                </c:pt>
                <c:pt idx="1547">
                  <c:v>164.57946240554935</c:v>
                </c:pt>
                <c:pt idx="1548">
                  <c:v>165.69119286510588</c:v>
                </c:pt>
                <c:pt idx="1549">
                  <c:v>165.21429456212064</c:v>
                </c:pt>
                <c:pt idx="1550">
                  <c:v>166.09996283909328</c:v>
                </c:pt>
                <c:pt idx="1551">
                  <c:v>166.74718196457326</c:v>
                </c:pt>
                <c:pt idx="1552">
                  <c:v>166.38795986622071</c:v>
                </c:pt>
                <c:pt idx="1553">
                  <c:v>164.39056112969155</c:v>
                </c:pt>
                <c:pt idx="1554">
                  <c:v>165.21119781989347</c:v>
                </c:pt>
                <c:pt idx="1555">
                  <c:v>166.04112473677688</c:v>
                </c:pt>
                <c:pt idx="1556">
                  <c:v>165.69119286510588</c:v>
                </c:pt>
                <c:pt idx="1557">
                  <c:v>167.94562120649078</c:v>
                </c:pt>
                <c:pt idx="1558">
                  <c:v>168.23052149139104</c:v>
                </c:pt>
                <c:pt idx="1559">
                  <c:v>167.70407531277093</c:v>
                </c:pt>
                <c:pt idx="1560">
                  <c:v>168.62071101201536</c:v>
                </c:pt>
                <c:pt idx="1561">
                  <c:v>170.00495478756346</c:v>
                </c:pt>
                <c:pt idx="1562">
                  <c:v>168.81270903010034</c:v>
                </c:pt>
                <c:pt idx="1563">
                  <c:v>169.14406044840828</c:v>
                </c:pt>
                <c:pt idx="1564">
                  <c:v>167.72265576613401</c:v>
                </c:pt>
                <c:pt idx="1565">
                  <c:v>168.67954911433173</c:v>
                </c:pt>
                <c:pt idx="1566">
                  <c:v>171.50068128328994</c:v>
                </c:pt>
                <c:pt idx="1567">
                  <c:v>171.53474544778891</c:v>
                </c:pt>
                <c:pt idx="1568">
                  <c:v>171.05784714480365</c:v>
                </c:pt>
                <c:pt idx="1569">
                  <c:v>171.91254799950451</c:v>
                </c:pt>
                <c:pt idx="1570">
                  <c:v>171.54403567447048</c:v>
                </c:pt>
                <c:pt idx="1571">
                  <c:v>170.14740493001364</c:v>
                </c:pt>
                <c:pt idx="1572">
                  <c:v>170.4075312770965</c:v>
                </c:pt>
                <c:pt idx="1573">
                  <c:v>171.54713241669762</c:v>
                </c:pt>
                <c:pt idx="1574">
                  <c:v>172.33989842685494</c:v>
                </c:pt>
                <c:pt idx="1575">
                  <c:v>168.04471695776041</c:v>
                </c:pt>
                <c:pt idx="1576">
                  <c:v>165.12139229530533</c:v>
                </c:pt>
                <c:pt idx="1577">
                  <c:v>163.09921962095873</c:v>
                </c:pt>
                <c:pt idx="1578">
                  <c:v>162.6780626780627</c:v>
                </c:pt>
                <c:pt idx="1579">
                  <c:v>159.86622073578596</c:v>
                </c:pt>
                <c:pt idx="1580">
                  <c:v>161.45175275610057</c:v>
                </c:pt>
                <c:pt idx="1581">
                  <c:v>163.04967174532391</c:v>
                </c:pt>
                <c:pt idx="1582">
                  <c:v>165.03158677071718</c:v>
                </c:pt>
                <c:pt idx="1583">
                  <c:v>165.27622940666419</c:v>
                </c:pt>
                <c:pt idx="1584">
                  <c:v>165.34126099343487</c:v>
                </c:pt>
                <c:pt idx="1585">
                  <c:v>163.7402452619844</c:v>
                </c:pt>
                <c:pt idx="1586">
                  <c:v>159.78570543787933</c:v>
                </c:pt>
                <c:pt idx="1587">
                  <c:v>163.26334695899914</c:v>
                </c:pt>
                <c:pt idx="1588">
                  <c:v>164.02204880465749</c:v>
                </c:pt>
                <c:pt idx="1589">
                  <c:v>166.35699244394897</c:v>
                </c:pt>
                <c:pt idx="1590">
                  <c:v>167.54614145918492</c:v>
                </c:pt>
                <c:pt idx="1591">
                  <c:v>168.50303480738262</c:v>
                </c:pt>
                <c:pt idx="1592">
                  <c:v>171.68648581692059</c:v>
                </c:pt>
                <c:pt idx="1593">
                  <c:v>171.77009785705434</c:v>
                </c:pt>
                <c:pt idx="1594">
                  <c:v>170.73888269540441</c:v>
                </c:pt>
                <c:pt idx="1595">
                  <c:v>170.75126966431313</c:v>
                </c:pt>
                <c:pt idx="1596">
                  <c:v>169.96160039638301</c:v>
                </c:pt>
                <c:pt idx="1597">
                  <c:v>171.46971386101819</c:v>
                </c:pt>
                <c:pt idx="1598">
                  <c:v>171.18171683389073</c:v>
                </c:pt>
                <c:pt idx="1599">
                  <c:v>172.6000247739378</c:v>
                </c:pt>
                <c:pt idx="1600">
                  <c:v>174.39613526570048</c:v>
                </c:pt>
                <c:pt idx="1601">
                  <c:v>174.68413229282794</c:v>
                </c:pt>
                <c:pt idx="1602">
                  <c:v>175.67199306329741</c:v>
                </c:pt>
                <c:pt idx="1603">
                  <c:v>176.82088442958008</c:v>
                </c:pt>
                <c:pt idx="1604">
                  <c:v>176.64746686485813</c:v>
                </c:pt>
                <c:pt idx="1605">
                  <c:v>176.78062678062676</c:v>
                </c:pt>
                <c:pt idx="1606">
                  <c:v>178.19583797844663</c:v>
                </c:pt>
                <c:pt idx="1607">
                  <c:v>180.72587637805029</c:v>
                </c:pt>
                <c:pt idx="1608">
                  <c:v>181.09748544531149</c:v>
                </c:pt>
                <c:pt idx="1609">
                  <c:v>180.38213799083363</c:v>
                </c:pt>
                <c:pt idx="1610">
                  <c:v>180.09104422147897</c:v>
                </c:pt>
                <c:pt idx="1611">
                  <c:v>182.2061191626409</c:v>
                </c:pt>
                <c:pt idx="1612">
                  <c:v>181.68586646847518</c:v>
                </c:pt>
                <c:pt idx="1613">
                  <c:v>180.82497212931992</c:v>
                </c:pt>
                <c:pt idx="1614">
                  <c:v>182.61798587885542</c:v>
                </c:pt>
                <c:pt idx="1615">
                  <c:v>182.2308931004583</c:v>
                </c:pt>
                <c:pt idx="1616">
                  <c:v>181.91192865105904</c:v>
                </c:pt>
                <c:pt idx="1617">
                  <c:v>182.25257029604856</c:v>
                </c:pt>
                <c:pt idx="1618">
                  <c:v>181.49696519261735</c:v>
                </c:pt>
                <c:pt idx="1619">
                  <c:v>182.43837482967916</c:v>
                </c:pt>
                <c:pt idx="1620">
                  <c:v>182.59321194103802</c:v>
                </c:pt>
                <c:pt idx="1621">
                  <c:v>184.45125727734421</c:v>
                </c:pt>
                <c:pt idx="1622">
                  <c:v>185.01796110491762</c:v>
                </c:pt>
                <c:pt idx="1623">
                  <c:v>182.28973120277468</c:v>
                </c:pt>
                <c:pt idx="1624">
                  <c:v>183.09488418184068</c:v>
                </c:pt>
                <c:pt idx="1625">
                  <c:v>181.28638672116932</c:v>
                </c:pt>
                <c:pt idx="1626">
                  <c:v>182.39502043849868</c:v>
                </c:pt>
                <c:pt idx="1627">
                  <c:v>182.24328006936702</c:v>
                </c:pt>
                <c:pt idx="1628">
                  <c:v>183.66468475164126</c:v>
                </c:pt>
                <c:pt idx="1629">
                  <c:v>183.082497212932</c:v>
                </c:pt>
                <c:pt idx="1630">
                  <c:v>182.46005202526942</c:v>
                </c:pt>
                <c:pt idx="1631">
                  <c:v>184.20351789917009</c:v>
                </c:pt>
                <c:pt idx="1632">
                  <c:v>183.6739749783228</c:v>
                </c:pt>
                <c:pt idx="1633">
                  <c:v>183.75758701845658</c:v>
                </c:pt>
                <c:pt idx="1634">
                  <c:v>185.56918122135514</c:v>
                </c:pt>
                <c:pt idx="1635">
                  <c:v>183.5655890003716</c:v>
                </c:pt>
                <c:pt idx="1636">
                  <c:v>183.89694041867955</c:v>
                </c:pt>
                <c:pt idx="1637">
                  <c:v>184.17564721912547</c:v>
                </c:pt>
                <c:pt idx="1638">
                  <c:v>184.70828688219993</c:v>
                </c:pt>
                <c:pt idx="1639">
                  <c:v>183.67087823609563</c:v>
                </c:pt>
                <c:pt idx="1640">
                  <c:v>185.47627895453985</c:v>
                </c:pt>
                <c:pt idx="1641">
                  <c:v>186.63755728973121</c:v>
                </c:pt>
                <c:pt idx="1642">
                  <c:v>186.94103802799452</c:v>
                </c:pt>
                <c:pt idx="1643">
                  <c:v>186.3681407159668</c:v>
                </c:pt>
                <c:pt idx="1644">
                  <c:v>183.00817539947974</c:v>
                </c:pt>
                <c:pt idx="1645">
                  <c:v>180.45955654651306</c:v>
                </c:pt>
                <c:pt idx="1646">
                  <c:v>178.96383005078656</c:v>
                </c:pt>
                <c:pt idx="1647">
                  <c:v>180.52768487551094</c:v>
                </c:pt>
                <c:pt idx="1648">
                  <c:v>179.18989223337047</c:v>
                </c:pt>
                <c:pt idx="1649">
                  <c:v>179.69466121640033</c:v>
                </c:pt>
                <c:pt idx="1650">
                  <c:v>182.61179239440111</c:v>
                </c:pt>
                <c:pt idx="1651">
                  <c:v>185.63730955035302</c:v>
                </c:pt>
                <c:pt idx="1652">
                  <c:v>185.48247243899417</c:v>
                </c:pt>
                <c:pt idx="1653">
                  <c:v>184.98699368264585</c:v>
                </c:pt>
                <c:pt idx="1654">
                  <c:v>185.78595317725754</c:v>
                </c:pt>
                <c:pt idx="1655">
                  <c:v>183.60274990709772</c:v>
                </c:pt>
                <c:pt idx="1656">
                  <c:v>183.41694537346712</c:v>
                </c:pt>
                <c:pt idx="1657">
                  <c:v>183.52223460919112</c:v>
                </c:pt>
                <c:pt idx="1658">
                  <c:v>182.49721293199556</c:v>
                </c:pt>
                <c:pt idx="1659">
                  <c:v>181.28019323671498</c:v>
                </c:pt>
                <c:pt idx="1660">
                  <c:v>183.56249225814443</c:v>
                </c:pt>
                <c:pt idx="1661">
                  <c:v>185.11086337173293</c:v>
                </c:pt>
                <c:pt idx="1662">
                  <c:v>186.126594822247</c:v>
                </c:pt>
                <c:pt idx="1663">
                  <c:v>187.54180602006687</c:v>
                </c:pt>
                <c:pt idx="1664">
                  <c:v>188.57611792394403</c:v>
                </c:pt>
                <c:pt idx="1665">
                  <c:v>187.03394029480984</c:v>
                </c:pt>
                <c:pt idx="1666">
                  <c:v>188.58850489285271</c:v>
                </c:pt>
                <c:pt idx="1667">
                  <c:v>189.13043478260869</c:v>
                </c:pt>
                <c:pt idx="1668">
                  <c:v>188.26954044345348</c:v>
                </c:pt>
                <c:pt idx="1669">
                  <c:v>188.43366778149385</c:v>
                </c:pt>
                <c:pt idx="1670">
                  <c:v>190.57351666047316</c:v>
                </c:pt>
                <c:pt idx="1671">
                  <c:v>191.44060448408277</c:v>
                </c:pt>
                <c:pt idx="1672">
                  <c:v>191.7564721912548</c:v>
                </c:pt>
                <c:pt idx="1673">
                  <c:v>191.00396383005076</c:v>
                </c:pt>
                <c:pt idx="1674">
                  <c:v>189.09327387588257</c:v>
                </c:pt>
                <c:pt idx="1675">
                  <c:v>191.11234980800197</c:v>
                </c:pt>
                <c:pt idx="1676">
                  <c:v>189.18307940047069</c:v>
                </c:pt>
                <c:pt idx="1677">
                  <c:v>190.10590858416944</c:v>
                </c:pt>
                <c:pt idx="1678">
                  <c:v>187.29096989966553</c:v>
                </c:pt>
                <c:pt idx="1679">
                  <c:v>184.03939056112966</c:v>
                </c:pt>
                <c:pt idx="1680">
                  <c:v>178.99479747305833</c:v>
                </c:pt>
                <c:pt idx="1681">
                  <c:v>177.27920227920228</c:v>
                </c:pt>
                <c:pt idx="1682">
                  <c:v>177.32875015483711</c:v>
                </c:pt>
                <c:pt idx="1683">
                  <c:v>181.25232255667035</c:v>
                </c:pt>
                <c:pt idx="1684">
                  <c:v>178.34757834757832</c:v>
                </c:pt>
                <c:pt idx="1685">
                  <c:v>179.64201659853833</c:v>
                </c:pt>
                <c:pt idx="1686">
                  <c:v>178.50241545893718</c:v>
                </c:pt>
                <c:pt idx="1687">
                  <c:v>177.26062182583919</c:v>
                </c:pt>
                <c:pt idx="1688">
                  <c:v>179.24873033568687</c:v>
                </c:pt>
                <c:pt idx="1689">
                  <c:v>183.65229778273255</c:v>
                </c:pt>
                <c:pt idx="1690">
                  <c:v>178.95144308187787</c:v>
                </c:pt>
                <c:pt idx="1691">
                  <c:v>173.13576117923944</c:v>
                </c:pt>
                <c:pt idx="1692">
                  <c:v>176.20463272637184</c:v>
                </c:pt>
                <c:pt idx="1693">
                  <c:v>173.47020933977453</c:v>
                </c:pt>
                <c:pt idx="1694">
                  <c:v>171.82583921714357</c:v>
                </c:pt>
                <c:pt idx="1695">
                  <c:v>164.8798464015855</c:v>
                </c:pt>
                <c:pt idx="1696">
                  <c:v>169.874891614022</c:v>
                </c:pt>
                <c:pt idx="1697">
                  <c:v>170.52830422395635</c:v>
                </c:pt>
                <c:pt idx="1698">
                  <c:v>170.68004459308807</c:v>
                </c:pt>
                <c:pt idx="1699">
                  <c:v>174.0183327139849</c:v>
                </c:pt>
                <c:pt idx="1700">
                  <c:v>175.11457946240554</c:v>
                </c:pt>
                <c:pt idx="1701">
                  <c:v>176.50811346463519</c:v>
                </c:pt>
                <c:pt idx="1702">
                  <c:v>176.8177876873529</c:v>
                </c:pt>
                <c:pt idx="1703">
                  <c:v>173.76749659358353</c:v>
                </c:pt>
                <c:pt idx="1704">
                  <c:v>174.85754985754986</c:v>
                </c:pt>
                <c:pt idx="1705">
                  <c:v>176.71249845162887</c:v>
                </c:pt>
                <c:pt idx="1706">
                  <c:v>179.01957141087576</c:v>
                </c:pt>
                <c:pt idx="1707">
                  <c:v>179.2394401090053</c:v>
                </c:pt>
                <c:pt idx="1708">
                  <c:v>180.10343119038771</c:v>
                </c:pt>
                <c:pt idx="1709">
                  <c:v>177.70655270655269</c:v>
                </c:pt>
                <c:pt idx="1710">
                  <c:v>178.80589619720052</c:v>
                </c:pt>
                <c:pt idx="1711">
                  <c:v>175.77108881456707</c:v>
                </c:pt>
                <c:pt idx="1712">
                  <c:v>174.52929518146908</c:v>
                </c:pt>
                <c:pt idx="1713">
                  <c:v>178.0471943515422</c:v>
                </c:pt>
                <c:pt idx="1714">
                  <c:v>179.14344109996284</c:v>
                </c:pt>
                <c:pt idx="1715">
                  <c:v>180.53387835996531</c:v>
                </c:pt>
                <c:pt idx="1716">
                  <c:v>178.20822494735538</c:v>
                </c:pt>
                <c:pt idx="1717">
                  <c:v>175.51096246748421</c:v>
                </c:pt>
                <c:pt idx="1718">
                  <c:v>178.19893472067386</c:v>
                </c:pt>
                <c:pt idx="1719">
                  <c:v>184.16635699244395</c:v>
                </c:pt>
                <c:pt idx="1720">
                  <c:v>184.59680416202156</c:v>
                </c:pt>
                <c:pt idx="1721">
                  <c:v>185.56918122135514</c:v>
                </c:pt>
                <c:pt idx="1722">
                  <c:v>185.46079524340394</c:v>
                </c:pt>
                <c:pt idx="1723">
                  <c:v>183.82571534745446</c:v>
                </c:pt>
                <c:pt idx="1724">
                  <c:v>185.10466988727856</c:v>
                </c:pt>
                <c:pt idx="1725">
                  <c:v>186.94723151244892</c:v>
                </c:pt>
                <c:pt idx="1726">
                  <c:v>187.82051282051282</c:v>
                </c:pt>
                <c:pt idx="1727">
                  <c:v>189.59494611668524</c:v>
                </c:pt>
                <c:pt idx="1728">
                  <c:v>189.3564969651926</c:v>
                </c:pt>
                <c:pt idx="1729">
                  <c:v>189.67236467236467</c:v>
                </c:pt>
                <c:pt idx="1730">
                  <c:v>189.83339526817787</c:v>
                </c:pt>
                <c:pt idx="1731">
                  <c:v>191.28576737272391</c:v>
                </c:pt>
                <c:pt idx="1732">
                  <c:v>189.70642883686361</c:v>
                </c:pt>
                <c:pt idx="1733">
                  <c:v>191.00396383005076</c:v>
                </c:pt>
                <c:pt idx="1734">
                  <c:v>192.24575746314875</c:v>
                </c:pt>
                <c:pt idx="1735">
                  <c:v>194.34844543540194</c:v>
                </c:pt>
                <c:pt idx="1736">
                  <c:v>193.54329245633593</c:v>
                </c:pt>
                <c:pt idx="1737">
                  <c:v>192.44085222346089</c:v>
                </c:pt>
                <c:pt idx="1738">
                  <c:v>190.07494116189767</c:v>
                </c:pt>
                <c:pt idx="1739">
                  <c:v>191.91130930261363</c:v>
                </c:pt>
                <c:pt idx="1740">
                  <c:v>191.40963706181097</c:v>
                </c:pt>
                <c:pt idx="1741">
                  <c:v>189.78075065031587</c:v>
                </c:pt>
                <c:pt idx="1742">
                  <c:v>185.91291960857177</c:v>
                </c:pt>
                <c:pt idx="1743">
                  <c:v>189.14901523597172</c:v>
                </c:pt>
                <c:pt idx="1744">
                  <c:v>187.8328997894215</c:v>
                </c:pt>
                <c:pt idx="1745">
                  <c:v>191.05041496345845</c:v>
                </c:pt>
                <c:pt idx="1746">
                  <c:v>193.18716710021056</c:v>
                </c:pt>
                <c:pt idx="1747">
                  <c:v>194.75102192493495</c:v>
                </c:pt>
                <c:pt idx="1748">
                  <c:v>194.16264090177134</c:v>
                </c:pt>
                <c:pt idx="1749">
                  <c:v>196.59358355010528</c:v>
                </c:pt>
                <c:pt idx="1750">
                  <c:v>193.20265081134644</c:v>
                </c:pt>
                <c:pt idx="1751">
                  <c:v>192.50278706800444</c:v>
                </c:pt>
                <c:pt idx="1752">
                  <c:v>191.04112473677691</c:v>
                </c:pt>
                <c:pt idx="1753">
                  <c:v>192.77220364176884</c:v>
                </c:pt>
                <c:pt idx="1754">
                  <c:v>192.76910689954167</c:v>
                </c:pt>
                <c:pt idx="1755">
                  <c:v>191.9980180849746</c:v>
                </c:pt>
                <c:pt idx="1756">
                  <c:v>188.83314752879969</c:v>
                </c:pt>
                <c:pt idx="1757">
                  <c:v>187.06490771708164</c:v>
                </c:pt>
                <c:pt idx="1758">
                  <c:v>188.34076551467857</c:v>
                </c:pt>
                <c:pt idx="1759">
                  <c:v>190.51777530038399</c:v>
                </c:pt>
                <c:pt idx="1760">
                  <c:v>187.3250340641645</c:v>
                </c:pt>
                <c:pt idx="1761">
                  <c:v>185.84479127957388</c:v>
                </c:pt>
                <c:pt idx="1762">
                  <c:v>182.03579834014619</c:v>
                </c:pt>
                <c:pt idx="1763">
                  <c:v>185.64659977703454</c:v>
                </c:pt>
                <c:pt idx="1764">
                  <c:v>181.36690201907589</c:v>
                </c:pt>
                <c:pt idx="1765">
                  <c:v>183.07011024402325</c:v>
                </c:pt>
                <c:pt idx="1766">
                  <c:v>185.52273008794748</c:v>
                </c:pt>
                <c:pt idx="1767">
                  <c:v>184.99628390932739</c:v>
                </c:pt>
                <c:pt idx="1768">
                  <c:v>184.47603121516164</c:v>
                </c:pt>
                <c:pt idx="1769">
                  <c:v>188.28812089681654</c:v>
                </c:pt>
                <c:pt idx="1770">
                  <c:v>189.32552954292083</c:v>
                </c:pt>
                <c:pt idx="1771">
                  <c:v>190.52706552706553</c:v>
                </c:pt>
                <c:pt idx="1772">
                  <c:v>189.47417316982532</c:v>
                </c:pt>
                <c:pt idx="1773">
                  <c:v>187.87315743837479</c:v>
                </c:pt>
                <c:pt idx="1774">
                  <c:v>189.87674965935835</c:v>
                </c:pt>
                <c:pt idx="1775">
                  <c:v>189.55468846773195</c:v>
                </c:pt>
                <c:pt idx="1776">
                  <c:v>191.52111978198934</c:v>
                </c:pt>
                <c:pt idx="1777">
                  <c:v>193.42871299393039</c:v>
                </c:pt>
                <c:pt idx="1778">
                  <c:v>192.39130434782606</c:v>
                </c:pt>
                <c:pt idx="1779">
                  <c:v>192.81555803294933</c:v>
                </c:pt>
                <c:pt idx="1780">
                  <c:v>187.13922953053384</c:v>
                </c:pt>
                <c:pt idx="1781">
                  <c:v>185.82621082621083</c:v>
                </c:pt>
                <c:pt idx="1782">
                  <c:v>181.85309054874273</c:v>
                </c:pt>
                <c:pt idx="1783">
                  <c:v>181.96767001114827</c:v>
                </c:pt>
                <c:pt idx="1784">
                  <c:v>180.93335810727115</c:v>
                </c:pt>
                <c:pt idx="1785">
                  <c:v>180.75684380032209</c:v>
                </c:pt>
                <c:pt idx="1786">
                  <c:v>183.63062058714232</c:v>
                </c:pt>
                <c:pt idx="1787">
                  <c:v>184.21280812585161</c:v>
                </c:pt>
                <c:pt idx="1788">
                  <c:v>186.47033320946363</c:v>
                </c:pt>
                <c:pt idx="1789">
                  <c:v>187.85148024278459</c:v>
                </c:pt>
                <c:pt idx="1790">
                  <c:v>186.90697386349558</c:v>
                </c:pt>
                <c:pt idx="1791">
                  <c:v>185.9098228663446</c:v>
                </c:pt>
                <c:pt idx="1792">
                  <c:v>185.28737767868205</c:v>
                </c:pt>
                <c:pt idx="1793">
                  <c:v>182.3423758206367</c:v>
                </c:pt>
                <c:pt idx="1794">
                  <c:v>181.26470952557909</c:v>
                </c:pt>
                <c:pt idx="1795">
                  <c:v>182.3423758206367</c:v>
                </c:pt>
                <c:pt idx="1796">
                  <c:v>179.37879350922827</c:v>
                </c:pt>
                <c:pt idx="1797">
                  <c:v>178.46215780998389</c:v>
                </c:pt>
                <c:pt idx="1798">
                  <c:v>178.26706304967175</c:v>
                </c:pt>
                <c:pt idx="1799">
                  <c:v>179.91143317230274</c:v>
                </c:pt>
                <c:pt idx="1800">
                  <c:v>174.98761303109131</c:v>
                </c:pt>
                <c:pt idx="1801">
                  <c:v>171.35823114083982</c:v>
                </c:pt>
                <c:pt idx="1802">
                  <c:v>170.55617490400098</c:v>
                </c:pt>
                <c:pt idx="1803">
                  <c:v>167.99207233989841</c:v>
                </c:pt>
                <c:pt idx="1804">
                  <c:v>156.80354267310787</c:v>
                </c:pt>
                <c:pt idx="1805">
                  <c:v>161.74904000990958</c:v>
                </c:pt>
                <c:pt idx="1806">
                  <c:v>156.24922581444321</c:v>
                </c:pt>
                <c:pt idx="1807">
                  <c:v>166.20834881704445</c:v>
                </c:pt>
                <c:pt idx="1808">
                  <c:v>166.14331723027374</c:v>
                </c:pt>
                <c:pt idx="1809">
                  <c:v>165.42177629134147</c:v>
                </c:pt>
                <c:pt idx="1810">
                  <c:v>168.01684627771581</c:v>
                </c:pt>
                <c:pt idx="1811">
                  <c:v>167.12808125851606</c:v>
                </c:pt>
                <c:pt idx="1812">
                  <c:v>167.34794995664561</c:v>
                </c:pt>
                <c:pt idx="1813">
                  <c:v>170.80391428217513</c:v>
                </c:pt>
                <c:pt idx="1814">
                  <c:v>171.09191130930262</c:v>
                </c:pt>
                <c:pt idx="1815">
                  <c:v>163.75263223089308</c:v>
                </c:pt>
                <c:pt idx="1816">
                  <c:v>164.81481481481481</c:v>
                </c:pt>
                <c:pt idx="1817">
                  <c:v>159.91886535364796</c:v>
                </c:pt>
                <c:pt idx="1818">
                  <c:v>160.53821379908337</c:v>
                </c:pt>
                <c:pt idx="1819">
                  <c:v>159.05177753003838</c:v>
                </c:pt>
                <c:pt idx="1820">
                  <c:v>165.44655022915893</c:v>
                </c:pt>
                <c:pt idx="1821">
                  <c:v>165.31029357116316</c:v>
                </c:pt>
                <c:pt idx="1822">
                  <c:v>166.15260745695528</c:v>
                </c:pt>
                <c:pt idx="1823">
                  <c:v>163.65043973739625</c:v>
                </c:pt>
                <c:pt idx="1824">
                  <c:v>166.40963706181097</c:v>
                </c:pt>
                <c:pt idx="1825">
                  <c:v>167.79697757958627</c:v>
                </c:pt>
                <c:pt idx="1826">
                  <c:v>164.79313761922458</c:v>
                </c:pt>
                <c:pt idx="1827">
                  <c:v>167.49349684132292</c:v>
                </c:pt>
                <c:pt idx="1828">
                  <c:v>166.43750774185557</c:v>
                </c:pt>
                <c:pt idx="1829">
                  <c:v>169.43825095999009</c:v>
                </c:pt>
                <c:pt idx="1830">
                  <c:v>172.4947355382138</c:v>
                </c:pt>
                <c:pt idx="1831">
                  <c:v>174.71509971509974</c:v>
                </c:pt>
                <c:pt idx="1832">
                  <c:v>172.39873652917132</c:v>
                </c:pt>
                <c:pt idx="1833">
                  <c:v>170.13811470333209</c:v>
                </c:pt>
                <c:pt idx="1834">
                  <c:v>167.97039514430818</c:v>
                </c:pt>
                <c:pt idx="1835">
                  <c:v>166.08757587018459</c:v>
                </c:pt>
                <c:pt idx="1836">
                  <c:v>169.611668524712</c:v>
                </c:pt>
                <c:pt idx="1837">
                  <c:v>168.32342375820633</c:v>
                </c:pt>
                <c:pt idx="1838">
                  <c:v>166.49634584417191</c:v>
                </c:pt>
                <c:pt idx="1839">
                  <c:v>164.57946240554935</c:v>
                </c:pt>
                <c:pt idx="1840">
                  <c:v>166.10615632354762</c:v>
                </c:pt>
                <c:pt idx="1841">
                  <c:v>169.99876130310912</c:v>
                </c:pt>
                <c:pt idx="1842">
                  <c:v>168.63929146537845</c:v>
                </c:pt>
                <c:pt idx="1843">
                  <c:v>167.19620958751392</c:v>
                </c:pt>
                <c:pt idx="1844">
                  <c:v>161.18852966679052</c:v>
                </c:pt>
                <c:pt idx="1845">
                  <c:v>167.12188777406166</c:v>
                </c:pt>
                <c:pt idx="1846">
                  <c:v>164.01895206243032</c:v>
                </c:pt>
                <c:pt idx="1847">
                  <c:v>161.30310912919609</c:v>
                </c:pt>
                <c:pt idx="1848">
                  <c:v>168.55258268301745</c:v>
                </c:pt>
                <c:pt idx="1849">
                  <c:v>169.26173665304103</c:v>
                </c:pt>
                <c:pt idx="1850">
                  <c:v>171.78558156819025</c:v>
                </c:pt>
                <c:pt idx="1851">
                  <c:v>170.43849869936827</c:v>
                </c:pt>
                <c:pt idx="1852">
                  <c:v>170.98042858912424</c:v>
                </c:pt>
                <c:pt idx="1853">
                  <c:v>173.86968908708039</c:v>
                </c:pt>
                <c:pt idx="1854">
                  <c:v>176.02811841942273</c:v>
                </c:pt>
                <c:pt idx="1855">
                  <c:v>175.39328626285146</c:v>
                </c:pt>
                <c:pt idx="1856">
                  <c:v>177.2884925058838</c:v>
                </c:pt>
                <c:pt idx="1857">
                  <c:v>178.54886659234487</c:v>
                </c:pt>
                <c:pt idx="1858">
                  <c:v>176.71249845162887</c:v>
                </c:pt>
                <c:pt idx="1859">
                  <c:v>176.3006317354143</c:v>
                </c:pt>
                <c:pt idx="1860">
                  <c:v>175.82373343242907</c:v>
                </c:pt>
                <c:pt idx="1861">
                  <c:v>173.65601387340516</c:v>
                </c:pt>
                <c:pt idx="1862">
                  <c:v>172.50712250712249</c:v>
                </c:pt>
                <c:pt idx="1863">
                  <c:v>172.84776415211198</c:v>
                </c:pt>
                <c:pt idx="1864">
                  <c:v>177.6105536975102</c:v>
                </c:pt>
                <c:pt idx="1865">
                  <c:v>176.11173045955655</c:v>
                </c:pt>
                <c:pt idx="1866">
                  <c:v>178.47454477889261</c:v>
                </c:pt>
                <c:pt idx="1867">
                  <c:v>178.53647962343612</c:v>
                </c:pt>
                <c:pt idx="1868">
                  <c:v>178.38783599653161</c:v>
                </c:pt>
                <c:pt idx="1869">
                  <c:v>178.42190016103058</c:v>
                </c:pt>
                <c:pt idx="1870">
                  <c:v>176.69082125603867</c:v>
                </c:pt>
                <c:pt idx="1871">
                  <c:v>178.59531772575249</c:v>
                </c:pt>
                <c:pt idx="1872">
                  <c:v>179.53363062058713</c:v>
                </c:pt>
                <c:pt idx="1873">
                  <c:v>177.50526446178623</c:v>
                </c:pt>
                <c:pt idx="1874">
                  <c:v>178.47144803666544</c:v>
                </c:pt>
                <c:pt idx="1875">
                  <c:v>177.38758825715348</c:v>
                </c:pt>
                <c:pt idx="1876">
                  <c:v>180.13439861265951</c:v>
                </c:pt>
                <c:pt idx="1877">
                  <c:v>180.53697510219249</c:v>
                </c:pt>
                <c:pt idx="1878">
                  <c:v>180.53697510219249</c:v>
                </c:pt>
                <c:pt idx="1879">
                  <c:v>180.23659110615631</c:v>
                </c:pt>
                <c:pt idx="1880">
                  <c:v>180.4657500309674</c:v>
                </c:pt>
                <c:pt idx="1881">
                  <c:v>178.35996531648703</c:v>
                </c:pt>
                <c:pt idx="1882">
                  <c:v>179.78446674098845</c:v>
                </c:pt>
                <c:pt idx="1883">
                  <c:v>179.43453486931745</c:v>
                </c:pt>
                <c:pt idx="1884">
                  <c:v>180.10033444816054</c:v>
                </c:pt>
                <c:pt idx="1885">
                  <c:v>181.02006688963206</c:v>
                </c:pt>
                <c:pt idx="1886">
                  <c:v>182.84714480366657</c:v>
                </c:pt>
                <c:pt idx="1887">
                  <c:v>184.35216152607452</c:v>
                </c:pt>
                <c:pt idx="1888">
                  <c:v>182.03579834014619</c:v>
                </c:pt>
                <c:pt idx="1889">
                  <c:v>182.08844295800816</c:v>
                </c:pt>
                <c:pt idx="1890">
                  <c:v>182.29592468722899</c:v>
                </c:pt>
                <c:pt idx="1891">
                  <c:v>179.88665923448531</c:v>
                </c:pt>
                <c:pt idx="1892">
                  <c:v>179.62033940294808</c:v>
                </c:pt>
                <c:pt idx="1893">
                  <c:v>178.40331970766752</c:v>
                </c:pt>
                <c:pt idx="1894">
                  <c:v>179.04124860646598</c:v>
                </c:pt>
                <c:pt idx="1895">
                  <c:v>178.43119038771215</c:v>
                </c:pt>
                <c:pt idx="1896">
                  <c:v>179.26111730459556</c:v>
                </c:pt>
                <c:pt idx="1897">
                  <c:v>177.08101077666296</c:v>
                </c:pt>
                <c:pt idx="1898">
                  <c:v>177.76539080886906</c:v>
                </c:pt>
                <c:pt idx="1899">
                  <c:v>175.58218753870926</c:v>
                </c:pt>
                <c:pt idx="1900">
                  <c:v>176.3315991576861</c:v>
                </c:pt>
                <c:pt idx="1901">
                  <c:v>175.01548371113589</c:v>
                </c:pt>
                <c:pt idx="1902">
                  <c:v>174.0678805896197</c:v>
                </c:pt>
                <c:pt idx="1903">
                  <c:v>170.17217886783104</c:v>
                </c:pt>
                <c:pt idx="1904">
                  <c:v>167.85891242412978</c:v>
                </c:pt>
                <c:pt idx="1905">
                  <c:v>168.10665180230396</c:v>
                </c:pt>
                <c:pt idx="1906">
                  <c:v>168.17168338907467</c:v>
                </c:pt>
                <c:pt idx="1907">
                  <c:v>169.02638424377557</c:v>
                </c:pt>
                <c:pt idx="1908">
                  <c:v>170.31153226805401</c:v>
                </c:pt>
                <c:pt idx="1909">
                  <c:v>167.8960733308559</c:v>
                </c:pt>
                <c:pt idx="1910">
                  <c:v>166.76266567570914</c:v>
                </c:pt>
                <c:pt idx="1911">
                  <c:v>165.4186795491143</c:v>
                </c:pt>
                <c:pt idx="1912">
                  <c:v>163.74953548866591</c:v>
                </c:pt>
                <c:pt idx="1913">
                  <c:v>163.61018208844297</c:v>
                </c:pt>
                <c:pt idx="1914">
                  <c:v>165.33816425120773</c:v>
                </c:pt>
                <c:pt idx="1915">
                  <c:v>162.98154341632599</c:v>
                </c:pt>
                <c:pt idx="1916">
                  <c:v>162.36219497089058</c:v>
                </c:pt>
                <c:pt idx="1917">
                  <c:v>163.57921466617117</c:v>
                </c:pt>
                <c:pt idx="1918">
                  <c:v>159.98699368264585</c:v>
                </c:pt>
                <c:pt idx="1919">
                  <c:v>159.81047937569673</c:v>
                </c:pt>
                <c:pt idx="1920">
                  <c:v>159.64015855320201</c:v>
                </c:pt>
                <c:pt idx="1921">
                  <c:v>157.40740740740739</c:v>
                </c:pt>
                <c:pt idx="1922">
                  <c:v>159.17874396135264</c:v>
                </c:pt>
                <c:pt idx="1923">
                  <c:v>156.97696023782979</c:v>
                </c:pt>
                <c:pt idx="1924">
                  <c:v>160.29047442090919</c:v>
                </c:pt>
                <c:pt idx="1925">
                  <c:v>157.59011519881085</c:v>
                </c:pt>
                <c:pt idx="1926">
                  <c:v>154.40976093150005</c:v>
                </c:pt>
                <c:pt idx="1927">
                  <c:v>155.49671745323917</c:v>
                </c:pt>
                <c:pt idx="1928">
                  <c:v>152.80564845782237</c:v>
                </c:pt>
                <c:pt idx="1929">
                  <c:v>152.51455468846771</c:v>
                </c:pt>
                <c:pt idx="1930">
                  <c:v>157.52818035426731</c:v>
                </c:pt>
                <c:pt idx="1931">
                  <c:v>159.74544778892604</c:v>
                </c:pt>
                <c:pt idx="1932">
                  <c:v>160.78285643503037</c:v>
                </c:pt>
                <c:pt idx="1933">
                  <c:v>159.70828688219993</c:v>
                </c:pt>
                <c:pt idx="1934">
                  <c:v>161.61278335191378</c:v>
                </c:pt>
                <c:pt idx="1935">
                  <c:v>158.78855444072835</c:v>
                </c:pt>
                <c:pt idx="1936">
                  <c:v>158.52223460919112</c:v>
                </c:pt>
                <c:pt idx="1937">
                  <c:v>157.48792270531399</c:v>
                </c:pt>
                <c:pt idx="1938">
                  <c:v>156.56199677938807</c:v>
                </c:pt>
                <c:pt idx="1939">
                  <c:v>158.66778149386843</c:v>
                </c:pt>
                <c:pt idx="1940">
                  <c:v>158.98984268549486</c:v>
                </c:pt>
                <c:pt idx="1941">
                  <c:v>156.6394153350675</c:v>
                </c:pt>
                <c:pt idx="1942">
                  <c:v>155.63607085346214</c:v>
                </c:pt>
                <c:pt idx="1943">
                  <c:v>158.53462157809983</c:v>
                </c:pt>
                <c:pt idx="1944">
                  <c:v>159.41099962839093</c:v>
                </c:pt>
                <c:pt idx="1945">
                  <c:v>158.55010528923572</c:v>
                </c:pt>
                <c:pt idx="1946">
                  <c:v>156.29567694785086</c:v>
                </c:pt>
                <c:pt idx="1947">
                  <c:v>157.9988851727982</c:v>
                </c:pt>
                <c:pt idx="1948">
                  <c:v>156.39786944134769</c:v>
                </c:pt>
                <c:pt idx="1949">
                  <c:v>152.08101077666294</c:v>
                </c:pt>
                <c:pt idx="1950">
                  <c:v>153.20822494735538</c:v>
                </c:pt>
                <c:pt idx="1951">
                  <c:v>151.77443329617242</c:v>
                </c:pt>
                <c:pt idx="1952">
                  <c:v>151.75585284280936</c:v>
                </c:pt>
                <c:pt idx="1953">
                  <c:v>147.92208596556421</c:v>
                </c:pt>
                <c:pt idx="1954">
                  <c:v>148.86968908708039</c:v>
                </c:pt>
                <c:pt idx="1955">
                  <c:v>149.18865353647962</c:v>
                </c:pt>
                <c:pt idx="1956">
                  <c:v>151.39043726000247</c:v>
                </c:pt>
                <c:pt idx="1957">
                  <c:v>150.11457946240554</c:v>
                </c:pt>
                <c:pt idx="1958">
                  <c:v>149.13291217639042</c:v>
                </c:pt>
                <c:pt idx="1959">
                  <c:v>149.98761303109129</c:v>
                </c:pt>
                <c:pt idx="1960">
                  <c:v>152.24513811470334</c:v>
                </c:pt>
                <c:pt idx="1961">
                  <c:v>152.75919732441471</c:v>
                </c:pt>
                <c:pt idx="1962">
                  <c:v>150.85470085470084</c:v>
                </c:pt>
                <c:pt idx="1963">
                  <c:v>151.67224080267559</c:v>
                </c:pt>
                <c:pt idx="1964">
                  <c:v>148.7179487179487</c:v>
                </c:pt>
                <c:pt idx="1965">
                  <c:v>144.1254799950452</c:v>
                </c:pt>
                <c:pt idx="1966">
                  <c:v>139.87055617490398</c:v>
                </c:pt>
                <c:pt idx="1967">
                  <c:v>143.94896568809611</c:v>
                </c:pt>
                <c:pt idx="1968">
                  <c:v>142.35414344109995</c:v>
                </c:pt>
                <c:pt idx="1969">
                  <c:v>140.45584045584044</c:v>
                </c:pt>
                <c:pt idx="1970">
                  <c:v>138.28192741236219</c:v>
                </c:pt>
                <c:pt idx="1971">
                  <c:v>143.20884429580082</c:v>
                </c:pt>
                <c:pt idx="1972">
                  <c:v>138.39650687476774</c:v>
                </c:pt>
                <c:pt idx="1973">
                  <c:v>134.09822866344604</c:v>
                </c:pt>
                <c:pt idx="1974">
                  <c:v>131.98005698005699</c:v>
                </c:pt>
                <c:pt idx="1975">
                  <c:v>133.01436888393408</c:v>
                </c:pt>
                <c:pt idx="1976">
                  <c:v>144.41967050662703</c:v>
                </c:pt>
                <c:pt idx="1977">
                  <c:v>143.68264585655891</c:v>
                </c:pt>
                <c:pt idx="1978">
                  <c:v>141.8896321070234</c:v>
                </c:pt>
                <c:pt idx="1979">
                  <c:v>140.44035674470456</c:v>
                </c:pt>
                <c:pt idx="1980">
                  <c:v>143.31103678929765</c:v>
                </c:pt>
                <c:pt idx="1981">
                  <c:v>140.02229654403567</c:v>
                </c:pt>
                <c:pt idx="1982">
                  <c:v>130.83116561377432</c:v>
                </c:pt>
                <c:pt idx="1983">
                  <c:v>129.65750030967422</c:v>
                </c:pt>
                <c:pt idx="1984">
                  <c:v>130.11272141706922</c:v>
                </c:pt>
                <c:pt idx="1985">
                  <c:v>126.51121020686237</c:v>
                </c:pt>
                <c:pt idx="1986">
                  <c:v>130.13439861265948</c:v>
                </c:pt>
                <c:pt idx="1987">
                  <c:v>117.53065774804905</c:v>
                </c:pt>
                <c:pt idx="1988">
                  <c:v>118.35129443825096</c:v>
                </c:pt>
                <c:pt idx="1989">
                  <c:v>111.34956026260373</c:v>
                </c:pt>
                <c:pt idx="1990">
                  <c:v>109.15087328130807</c:v>
                </c:pt>
                <c:pt idx="1991">
                  <c:v>99.907097733184685</c:v>
                </c:pt>
                <c:pt idx="1992">
                  <c:v>110.42363433667781</c:v>
                </c:pt>
                <c:pt idx="1993">
                  <c:v>114.1552087204261</c:v>
                </c:pt>
                <c:pt idx="1994">
                  <c:v>106.37619224575745</c:v>
                </c:pt>
                <c:pt idx="1995">
                  <c:v>99.786324786324784</c:v>
                </c:pt>
                <c:pt idx="1996">
                  <c:v>103.95144308187785</c:v>
                </c:pt>
                <c:pt idx="1997">
                  <c:v>106.55580329493372</c:v>
                </c:pt>
                <c:pt idx="1998">
                  <c:v>105.06317354143441</c:v>
                </c:pt>
                <c:pt idx="1999">
                  <c:v>97.569057351666046</c:v>
                </c:pt>
                <c:pt idx="2000">
                  <c:v>96.996160039638312</c:v>
                </c:pt>
                <c:pt idx="2001">
                  <c:v>91.335315248358725</c:v>
                </c:pt>
                <c:pt idx="2002">
                  <c:v>87.582063669020187</c:v>
                </c:pt>
                <c:pt idx="2003">
                  <c:v>89.746686485816923</c:v>
                </c:pt>
                <c:pt idx="2004">
                  <c:v>99.095751269664305</c:v>
                </c:pt>
                <c:pt idx="2005">
                  <c:v>100.26322308931005</c:v>
                </c:pt>
                <c:pt idx="2006">
                  <c:v>101.60720921590486</c:v>
                </c:pt>
                <c:pt idx="2007">
                  <c:v>102.85209959123002</c:v>
                </c:pt>
                <c:pt idx="2008">
                  <c:v>109.27164622816797</c:v>
                </c:pt>
                <c:pt idx="2009">
                  <c:v>107.54676080763036</c:v>
                </c:pt>
                <c:pt idx="2010">
                  <c:v>99.451876625789652</c:v>
                </c:pt>
                <c:pt idx="2011">
                  <c:v>101.37185680663943</c:v>
                </c:pt>
                <c:pt idx="2012">
                  <c:v>102.26062182583921</c:v>
                </c:pt>
                <c:pt idx="2013">
                  <c:v>96.104298278211303</c:v>
                </c:pt>
                <c:pt idx="2014">
                  <c:v>92.87749287749287</c:v>
                </c:pt>
                <c:pt idx="2015">
                  <c:v>92.700978570543796</c:v>
                </c:pt>
                <c:pt idx="2016">
                  <c:v>94.233865972996398</c:v>
                </c:pt>
                <c:pt idx="2017">
                  <c:v>91.586151368760056</c:v>
                </c:pt>
                <c:pt idx="2018">
                  <c:v>92.320079276601007</c:v>
                </c:pt>
                <c:pt idx="2019">
                  <c:v>88.740245261984384</c:v>
                </c:pt>
                <c:pt idx="2020">
                  <c:v>84.646352037656371</c:v>
                </c:pt>
                <c:pt idx="2021">
                  <c:v>82.460052025269405</c:v>
                </c:pt>
                <c:pt idx="2022">
                  <c:v>91.753375449027629</c:v>
                </c:pt>
                <c:pt idx="2023">
                  <c:v>93.484454354019562</c:v>
                </c:pt>
                <c:pt idx="2024">
                  <c:v>92.843428712993926</c:v>
                </c:pt>
                <c:pt idx="2025">
                  <c:v>94.946116685247134</c:v>
                </c:pt>
                <c:pt idx="2026">
                  <c:v>94.781989347206732</c:v>
                </c:pt>
                <c:pt idx="2027">
                  <c:v>88.452248234856924</c:v>
                </c:pt>
                <c:pt idx="2028">
                  <c:v>90.827449523101691</c:v>
                </c:pt>
                <c:pt idx="2029">
                  <c:v>91.158800941409638</c:v>
                </c:pt>
                <c:pt idx="2030">
                  <c:v>91.093769354638923</c:v>
                </c:pt>
                <c:pt idx="2031">
                  <c:v>87.18258392171434</c:v>
                </c:pt>
                <c:pt idx="2032">
                  <c:v>94.902762294066619</c:v>
                </c:pt>
                <c:pt idx="2033">
                  <c:v>95.918493744580701</c:v>
                </c:pt>
                <c:pt idx="2034">
                  <c:v>96.627647714604223</c:v>
                </c:pt>
                <c:pt idx="2035">
                  <c:v>97.68363681407159</c:v>
                </c:pt>
                <c:pt idx="2036">
                  <c:v>96.020686238077545</c:v>
                </c:pt>
                <c:pt idx="2037">
                  <c:v>97.835377183203263</c:v>
                </c:pt>
                <c:pt idx="2038">
                  <c:v>99.222717700978578</c:v>
                </c:pt>
                <c:pt idx="2039">
                  <c:v>102.52694165737644</c:v>
                </c:pt>
                <c:pt idx="2040">
                  <c:v>103.51789917007308</c:v>
                </c:pt>
                <c:pt idx="2041">
                  <c:v>99.166976340889377</c:v>
                </c:pt>
                <c:pt idx="2042">
                  <c:v>97.522606218258389</c:v>
                </c:pt>
                <c:pt idx="2043">
                  <c:v>97.52570296048556</c:v>
                </c:pt>
                <c:pt idx="2044">
                  <c:v>97.528799702712746</c:v>
                </c:pt>
                <c:pt idx="2045">
                  <c:v>99.804905239687855</c:v>
                </c:pt>
                <c:pt idx="2046">
                  <c:v>100.93211941038028</c:v>
                </c:pt>
                <c:pt idx="2047">
                  <c:v>99.925678186547742</c:v>
                </c:pt>
                <c:pt idx="2048">
                  <c:v>103.26396630744456</c:v>
                </c:pt>
                <c:pt idx="2049">
                  <c:v>103.12770964944878</c:v>
                </c:pt>
                <c:pt idx="2050">
                  <c:v>103.25467608076303</c:v>
                </c:pt>
                <c:pt idx="2051">
                  <c:v>104.03505512201164</c:v>
                </c:pt>
                <c:pt idx="2052">
                  <c:v>103.80589619720054</c:v>
                </c:pt>
                <c:pt idx="2053">
                  <c:v>101.76204632726372</c:v>
                </c:pt>
                <c:pt idx="2054">
                  <c:v>98.999752260621818</c:v>
                </c:pt>
                <c:pt idx="2055">
                  <c:v>96.330360460795234</c:v>
                </c:pt>
                <c:pt idx="2056">
                  <c:v>92.047565960609433</c:v>
                </c:pt>
                <c:pt idx="2057">
                  <c:v>90.551839464882946</c:v>
                </c:pt>
                <c:pt idx="2058">
                  <c:v>92.710268797225311</c:v>
                </c:pt>
                <c:pt idx="2059">
                  <c:v>90.474420909203531</c:v>
                </c:pt>
                <c:pt idx="2060">
                  <c:v>86.947231512448894</c:v>
                </c:pt>
                <c:pt idx="2061">
                  <c:v>86.157562244518772</c:v>
                </c:pt>
                <c:pt idx="2062">
                  <c:v>85.937693546389198</c:v>
                </c:pt>
                <c:pt idx="2063">
                  <c:v>84.643255295429199</c:v>
                </c:pt>
                <c:pt idx="2064">
                  <c:v>89.570172178867821</c:v>
                </c:pt>
                <c:pt idx="2065">
                  <c:v>89.963458441719311</c:v>
                </c:pt>
                <c:pt idx="2066">
                  <c:v>93.236714975845402</c:v>
                </c:pt>
                <c:pt idx="2067">
                  <c:v>90.545645980428588</c:v>
                </c:pt>
                <c:pt idx="2068">
                  <c:v>88.916759568933472</c:v>
                </c:pt>
                <c:pt idx="2069">
                  <c:v>86.588009414096362</c:v>
                </c:pt>
                <c:pt idx="2070">
                  <c:v>89.322432800693662</c:v>
                </c:pt>
                <c:pt idx="2071">
                  <c:v>91.081382385730208</c:v>
                </c:pt>
                <c:pt idx="2072">
                  <c:v>90.694289607333076</c:v>
                </c:pt>
                <c:pt idx="2073">
                  <c:v>92.67001114827201</c:v>
                </c:pt>
                <c:pt idx="2074">
                  <c:v>94.627152235847888</c:v>
                </c:pt>
                <c:pt idx="2075">
                  <c:v>91.784342871299387</c:v>
                </c:pt>
                <c:pt idx="2076">
                  <c:v>90.523968784838345</c:v>
                </c:pt>
                <c:pt idx="2077">
                  <c:v>88.480118914901524</c:v>
                </c:pt>
                <c:pt idx="2078">
                  <c:v>89.706428836863608</c:v>
                </c:pt>
                <c:pt idx="2079">
                  <c:v>87.715223584788802</c:v>
                </c:pt>
                <c:pt idx="2080">
                  <c:v>84.045584045584036</c:v>
                </c:pt>
                <c:pt idx="2081">
                  <c:v>83.537718320327016</c:v>
                </c:pt>
                <c:pt idx="2082">
                  <c:v>84.62157809983897</c:v>
                </c:pt>
                <c:pt idx="2083">
                  <c:v>81.159420289855063</c:v>
                </c:pt>
                <c:pt idx="2084">
                  <c:v>81.159420289855063</c:v>
                </c:pt>
                <c:pt idx="2085">
                  <c:v>80.14368883934101</c:v>
                </c:pt>
                <c:pt idx="2086">
                  <c:v>79.576985011767633</c:v>
                </c:pt>
                <c:pt idx="2087">
                  <c:v>81.695156695156697</c:v>
                </c:pt>
                <c:pt idx="2088">
                  <c:v>79.936207110120151</c:v>
                </c:pt>
                <c:pt idx="2089">
                  <c:v>75.291093769354632</c:v>
                </c:pt>
                <c:pt idx="2090">
                  <c:v>73.789173789173788</c:v>
                </c:pt>
                <c:pt idx="2091">
                  <c:v>76.641273380403817</c:v>
                </c:pt>
                <c:pt idx="2092">
                  <c:v>73.820141211445559</c:v>
                </c:pt>
                <c:pt idx="2093">
                  <c:v>73.532144184318099</c:v>
                </c:pt>
                <c:pt idx="2094">
                  <c:v>72.67124984516289</c:v>
                </c:pt>
                <c:pt idx="2095">
                  <c:v>77.059333581072707</c:v>
                </c:pt>
                <c:pt idx="2096">
                  <c:v>77.36900780379041</c:v>
                </c:pt>
                <c:pt idx="2097">
                  <c:v>78.041000867087817</c:v>
                </c:pt>
                <c:pt idx="2098">
                  <c:v>79.183698748916143</c:v>
                </c:pt>
                <c:pt idx="2099">
                  <c:v>82.057475535736401</c:v>
                </c:pt>
                <c:pt idx="2100">
                  <c:v>81.36070853462158</c:v>
                </c:pt>
                <c:pt idx="2101">
                  <c:v>81.648705561749054</c:v>
                </c:pt>
                <c:pt idx="2102">
                  <c:v>86.0708534621578</c:v>
                </c:pt>
                <c:pt idx="2103">
                  <c:v>85.395763656633221</c:v>
                </c:pt>
                <c:pt idx="2104">
                  <c:v>87.962962962962962</c:v>
                </c:pt>
                <c:pt idx="2105">
                  <c:v>87.910318345100947</c:v>
                </c:pt>
                <c:pt idx="2106">
                  <c:v>88.343862256905723</c:v>
                </c:pt>
                <c:pt idx="2107">
                  <c:v>88.628762541806012</c:v>
                </c:pt>
                <c:pt idx="2108">
                  <c:v>86.030595813204499</c:v>
                </c:pt>
                <c:pt idx="2109">
                  <c:v>81.905735166604728</c:v>
                </c:pt>
                <c:pt idx="2110">
                  <c:v>85.513439861265951</c:v>
                </c:pt>
                <c:pt idx="2111">
                  <c:v>86.569428960733305</c:v>
                </c:pt>
                <c:pt idx="2112">
                  <c:v>92.332466245509735</c:v>
                </c:pt>
                <c:pt idx="2113">
                  <c:v>91.273380403815182</c:v>
                </c:pt>
                <c:pt idx="2114">
                  <c:v>90.589000371609046</c:v>
                </c:pt>
                <c:pt idx="2115">
                  <c:v>88.957017217886772</c:v>
                </c:pt>
                <c:pt idx="2116">
                  <c:v>88.984887897931387</c:v>
                </c:pt>
                <c:pt idx="2117">
                  <c:v>90.815062554192991</c:v>
                </c:pt>
                <c:pt idx="2118">
                  <c:v>92.58949585036541</c:v>
                </c:pt>
                <c:pt idx="2119">
                  <c:v>91.821503778025516</c:v>
                </c:pt>
                <c:pt idx="2120">
                  <c:v>93.503034807382633</c:v>
                </c:pt>
                <c:pt idx="2121">
                  <c:v>93.973739625913524</c:v>
                </c:pt>
                <c:pt idx="2122">
                  <c:v>89.777653908088695</c:v>
                </c:pt>
                <c:pt idx="2123">
                  <c:v>90.17094017094017</c:v>
                </c:pt>
                <c:pt idx="2124">
                  <c:v>91.666666666666657</c:v>
                </c:pt>
                <c:pt idx="2125">
                  <c:v>91.579957884305699</c:v>
                </c:pt>
                <c:pt idx="2126">
                  <c:v>95.178372352285407</c:v>
                </c:pt>
                <c:pt idx="2127">
                  <c:v>94.648829431438116</c:v>
                </c:pt>
                <c:pt idx="2128">
                  <c:v>92.87749287749287</c:v>
                </c:pt>
                <c:pt idx="2129">
                  <c:v>96.156942896073332</c:v>
                </c:pt>
                <c:pt idx="2130">
                  <c:v>97.528799702712746</c:v>
                </c:pt>
                <c:pt idx="2131">
                  <c:v>97.668153102935705</c:v>
                </c:pt>
                <c:pt idx="2132">
                  <c:v>100.11148272017836</c:v>
                </c:pt>
                <c:pt idx="2133">
                  <c:v>100.80824972129318</c:v>
                </c:pt>
                <c:pt idx="2134">
                  <c:v>101.94475411866716</c:v>
                </c:pt>
                <c:pt idx="2135">
                  <c:v>102.03765638548246</c:v>
                </c:pt>
                <c:pt idx="2136">
                  <c:v>104.18679549114331</c:v>
                </c:pt>
                <c:pt idx="2137">
                  <c:v>103.80279945497337</c:v>
                </c:pt>
                <c:pt idx="2138">
                  <c:v>103.85854081506255</c:v>
                </c:pt>
                <c:pt idx="2139">
                  <c:v>100.89186176142698</c:v>
                </c:pt>
                <c:pt idx="2140">
                  <c:v>101.28514802427846</c:v>
                </c:pt>
                <c:pt idx="2141">
                  <c:v>101.95404434534869</c:v>
                </c:pt>
                <c:pt idx="2142">
                  <c:v>103.74086461042982</c:v>
                </c:pt>
                <c:pt idx="2143">
                  <c:v>106.19348445435402</c:v>
                </c:pt>
                <c:pt idx="2144">
                  <c:v>108.13204508856683</c:v>
                </c:pt>
                <c:pt idx="2145">
                  <c:v>105.90239068499938</c:v>
                </c:pt>
                <c:pt idx="2146">
                  <c:v>107.32998885172798</c:v>
                </c:pt>
                <c:pt idx="2147">
                  <c:v>107.65205004335439</c:v>
                </c:pt>
                <c:pt idx="2148">
                  <c:v>108.32094636442461</c:v>
                </c:pt>
                <c:pt idx="2149">
                  <c:v>108.6739749783228</c:v>
                </c:pt>
                <c:pt idx="2150">
                  <c:v>107.49411618976836</c:v>
                </c:pt>
                <c:pt idx="2151">
                  <c:v>109.29022668153102</c:v>
                </c:pt>
                <c:pt idx="2152">
                  <c:v>112.51703208224947</c:v>
                </c:pt>
                <c:pt idx="2153">
                  <c:v>113.64114951071473</c:v>
                </c:pt>
                <c:pt idx="2154">
                  <c:v>110.6280193236715</c:v>
                </c:pt>
                <c:pt idx="2155">
                  <c:v>110.38337668772451</c:v>
                </c:pt>
                <c:pt idx="2156">
                  <c:v>109.64944877988356</c:v>
                </c:pt>
                <c:pt idx="2157">
                  <c:v>107.72637185680664</c:v>
                </c:pt>
                <c:pt idx="2158">
                  <c:v>109.38003220611915</c:v>
                </c:pt>
                <c:pt idx="2159">
                  <c:v>110.69924439489657</c:v>
                </c:pt>
                <c:pt idx="2160">
                  <c:v>112.28167967298401</c:v>
                </c:pt>
                <c:pt idx="2161">
                  <c:v>111.45175275610057</c:v>
                </c:pt>
                <c:pt idx="2162">
                  <c:v>107.42289111854329</c:v>
                </c:pt>
                <c:pt idx="2163">
                  <c:v>107.74185556794252</c:v>
                </c:pt>
                <c:pt idx="2164">
                  <c:v>105.41310541310541</c:v>
                </c:pt>
                <c:pt idx="2165">
                  <c:v>106.67657624179363</c:v>
                </c:pt>
                <c:pt idx="2166">
                  <c:v>107.77282299021429</c:v>
                </c:pt>
                <c:pt idx="2167">
                  <c:v>104.46550229158925</c:v>
                </c:pt>
                <c:pt idx="2168">
                  <c:v>104.92072339898426</c:v>
                </c:pt>
                <c:pt idx="2169">
                  <c:v>107.62417936330979</c:v>
                </c:pt>
                <c:pt idx="2170">
                  <c:v>105.80019819150253</c:v>
                </c:pt>
                <c:pt idx="2171">
                  <c:v>106.94599281555803</c:v>
                </c:pt>
                <c:pt idx="2172">
                  <c:v>108.72971633841199</c:v>
                </c:pt>
                <c:pt idx="2173">
                  <c:v>107.33618233618233</c:v>
                </c:pt>
                <c:pt idx="2174">
                  <c:v>110.07989594946116</c:v>
                </c:pt>
                <c:pt idx="2175">
                  <c:v>106.41954663693794</c:v>
                </c:pt>
                <c:pt idx="2176">
                  <c:v>106.29258020562368</c:v>
                </c:pt>
                <c:pt idx="2177">
                  <c:v>104.45001858045336</c:v>
                </c:pt>
                <c:pt idx="2178">
                  <c:v>104.27350427350427</c:v>
                </c:pt>
                <c:pt idx="2179">
                  <c:v>102.3844915149263</c:v>
                </c:pt>
                <c:pt idx="2180">
                  <c:v>103.70060696147652</c:v>
                </c:pt>
                <c:pt idx="2181">
                  <c:v>102.32255667038275</c:v>
                </c:pt>
                <c:pt idx="2182">
                  <c:v>104.21776291341509</c:v>
                </c:pt>
                <c:pt idx="2183">
                  <c:v>105.58652297782731</c:v>
                </c:pt>
                <c:pt idx="2184">
                  <c:v>109.57203022420413</c:v>
                </c:pt>
                <c:pt idx="2185">
                  <c:v>110.21924934968413</c:v>
                </c:pt>
                <c:pt idx="2186">
                  <c:v>110.61253561253561</c:v>
                </c:pt>
                <c:pt idx="2187">
                  <c:v>112.75857797596927</c:v>
                </c:pt>
                <c:pt idx="2188">
                  <c:v>113.82076055989099</c:v>
                </c:pt>
                <c:pt idx="2189">
                  <c:v>114.00966183574879</c:v>
                </c:pt>
                <c:pt idx="2190">
                  <c:v>116.5273132664437</c:v>
                </c:pt>
                <c:pt idx="2191">
                  <c:v>116.07209215904868</c:v>
                </c:pt>
                <c:pt idx="2192">
                  <c:v>116.7286015112102</c:v>
                </c:pt>
                <c:pt idx="2193">
                  <c:v>115.3010033444816</c:v>
                </c:pt>
                <c:pt idx="2194">
                  <c:v>115.33197076675337</c:v>
                </c:pt>
                <c:pt idx="2195">
                  <c:v>117.89607333085593</c:v>
                </c:pt>
                <c:pt idx="2196">
                  <c:v>118.67645237210454</c:v>
                </c:pt>
                <c:pt idx="2197">
                  <c:v>122.61241174284652</c:v>
                </c:pt>
                <c:pt idx="2198">
                  <c:v>122.09525579090796</c:v>
                </c:pt>
                <c:pt idx="2199">
                  <c:v>121.57190635451505</c:v>
                </c:pt>
                <c:pt idx="2200">
                  <c:v>121.95280564845781</c:v>
                </c:pt>
                <c:pt idx="2201">
                  <c:v>122.08286882199926</c:v>
                </c:pt>
                <c:pt idx="2202">
                  <c:v>121.11049176266567</c:v>
                </c:pt>
                <c:pt idx="2203">
                  <c:v>119.2338659729964</c:v>
                </c:pt>
                <c:pt idx="2204">
                  <c:v>121.1197819893472</c:v>
                </c:pt>
                <c:pt idx="2205">
                  <c:v>122.78582930756843</c:v>
                </c:pt>
                <c:pt idx="2206">
                  <c:v>121.37990833643006</c:v>
                </c:pt>
                <c:pt idx="2207">
                  <c:v>117.59878607704694</c:v>
                </c:pt>
                <c:pt idx="2208">
                  <c:v>119.44444444444444</c:v>
                </c:pt>
                <c:pt idx="2209">
                  <c:v>120.08237334324291</c:v>
                </c:pt>
                <c:pt idx="2210">
                  <c:v>121.92493496841323</c:v>
                </c:pt>
                <c:pt idx="2211">
                  <c:v>125.26631983153722</c:v>
                </c:pt>
                <c:pt idx="2212">
                  <c:v>126.49262975349932</c:v>
                </c:pt>
                <c:pt idx="2213">
                  <c:v>127.10578471448036</c:v>
                </c:pt>
                <c:pt idx="2214">
                  <c:v>125.51096246748421</c:v>
                </c:pt>
                <c:pt idx="2215">
                  <c:v>124.83277591973244</c:v>
                </c:pt>
                <c:pt idx="2216">
                  <c:v>127.3566208348817</c:v>
                </c:pt>
                <c:pt idx="2217">
                  <c:v>126.347082868822</c:v>
                </c:pt>
                <c:pt idx="2218">
                  <c:v>123.6126594822247</c:v>
                </c:pt>
                <c:pt idx="2219">
                  <c:v>122.51021924934967</c:v>
                </c:pt>
                <c:pt idx="2220">
                  <c:v>122.73318468970642</c:v>
                </c:pt>
                <c:pt idx="2221">
                  <c:v>124.20104050538832</c:v>
                </c:pt>
                <c:pt idx="2222">
                  <c:v>126.88591601635079</c:v>
                </c:pt>
                <c:pt idx="2223">
                  <c:v>128.8399603616995</c:v>
                </c:pt>
                <c:pt idx="2224">
                  <c:v>130.6546513068252</c:v>
                </c:pt>
                <c:pt idx="2225">
                  <c:v>130.7103926669144</c:v>
                </c:pt>
                <c:pt idx="2226">
                  <c:v>131.83760683760684</c:v>
                </c:pt>
                <c:pt idx="2227">
                  <c:v>131.5589000371609</c:v>
                </c:pt>
                <c:pt idx="2228">
                  <c:v>131.50006193484452</c:v>
                </c:pt>
                <c:pt idx="2229">
                  <c:v>134.20661464139724</c:v>
                </c:pt>
                <c:pt idx="2230">
                  <c:v>135.43292456335934</c:v>
                </c:pt>
                <c:pt idx="2231">
                  <c:v>134.58441719311284</c:v>
                </c:pt>
                <c:pt idx="2232">
                  <c:v>132.93695032825468</c:v>
                </c:pt>
                <c:pt idx="2233">
                  <c:v>134.86312399355876</c:v>
                </c:pt>
                <c:pt idx="2234">
                  <c:v>135.05202526941656</c:v>
                </c:pt>
                <c:pt idx="2235">
                  <c:v>131.77257525083613</c:v>
                </c:pt>
                <c:pt idx="2236">
                  <c:v>131.06342128081258</c:v>
                </c:pt>
                <c:pt idx="2237">
                  <c:v>132.83785457698499</c:v>
                </c:pt>
                <c:pt idx="2238">
                  <c:v>132.26805400718445</c:v>
                </c:pt>
                <c:pt idx="2239">
                  <c:v>132.32998885172799</c:v>
                </c:pt>
                <c:pt idx="2240">
                  <c:v>129.73491886535365</c:v>
                </c:pt>
                <c:pt idx="2241">
                  <c:v>127.65390808869068</c:v>
                </c:pt>
                <c:pt idx="2242">
                  <c:v>128.94215285519633</c:v>
                </c:pt>
                <c:pt idx="2243">
                  <c:v>132.79450018580454</c:v>
                </c:pt>
                <c:pt idx="2244">
                  <c:v>131.72922085965564</c:v>
                </c:pt>
                <c:pt idx="2245">
                  <c:v>134.19422767248852</c:v>
                </c:pt>
                <c:pt idx="2246">
                  <c:v>133.75139353400223</c:v>
                </c:pt>
                <c:pt idx="2247">
                  <c:v>135.12015359841448</c:v>
                </c:pt>
                <c:pt idx="2248">
                  <c:v>133.93719806763283</c:v>
                </c:pt>
                <c:pt idx="2249">
                  <c:v>137.44271026879721</c:v>
                </c:pt>
                <c:pt idx="2250">
                  <c:v>137.96296296296296</c:v>
                </c:pt>
                <c:pt idx="2251">
                  <c:v>136.45794624055492</c:v>
                </c:pt>
                <c:pt idx="2252">
                  <c:v>139.17998265824352</c:v>
                </c:pt>
                <c:pt idx="2253">
                  <c:v>138.56063421280811</c:v>
                </c:pt>
                <c:pt idx="2254">
                  <c:v>139.62901028118418</c:v>
                </c:pt>
                <c:pt idx="2255">
                  <c:v>138.04038151864239</c:v>
                </c:pt>
                <c:pt idx="2256">
                  <c:v>137.38696890870804</c:v>
                </c:pt>
                <c:pt idx="2257">
                  <c:v>134.98699368264585</c:v>
                </c:pt>
                <c:pt idx="2258">
                  <c:v>134.12919608571781</c:v>
                </c:pt>
                <c:pt idx="2259">
                  <c:v>130.8992939427722</c:v>
                </c:pt>
                <c:pt idx="2260">
                  <c:v>133.81952186300012</c:v>
                </c:pt>
                <c:pt idx="2261">
                  <c:v>130.59581320450886</c:v>
                </c:pt>
                <c:pt idx="2262">
                  <c:v>131.54960981047938</c:v>
                </c:pt>
                <c:pt idx="2263">
                  <c:v>128.79970271274618</c:v>
                </c:pt>
                <c:pt idx="2264">
                  <c:v>132.58701845658368</c:v>
                </c:pt>
                <c:pt idx="2265">
                  <c:v>133.83500557413601</c:v>
                </c:pt>
                <c:pt idx="2266">
                  <c:v>133.97435897435898</c:v>
                </c:pt>
                <c:pt idx="2267">
                  <c:v>137.82360956273999</c:v>
                </c:pt>
                <c:pt idx="2268">
                  <c:v>137.22284157066764</c:v>
                </c:pt>
                <c:pt idx="2269">
                  <c:v>138.02180106527931</c:v>
                </c:pt>
                <c:pt idx="2270">
                  <c:v>137.27238944630247</c:v>
                </c:pt>
                <c:pt idx="2271">
                  <c:v>138.03109129196085</c:v>
                </c:pt>
                <c:pt idx="2272">
                  <c:v>140.86461042982782</c:v>
                </c:pt>
                <c:pt idx="2273">
                  <c:v>139.02824228911186</c:v>
                </c:pt>
                <c:pt idx="2274">
                  <c:v>139.92939427722035</c:v>
                </c:pt>
                <c:pt idx="2275">
                  <c:v>136.60039638300506</c:v>
                </c:pt>
                <c:pt idx="2276">
                  <c:v>135.43911804781371</c:v>
                </c:pt>
                <c:pt idx="2277">
                  <c:v>139.41223832528181</c:v>
                </c:pt>
                <c:pt idx="2278">
                  <c:v>138.20450885668276</c:v>
                </c:pt>
                <c:pt idx="2279">
                  <c:v>139.81481481481481</c:v>
                </c:pt>
                <c:pt idx="2280">
                  <c:v>134.63396506874767</c:v>
                </c:pt>
                <c:pt idx="2281">
                  <c:v>136.09253065774803</c:v>
                </c:pt>
                <c:pt idx="2282">
                  <c:v>134.48841818407035</c:v>
                </c:pt>
                <c:pt idx="2283">
                  <c:v>138.83624427102689</c:v>
                </c:pt>
                <c:pt idx="2284">
                  <c:v>139.36269044964698</c:v>
                </c:pt>
                <c:pt idx="2285">
                  <c:v>139.22643379165117</c:v>
                </c:pt>
                <c:pt idx="2286">
                  <c:v>138.9012758577976</c:v>
                </c:pt>
                <c:pt idx="2287">
                  <c:v>137.69664313142573</c:v>
                </c:pt>
                <c:pt idx="2288">
                  <c:v>134.69589991329121</c:v>
                </c:pt>
                <c:pt idx="2289">
                  <c:v>133.36430075560509</c:v>
                </c:pt>
                <c:pt idx="2290">
                  <c:v>134.49770841075187</c:v>
                </c:pt>
                <c:pt idx="2291">
                  <c:v>134.27783971262232</c:v>
                </c:pt>
                <c:pt idx="2292">
                  <c:v>135.63421280812585</c:v>
                </c:pt>
                <c:pt idx="2293">
                  <c:v>134.8197696023783</c:v>
                </c:pt>
                <c:pt idx="2294">
                  <c:v>136.76452372104546</c:v>
                </c:pt>
                <c:pt idx="2295">
                  <c:v>132.90288616375571</c:v>
                </c:pt>
                <c:pt idx="2296">
                  <c:v>131.71683389074693</c:v>
                </c:pt>
                <c:pt idx="2297">
                  <c:v>133.87835996531649</c:v>
                </c:pt>
                <c:pt idx="2298">
                  <c:v>133.95268177876872</c:v>
                </c:pt>
                <c:pt idx="2299">
                  <c:v>135.30905487427225</c:v>
                </c:pt>
                <c:pt idx="2300">
                  <c:v>135.54440728353771</c:v>
                </c:pt>
                <c:pt idx="2301">
                  <c:v>136.55084850737023</c:v>
                </c:pt>
                <c:pt idx="2302">
                  <c:v>137.20116437507741</c:v>
                </c:pt>
                <c:pt idx="2303">
                  <c:v>135.71163136380528</c:v>
                </c:pt>
                <c:pt idx="2304">
                  <c:v>136.54775176514306</c:v>
                </c:pt>
                <c:pt idx="2305">
                  <c:v>139.44630248978075</c:v>
                </c:pt>
                <c:pt idx="2306">
                  <c:v>139.20785333828812</c:v>
                </c:pt>
                <c:pt idx="2307">
                  <c:v>139.12733804038152</c:v>
                </c:pt>
                <c:pt idx="2308">
                  <c:v>138.58231140839837</c:v>
                </c:pt>
                <c:pt idx="2309">
                  <c:v>139.1675956893348</c:v>
                </c:pt>
                <c:pt idx="2310">
                  <c:v>141.13402700359222</c:v>
                </c:pt>
                <c:pt idx="2311">
                  <c:v>139.74978322804409</c:v>
                </c:pt>
                <c:pt idx="2312">
                  <c:v>139.75597671249844</c:v>
                </c:pt>
                <c:pt idx="2313">
                  <c:v>140.45274371361327</c:v>
                </c:pt>
                <c:pt idx="2314">
                  <c:v>138.13328378545768</c:v>
                </c:pt>
                <c:pt idx="2315">
                  <c:v>139.24191750278706</c:v>
                </c:pt>
                <c:pt idx="2316">
                  <c:v>139.34101325405672</c:v>
                </c:pt>
                <c:pt idx="2317">
                  <c:v>135.64969651926174</c:v>
                </c:pt>
                <c:pt idx="2318">
                  <c:v>133.20017341756471</c:v>
                </c:pt>
                <c:pt idx="2319">
                  <c:v>132.3919236962715</c:v>
                </c:pt>
                <c:pt idx="2320">
                  <c:v>131.78496221974481</c:v>
                </c:pt>
                <c:pt idx="2321">
                  <c:v>131.46290102811841</c:v>
                </c:pt>
                <c:pt idx="2322">
                  <c:v>130.23039762170197</c:v>
                </c:pt>
                <c:pt idx="2323">
                  <c:v>128.0688715471324</c:v>
                </c:pt>
                <c:pt idx="2324">
                  <c:v>128.73776786820264</c:v>
                </c:pt>
                <c:pt idx="2325">
                  <c:v>129.4840827449523</c:v>
                </c:pt>
                <c:pt idx="2326">
                  <c:v>131.24922581444321</c:v>
                </c:pt>
                <c:pt idx="2327">
                  <c:v>130.21181716833891</c:v>
                </c:pt>
                <c:pt idx="2328">
                  <c:v>125.49857549857549</c:v>
                </c:pt>
                <c:pt idx="2329">
                  <c:v>121.81964573268921</c:v>
                </c:pt>
                <c:pt idx="2330">
                  <c:v>122.83537718320326</c:v>
                </c:pt>
                <c:pt idx="2331">
                  <c:v>123.28750154837111</c:v>
                </c:pt>
                <c:pt idx="2332">
                  <c:v>123.90994673603369</c:v>
                </c:pt>
                <c:pt idx="2333">
                  <c:v>123.49188653536478</c:v>
                </c:pt>
                <c:pt idx="2334">
                  <c:v>123.16363185928402</c:v>
                </c:pt>
                <c:pt idx="2335">
                  <c:v>123.49188653536478</c:v>
                </c:pt>
                <c:pt idx="2336">
                  <c:v>125.72463768115941</c:v>
                </c:pt>
                <c:pt idx="2337">
                  <c:v>127.04075312770965</c:v>
                </c:pt>
                <c:pt idx="2338">
                  <c:v>127.51455468846773</c:v>
                </c:pt>
                <c:pt idx="2339">
                  <c:v>127.04694661216399</c:v>
                </c:pt>
                <c:pt idx="2340">
                  <c:v>127.4650068128329</c:v>
                </c:pt>
                <c:pt idx="2341">
                  <c:v>125.78037904124859</c:v>
                </c:pt>
                <c:pt idx="2342">
                  <c:v>126.39353400222964</c:v>
                </c:pt>
                <c:pt idx="2343">
                  <c:v>123.61575622445187</c:v>
                </c:pt>
                <c:pt idx="2344">
                  <c:v>126.04050538833147</c:v>
                </c:pt>
                <c:pt idx="2345">
                  <c:v>125.94140963706181</c:v>
                </c:pt>
                <c:pt idx="2346">
                  <c:v>127.76848755109624</c:v>
                </c:pt>
                <c:pt idx="2347">
                  <c:v>130.03220611916262</c:v>
                </c:pt>
                <c:pt idx="2348">
                  <c:v>129.50266319831536</c:v>
                </c:pt>
                <c:pt idx="2349">
                  <c:v>131.60535117056855</c:v>
                </c:pt>
                <c:pt idx="2350">
                  <c:v>131.92121887774061</c:v>
                </c:pt>
                <c:pt idx="2351">
                  <c:v>131.17180725876378</c:v>
                </c:pt>
                <c:pt idx="2352">
                  <c:v>132.81308063916759</c:v>
                </c:pt>
                <c:pt idx="2353">
                  <c:v>132.57772822990214</c:v>
                </c:pt>
                <c:pt idx="2354">
                  <c:v>133.78855444072835</c:v>
                </c:pt>
                <c:pt idx="2355">
                  <c:v>131.87476774433296</c:v>
                </c:pt>
                <c:pt idx="2356">
                  <c:v>134.13538957017218</c:v>
                </c:pt>
                <c:pt idx="2357">
                  <c:v>135.1944754118667</c:v>
                </c:pt>
                <c:pt idx="2358">
                  <c:v>133.77616747181963</c:v>
                </c:pt>
                <c:pt idx="2359">
                  <c:v>132.54056732317602</c:v>
                </c:pt>
                <c:pt idx="2360">
                  <c:v>132.52508361204013</c:v>
                </c:pt>
                <c:pt idx="2361">
                  <c:v>133.4293323423758</c:v>
                </c:pt>
                <c:pt idx="2362">
                  <c:v>131.79734918865353</c:v>
                </c:pt>
                <c:pt idx="2363">
                  <c:v>133.06391675956894</c:v>
                </c:pt>
                <c:pt idx="2364">
                  <c:v>133.04223956397868</c:v>
                </c:pt>
                <c:pt idx="2365">
                  <c:v>133.93410132540566</c:v>
                </c:pt>
                <c:pt idx="2366">
                  <c:v>133.43552582683017</c:v>
                </c:pt>
                <c:pt idx="2367">
                  <c:v>134.37693546389198</c:v>
                </c:pt>
                <c:pt idx="2368">
                  <c:v>136.53536479623435</c:v>
                </c:pt>
                <c:pt idx="2369">
                  <c:v>135.86646847516411</c:v>
                </c:pt>
                <c:pt idx="2370">
                  <c:v>135.1139601139601</c:v>
                </c:pt>
                <c:pt idx="2371">
                  <c:v>134.07035798340146</c:v>
                </c:pt>
                <c:pt idx="2372">
                  <c:v>136.72426607209215</c:v>
                </c:pt>
                <c:pt idx="2373">
                  <c:v>138.20450885668276</c:v>
                </c:pt>
                <c:pt idx="2374">
                  <c:v>137.40245261984393</c:v>
                </c:pt>
                <c:pt idx="2375">
                  <c:v>138.99417812461289</c:v>
                </c:pt>
                <c:pt idx="2376">
                  <c:v>139.27907840951318</c:v>
                </c:pt>
                <c:pt idx="2377">
                  <c:v>136.53846153846152</c:v>
                </c:pt>
                <c:pt idx="2378">
                  <c:v>135.28428093645485</c:v>
                </c:pt>
                <c:pt idx="2379">
                  <c:v>137.09587513935338</c:v>
                </c:pt>
                <c:pt idx="2380">
                  <c:v>135.64350303480737</c:v>
                </c:pt>
                <c:pt idx="2381">
                  <c:v>133.2683017465626</c:v>
                </c:pt>
                <c:pt idx="2382">
                  <c:v>134.96531648705562</c:v>
                </c:pt>
                <c:pt idx="2383">
                  <c:v>135.95627399975226</c:v>
                </c:pt>
                <c:pt idx="2384">
                  <c:v>131.63012510838598</c:v>
                </c:pt>
                <c:pt idx="2385">
                  <c:v>128.88331475287995</c:v>
                </c:pt>
                <c:pt idx="2386">
                  <c:v>131.06961476526692</c:v>
                </c:pt>
                <c:pt idx="2387">
                  <c:v>130.738263346959</c:v>
                </c:pt>
                <c:pt idx="2388">
                  <c:v>129.93620711012014</c:v>
                </c:pt>
                <c:pt idx="2389">
                  <c:v>124.92567818654774</c:v>
                </c:pt>
                <c:pt idx="2390">
                  <c:v>122.28725380899293</c:v>
                </c:pt>
                <c:pt idx="2391">
                  <c:v>119.11928651059085</c:v>
                </c:pt>
                <c:pt idx="2392">
                  <c:v>113.98798464015854</c:v>
                </c:pt>
                <c:pt idx="2393">
                  <c:v>123.98117180725876</c:v>
                </c:pt>
                <c:pt idx="2394">
                  <c:v>122.02403071968288</c:v>
                </c:pt>
                <c:pt idx="2395">
                  <c:v>123.7458193979933</c:v>
                </c:pt>
                <c:pt idx="2396">
                  <c:v>122.94066641892728</c:v>
                </c:pt>
                <c:pt idx="2397">
                  <c:v>117.44085222346091</c:v>
                </c:pt>
                <c:pt idx="2398">
                  <c:v>116.42821751517403</c:v>
                </c:pt>
                <c:pt idx="2399">
                  <c:v>118.30174656261612</c:v>
                </c:pt>
                <c:pt idx="2400">
                  <c:v>114.44630248978075</c:v>
                </c:pt>
                <c:pt idx="2401">
                  <c:v>111.95342499690325</c:v>
                </c:pt>
                <c:pt idx="2402">
                  <c:v>113.42437755481234</c:v>
                </c:pt>
                <c:pt idx="2403">
                  <c:v>112.32193732193731</c:v>
                </c:pt>
                <c:pt idx="2404">
                  <c:v>108.34262356001486</c:v>
                </c:pt>
                <c:pt idx="2405">
                  <c:v>110.77666295057598</c:v>
                </c:pt>
                <c:pt idx="2406">
                  <c:v>114.52991452991452</c:v>
                </c:pt>
                <c:pt idx="2407">
                  <c:v>114.8024278459061</c:v>
                </c:pt>
                <c:pt idx="2408">
                  <c:v>114.70023535240927</c:v>
                </c:pt>
                <c:pt idx="2409">
                  <c:v>115.04397373962591</c:v>
                </c:pt>
                <c:pt idx="2410">
                  <c:v>114.38127090301003</c:v>
                </c:pt>
                <c:pt idx="2411">
                  <c:v>116.04422147900408</c:v>
                </c:pt>
                <c:pt idx="2412">
                  <c:v>112.43032329988851</c:v>
                </c:pt>
                <c:pt idx="2413">
                  <c:v>110.61872909698997</c:v>
                </c:pt>
                <c:pt idx="2414">
                  <c:v>109.57512696643131</c:v>
                </c:pt>
                <c:pt idx="2415">
                  <c:v>112.6873529047442</c:v>
                </c:pt>
                <c:pt idx="2416">
                  <c:v>114.9386845039019</c:v>
                </c:pt>
                <c:pt idx="2417">
                  <c:v>115.28242289111854</c:v>
                </c:pt>
                <c:pt idx="2418">
                  <c:v>118.51542177629133</c:v>
                </c:pt>
                <c:pt idx="2419">
                  <c:v>119.63953920475659</c:v>
                </c:pt>
                <c:pt idx="2420">
                  <c:v>119.8253437383872</c:v>
                </c:pt>
                <c:pt idx="2421">
                  <c:v>120.39204756596061</c:v>
                </c:pt>
                <c:pt idx="2422">
                  <c:v>120.90610677567199</c:v>
                </c:pt>
                <c:pt idx="2423">
                  <c:v>122.16957760436021</c:v>
                </c:pt>
                <c:pt idx="2424">
                  <c:v>120.61191626409017</c:v>
                </c:pt>
                <c:pt idx="2425">
                  <c:v>119.04496469713861</c:v>
                </c:pt>
                <c:pt idx="2426">
                  <c:v>117.59878607704694</c:v>
                </c:pt>
                <c:pt idx="2427">
                  <c:v>116.6883438622569</c:v>
                </c:pt>
                <c:pt idx="2428">
                  <c:v>118.5061315496098</c:v>
                </c:pt>
                <c:pt idx="2429">
                  <c:v>113.50489285271894</c:v>
                </c:pt>
                <c:pt idx="2430">
                  <c:v>113.94463024897807</c:v>
                </c:pt>
                <c:pt idx="2431">
                  <c:v>113.01560758082496</c:v>
                </c:pt>
                <c:pt idx="2432">
                  <c:v>114.33791651182955</c:v>
                </c:pt>
                <c:pt idx="2433">
                  <c:v>113.42437755481234</c:v>
                </c:pt>
                <c:pt idx="2434">
                  <c:v>117.41607828564349</c:v>
                </c:pt>
                <c:pt idx="2435">
                  <c:v>118.88393410132539</c:v>
                </c:pt>
                <c:pt idx="2436">
                  <c:v>120.56236838845534</c:v>
                </c:pt>
                <c:pt idx="2437">
                  <c:v>120.84107518890127</c:v>
                </c:pt>
                <c:pt idx="2438">
                  <c:v>120.91230026012634</c:v>
                </c:pt>
                <c:pt idx="2439">
                  <c:v>124.05239687848383</c:v>
                </c:pt>
                <c:pt idx="2440">
                  <c:v>124.6098104793757</c:v>
                </c:pt>
                <c:pt idx="2441">
                  <c:v>124.75845410628018</c:v>
                </c:pt>
                <c:pt idx="2442">
                  <c:v>122.91898922333705</c:v>
                </c:pt>
                <c:pt idx="2443">
                  <c:v>122.11073950204384</c:v>
                </c:pt>
                <c:pt idx="2444">
                  <c:v>121.40468227424749</c:v>
                </c:pt>
                <c:pt idx="2445">
                  <c:v>122.21293199554069</c:v>
                </c:pt>
                <c:pt idx="2446">
                  <c:v>125.60076799207233</c:v>
                </c:pt>
                <c:pt idx="2447">
                  <c:v>125.51096246748421</c:v>
                </c:pt>
                <c:pt idx="2448">
                  <c:v>127.23894463024897</c:v>
                </c:pt>
                <c:pt idx="2449">
                  <c:v>128.20822494735538</c:v>
                </c:pt>
                <c:pt idx="2450">
                  <c:v>128.09983896940417</c:v>
                </c:pt>
                <c:pt idx="2451">
                  <c:v>128.32280440976092</c:v>
                </c:pt>
                <c:pt idx="2452">
                  <c:v>127.31016970147404</c:v>
                </c:pt>
                <c:pt idx="2453">
                  <c:v>132.27115074941162</c:v>
                </c:pt>
                <c:pt idx="2454">
                  <c:v>132.62108262108262</c:v>
                </c:pt>
                <c:pt idx="2455">
                  <c:v>131.97696023782979</c:v>
                </c:pt>
                <c:pt idx="2456">
                  <c:v>131.74470457079153</c:v>
                </c:pt>
                <c:pt idx="2457">
                  <c:v>131.6951566951567</c:v>
                </c:pt>
                <c:pt idx="2458">
                  <c:v>133.03294933729717</c:v>
                </c:pt>
                <c:pt idx="2459">
                  <c:v>130.28923572401834</c:v>
                </c:pt>
                <c:pt idx="2460">
                  <c:v>125.88566827697262</c:v>
                </c:pt>
                <c:pt idx="2461">
                  <c:v>125.46760807630372</c:v>
                </c:pt>
                <c:pt idx="2462">
                  <c:v>124.95664560881951</c:v>
                </c:pt>
                <c:pt idx="2463">
                  <c:v>125.80515297906602</c:v>
                </c:pt>
                <c:pt idx="2464">
                  <c:v>127.45881332837854</c:v>
                </c:pt>
                <c:pt idx="2465">
                  <c:v>126.93856063421281</c:v>
                </c:pt>
                <c:pt idx="2466">
                  <c:v>125.23535240926545</c:v>
                </c:pt>
                <c:pt idx="2467">
                  <c:v>122.63099219620958</c:v>
                </c:pt>
                <c:pt idx="2468">
                  <c:v>123.13266443701225</c:v>
                </c:pt>
                <c:pt idx="2469">
                  <c:v>121.29319955406912</c:v>
                </c:pt>
                <c:pt idx="2470">
                  <c:v>119.83463396506875</c:v>
                </c:pt>
                <c:pt idx="2471">
                  <c:v>121.92493496841323</c:v>
                </c:pt>
                <c:pt idx="2472">
                  <c:v>122.51641273380403</c:v>
                </c:pt>
                <c:pt idx="2473">
                  <c:v>122.19125479995044</c:v>
                </c:pt>
                <c:pt idx="2474">
                  <c:v>122.4792518270779</c:v>
                </c:pt>
                <c:pt idx="2475">
                  <c:v>126.93856063421281</c:v>
                </c:pt>
                <c:pt idx="2476">
                  <c:v>127.01597918989222</c:v>
                </c:pt>
                <c:pt idx="2477">
                  <c:v>128.45286758330235</c:v>
                </c:pt>
                <c:pt idx="2478">
                  <c:v>128.88021801065278</c:v>
                </c:pt>
                <c:pt idx="2479">
                  <c:v>126.78062678062678</c:v>
                </c:pt>
                <c:pt idx="2480">
                  <c:v>128.27015979189892</c:v>
                </c:pt>
                <c:pt idx="2481">
                  <c:v>129.54601758949585</c:v>
                </c:pt>
                <c:pt idx="2482">
                  <c:v>129.23944010900533</c:v>
                </c:pt>
                <c:pt idx="2483">
                  <c:v>131.56199677938807</c:v>
                </c:pt>
                <c:pt idx="2484">
                  <c:v>132.62727610553696</c:v>
                </c:pt>
                <c:pt idx="2485">
                  <c:v>132.74495231016971</c:v>
                </c:pt>
                <c:pt idx="2486">
                  <c:v>132.44147157190633</c:v>
                </c:pt>
                <c:pt idx="2487">
                  <c:v>131.56819026384244</c:v>
                </c:pt>
                <c:pt idx="2488">
                  <c:v>133.66778149386843</c:v>
                </c:pt>
                <c:pt idx="2489">
                  <c:v>133.55010528923572</c:v>
                </c:pt>
                <c:pt idx="2490">
                  <c:v>134.43267682398115</c:v>
                </c:pt>
                <c:pt idx="2491">
                  <c:v>133.58416945373466</c:v>
                </c:pt>
                <c:pt idx="2492">
                  <c:v>136.51988108509846</c:v>
                </c:pt>
                <c:pt idx="2493">
                  <c:v>135.91911309302614</c:v>
                </c:pt>
                <c:pt idx="2494">
                  <c:v>136.38981791155703</c:v>
                </c:pt>
                <c:pt idx="2495">
                  <c:v>136.23498080019817</c:v>
                </c:pt>
                <c:pt idx="2496">
                  <c:v>136.08324043106651</c:v>
                </c:pt>
                <c:pt idx="2497">
                  <c:v>136.69639539204755</c:v>
                </c:pt>
                <c:pt idx="2498">
                  <c:v>135.34002229654402</c:v>
                </c:pt>
                <c:pt idx="2499">
                  <c:v>138.73095503530286</c:v>
                </c:pt>
                <c:pt idx="2500">
                  <c:v>139.95107147281058</c:v>
                </c:pt>
                <c:pt idx="2501">
                  <c:v>140.35984144679796</c:v>
                </c:pt>
                <c:pt idx="2502">
                  <c:v>140.25455221107396</c:v>
                </c:pt>
                <c:pt idx="2503">
                  <c:v>140.37532515793384</c:v>
                </c:pt>
                <c:pt idx="2504">
                  <c:v>139.39056112969155</c:v>
                </c:pt>
                <c:pt idx="2505">
                  <c:v>142.69478508608944</c:v>
                </c:pt>
                <c:pt idx="2506">
                  <c:v>143.65477517651431</c:v>
                </c:pt>
                <c:pt idx="2507">
                  <c:v>143.01374953548867</c:v>
                </c:pt>
                <c:pt idx="2508">
                  <c:v>142.99516908212559</c:v>
                </c:pt>
                <c:pt idx="2509">
                  <c:v>140.43726000247739</c:v>
                </c:pt>
                <c:pt idx="2510">
                  <c:v>142.75362318840578</c:v>
                </c:pt>
                <c:pt idx="2511">
                  <c:v>143.90251455468845</c:v>
                </c:pt>
                <c:pt idx="2512">
                  <c:v>142.63594698377307</c:v>
                </c:pt>
                <c:pt idx="2513">
                  <c:v>143.55567942524465</c:v>
                </c:pt>
                <c:pt idx="2514">
                  <c:v>142.15595193856063</c:v>
                </c:pt>
                <c:pt idx="2515">
                  <c:v>140.21429456212064</c:v>
                </c:pt>
                <c:pt idx="2516">
                  <c:v>141.96705066270283</c:v>
                </c:pt>
                <c:pt idx="2517">
                  <c:v>141.98563111606589</c:v>
                </c:pt>
                <c:pt idx="2518">
                  <c:v>142.1064040629258</c:v>
                </c:pt>
                <c:pt idx="2519">
                  <c:v>144.10999628390931</c:v>
                </c:pt>
                <c:pt idx="2520">
                  <c:v>143.48755109624673</c:v>
                </c:pt>
                <c:pt idx="2521">
                  <c:v>147.99950452124364</c:v>
                </c:pt>
                <c:pt idx="2522">
                  <c:v>146.61216400346834</c:v>
                </c:pt>
                <c:pt idx="2523">
                  <c:v>145.26508113464635</c:v>
                </c:pt>
                <c:pt idx="2524">
                  <c:v>146.21578099838968</c:v>
                </c:pt>
                <c:pt idx="2525">
                  <c:v>142.96420165985381</c:v>
                </c:pt>
                <c:pt idx="2526">
                  <c:v>142.61736653041001</c:v>
                </c:pt>
                <c:pt idx="2527">
                  <c:v>142.37582063669021</c:v>
                </c:pt>
                <c:pt idx="2528">
                  <c:v>142.40059457450761</c:v>
                </c:pt>
                <c:pt idx="2529">
                  <c:v>138.64734299516908</c:v>
                </c:pt>
                <c:pt idx="2530">
                  <c:v>139.29456212064906</c:v>
                </c:pt>
                <c:pt idx="2531">
                  <c:v>141.92988975597672</c:v>
                </c:pt>
                <c:pt idx="2532">
                  <c:v>141.68215037780254</c:v>
                </c:pt>
                <c:pt idx="2533">
                  <c:v>140.23597175771087</c:v>
                </c:pt>
                <c:pt idx="2534">
                  <c:v>136.29381890251454</c:v>
                </c:pt>
                <c:pt idx="2535">
                  <c:v>137.2692927040753</c:v>
                </c:pt>
                <c:pt idx="2536">
                  <c:v>137.79573888269539</c:v>
                </c:pt>
                <c:pt idx="2537">
                  <c:v>135.60634212808125</c:v>
                </c:pt>
                <c:pt idx="2538">
                  <c:v>132.06676576241793</c:v>
                </c:pt>
                <c:pt idx="2539">
                  <c:v>131.19038771212684</c:v>
                </c:pt>
                <c:pt idx="2540">
                  <c:v>134.3335810727115</c:v>
                </c:pt>
                <c:pt idx="2541">
                  <c:v>137.71212684256162</c:v>
                </c:pt>
                <c:pt idx="2542">
                  <c:v>139.60423634336678</c:v>
                </c:pt>
                <c:pt idx="2543">
                  <c:v>138.82695404434534</c:v>
                </c:pt>
                <c:pt idx="2544">
                  <c:v>140.73454725628639</c:v>
                </c:pt>
                <c:pt idx="2545">
                  <c:v>139.91391056608447</c:v>
                </c:pt>
                <c:pt idx="2546">
                  <c:v>140.00061934844544</c:v>
                </c:pt>
                <c:pt idx="2547">
                  <c:v>140.59829059829059</c:v>
                </c:pt>
                <c:pt idx="2548">
                  <c:v>142.78768735290473</c:v>
                </c:pt>
                <c:pt idx="2549">
                  <c:v>143.09116809116807</c:v>
                </c:pt>
                <c:pt idx="2550">
                  <c:v>141.93917998265823</c:v>
                </c:pt>
                <c:pt idx="2551">
                  <c:v>141.05041496345842</c:v>
                </c:pt>
                <c:pt idx="2552">
                  <c:v>139.98203889508235</c:v>
                </c:pt>
                <c:pt idx="2553">
                  <c:v>140.44345348693173</c:v>
                </c:pt>
                <c:pt idx="2554">
                  <c:v>142.18072587637803</c:v>
                </c:pt>
                <c:pt idx="2555">
                  <c:v>141.95776043602129</c:v>
                </c:pt>
                <c:pt idx="2556">
                  <c:v>141.79982658243526</c:v>
                </c:pt>
                <c:pt idx="2557">
                  <c:v>142.19311284528675</c:v>
                </c:pt>
                <c:pt idx="2558">
                  <c:v>141.38795986622074</c:v>
                </c:pt>
                <c:pt idx="2559">
                  <c:v>141.49634584417191</c:v>
                </c:pt>
                <c:pt idx="2560">
                  <c:v>141.97943763161155</c:v>
                </c:pt>
                <c:pt idx="2561">
                  <c:v>141.70692431561997</c:v>
                </c:pt>
                <c:pt idx="2562">
                  <c:v>142.50588381023164</c:v>
                </c:pt>
                <c:pt idx="2563">
                  <c:v>143.07878112225939</c:v>
                </c:pt>
                <c:pt idx="2564">
                  <c:v>143.80961228787314</c:v>
                </c:pt>
                <c:pt idx="2565">
                  <c:v>141.9980180849746</c:v>
                </c:pt>
                <c:pt idx="2566">
                  <c:v>141.32912176390437</c:v>
                </c:pt>
                <c:pt idx="2567">
                  <c:v>140.51777530038399</c:v>
                </c:pt>
                <c:pt idx="2568">
                  <c:v>138.79908336430074</c:v>
                </c:pt>
                <c:pt idx="2569">
                  <c:v>140.47132416697633</c:v>
                </c:pt>
                <c:pt idx="2570">
                  <c:v>143.78483835005574</c:v>
                </c:pt>
                <c:pt idx="2571">
                  <c:v>145.89991329121764</c:v>
                </c:pt>
                <c:pt idx="2572">
                  <c:v>146.06094388703085</c:v>
                </c:pt>
                <c:pt idx="2573">
                  <c:v>145.42611173045955</c:v>
                </c:pt>
                <c:pt idx="2574">
                  <c:v>147.91279573888269</c:v>
                </c:pt>
                <c:pt idx="2575">
                  <c:v>146.98996655518394</c:v>
                </c:pt>
                <c:pt idx="2576">
                  <c:v>144.38560634212809</c:v>
                </c:pt>
                <c:pt idx="2577">
                  <c:v>147.2253189644494</c:v>
                </c:pt>
                <c:pt idx="2578">
                  <c:v>148.59407902886164</c:v>
                </c:pt>
                <c:pt idx="2579">
                  <c:v>147.5752508361204</c:v>
                </c:pt>
                <c:pt idx="2580">
                  <c:v>149.08955778520996</c:v>
                </c:pt>
                <c:pt idx="2581">
                  <c:v>149.74297039514431</c:v>
                </c:pt>
                <c:pt idx="2582">
                  <c:v>147.305834262356</c:v>
                </c:pt>
                <c:pt idx="2583">
                  <c:v>148.00879474792518</c:v>
                </c:pt>
                <c:pt idx="2584">
                  <c:v>151.10244023287501</c:v>
                </c:pt>
                <c:pt idx="2585">
                  <c:v>151.55146785581567</c:v>
                </c:pt>
                <c:pt idx="2586">
                  <c:v>149.81729220859654</c:v>
                </c:pt>
                <c:pt idx="2587">
                  <c:v>149.43948965688097</c:v>
                </c:pt>
                <c:pt idx="2588">
                  <c:v>150.79895949461167</c:v>
                </c:pt>
                <c:pt idx="2589">
                  <c:v>152.14294562120648</c:v>
                </c:pt>
                <c:pt idx="2590">
                  <c:v>151.99120525207482</c:v>
                </c:pt>
                <c:pt idx="2591">
                  <c:v>150.51715595193855</c:v>
                </c:pt>
                <c:pt idx="2592">
                  <c:v>150.59767124984515</c:v>
                </c:pt>
                <c:pt idx="2593">
                  <c:v>150.17961104917626</c:v>
                </c:pt>
                <c:pt idx="2594">
                  <c:v>150.93831289483464</c:v>
                </c:pt>
                <c:pt idx="2595">
                  <c:v>151.65056360708533</c:v>
                </c:pt>
                <c:pt idx="2596">
                  <c:v>152.57339279078408</c:v>
                </c:pt>
                <c:pt idx="2597">
                  <c:v>153.16487055617489</c:v>
                </c:pt>
                <c:pt idx="2598">
                  <c:v>151.50191998018084</c:v>
                </c:pt>
                <c:pt idx="2599">
                  <c:v>150.82683017465627</c:v>
                </c:pt>
                <c:pt idx="2600">
                  <c:v>149.99690325777283</c:v>
                </c:pt>
                <c:pt idx="2601">
                  <c:v>149.41161897683637</c:v>
                </c:pt>
                <c:pt idx="2602">
                  <c:v>150.83302365911061</c:v>
                </c:pt>
                <c:pt idx="2603">
                  <c:v>152.79326148891366</c:v>
                </c:pt>
                <c:pt idx="2604">
                  <c:v>152.00978570543788</c:v>
                </c:pt>
                <c:pt idx="2605">
                  <c:v>151.60720921590487</c:v>
                </c:pt>
                <c:pt idx="2606">
                  <c:v>152.75919732441471</c:v>
                </c:pt>
                <c:pt idx="2607">
                  <c:v>152.40926545274371</c:v>
                </c:pt>
                <c:pt idx="2608">
                  <c:v>152.03146290102811</c:v>
                </c:pt>
                <c:pt idx="2609">
                  <c:v>151.36876006441224</c:v>
                </c:pt>
                <c:pt idx="2610">
                  <c:v>151.37185680663941</c:v>
                </c:pt>
                <c:pt idx="2611">
                  <c:v>148.2875015483711</c:v>
                </c:pt>
                <c:pt idx="2612">
                  <c:v>147.40802675585283</c:v>
                </c:pt>
                <c:pt idx="2613">
                  <c:v>147.27486684008423</c:v>
                </c:pt>
                <c:pt idx="2614">
                  <c:v>143.85916016350799</c:v>
                </c:pt>
                <c:pt idx="2615">
                  <c:v>141.19596184813577</c:v>
                </c:pt>
                <c:pt idx="2616">
                  <c:v>144.87489161402203</c:v>
                </c:pt>
                <c:pt idx="2617">
                  <c:v>146.38300507865725</c:v>
                </c:pt>
                <c:pt idx="2618">
                  <c:v>149.44568314133531</c:v>
                </c:pt>
                <c:pt idx="2619">
                  <c:v>149.43639291465377</c:v>
                </c:pt>
                <c:pt idx="2620">
                  <c:v>149.25058838102316</c:v>
                </c:pt>
                <c:pt idx="2621">
                  <c:v>151.54217762913413</c:v>
                </c:pt>
                <c:pt idx="2622">
                  <c:v>151.10244023287501</c:v>
                </c:pt>
                <c:pt idx="2623">
                  <c:v>150.82992691688344</c:v>
                </c:pt>
                <c:pt idx="2624">
                  <c:v>150.57289731202775</c:v>
                </c:pt>
                <c:pt idx="2625">
                  <c:v>152.00359222098351</c:v>
                </c:pt>
                <c:pt idx="2626">
                  <c:v>151.58862876254179</c:v>
                </c:pt>
                <c:pt idx="2627">
                  <c:v>153.39712622321318</c:v>
                </c:pt>
                <c:pt idx="2628">
                  <c:v>154.56769478508608</c:v>
                </c:pt>
                <c:pt idx="2629">
                  <c:v>154.6172426607209</c:v>
                </c:pt>
                <c:pt idx="2630">
                  <c:v>156.54341632602501</c:v>
                </c:pt>
                <c:pt idx="2631">
                  <c:v>155.50600767992071</c:v>
                </c:pt>
                <c:pt idx="2632">
                  <c:v>157.61488913662825</c:v>
                </c:pt>
                <c:pt idx="2633">
                  <c:v>157.42908460299765</c:v>
                </c:pt>
                <c:pt idx="2634">
                  <c:v>155.2273008794748</c:v>
                </c:pt>
                <c:pt idx="2635">
                  <c:v>156.4783847392543</c:v>
                </c:pt>
                <c:pt idx="2636">
                  <c:v>155.37284776415211</c:v>
                </c:pt>
                <c:pt idx="2637">
                  <c:v>155.37594450637928</c:v>
                </c:pt>
                <c:pt idx="2638">
                  <c:v>150.57599405425492</c:v>
                </c:pt>
                <c:pt idx="2639">
                  <c:v>152.51455468846771</c:v>
                </c:pt>
                <c:pt idx="2640">
                  <c:v>157.28044097609313</c:v>
                </c:pt>
                <c:pt idx="2641">
                  <c:v>158.82261860522729</c:v>
                </c:pt>
                <c:pt idx="2642">
                  <c:v>159.8971881580577</c:v>
                </c:pt>
                <c:pt idx="2643">
                  <c:v>160.65279326148891</c:v>
                </c:pt>
                <c:pt idx="2644">
                  <c:v>163.17354143441096</c:v>
                </c:pt>
                <c:pt idx="2645">
                  <c:v>163.86411495107146</c:v>
                </c:pt>
                <c:pt idx="2646">
                  <c:v>164.65378421900164</c:v>
                </c:pt>
                <c:pt idx="2647">
                  <c:v>163.30050786572528</c:v>
                </c:pt>
                <c:pt idx="2648">
                  <c:v>161.61588009414095</c:v>
                </c:pt>
                <c:pt idx="2649">
                  <c:v>158.36739749783229</c:v>
                </c:pt>
                <c:pt idx="2650">
                  <c:v>159.36764523721044</c:v>
                </c:pt>
                <c:pt idx="2651">
                  <c:v>156.28948346339649</c:v>
                </c:pt>
                <c:pt idx="2652">
                  <c:v>158.7018456583674</c:v>
                </c:pt>
                <c:pt idx="2653">
                  <c:v>158.60274990709772</c:v>
                </c:pt>
                <c:pt idx="2654">
                  <c:v>156.42574012139229</c:v>
                </c:pt>
                <c:pt idx="2655">
                  <c:v>155.88381023163632</c:v>
                </c:pt>
                <c:pt idx="2656">
                  <c:v>156.09438870308435</c:v>
                </c:pt>
                <c:pt idx="2657">
                  <c:v>153.77183203270158</c:v>
                </c:pt>
                <c:pt idx="2658">
                  <c:v>155.22110739502043</c:v>
                </c:pt>
                <c:pt idx="2659">
                  <c:v>156.26161278335189</c:v>
                </c:pt>
                <c:pt idx="2660">
                  <c:v>155.06936702588877</c:v>
                </c:pt>
                <c:pt idx="2661">
                  <c:v>151.13340765514678</c:v>
                </c:pt>
                <c:pt idx="2662">
                  <c:v>152.35662083488171</c:v>
                </c:pt>
                <c:pt idx="2663">
                  <c:v>153.10293571163135</c:v>
                </c:pt>
                <c:pt idx="2664">
                  <c:v>153.33209463644246</c:v>
                </c:pt>
                <c:pt idx="2665">
                  <c:v>156.16561377430941</c:v>
                </c:pt>
                <c:pt idx="2666">
                  <c:v>156.15013006317352</c:v>
                </c:pt>
                <c:pt idx="2667">
                  <c:v>158.61204013377929</c:v>
                </c:pt>
                <c:pt idx="2668">
                  <c:v>157.80069367025888</c:v>
                </c:pt>
                <c:pt idx="2669">
                  <c:v>155.86522977827326</c:v>
                </c:pt>
                <c:pt idx="2670">
                  <c:v>156.66109253065775</c:v>
                </c:pt>
                <c:pt idx="2671">
                  <c:v>156.20896816548989</c:v>
                </c:pt>
                <c:pt idx="2672">
                  <c:v>156.89025145546884</c:v>
                </c:pt>
                <c:pt idx="2673">
                  <c:v>154.44692183822619</c:v>
                </c:pt>
                <c:pt idx="2674">
                  <c:v>154.96407779016474</c:v>
                </c:pt>
                <c:pt idx="2675">
                  <c:v>151.36566332218504</c:v>
                </c:pt>
                <c:pt idx="2676">
                  <c:v>151.88281927412362</c:v>
                </c:pt>
                <c:pt idx="2677">
                  <c:v>154.16511829555307</c:v>
                </c:pt>
                <c:pt idx="2678">
                  <c:v>150.56051034311903</c:v>
                </c:pt>
                <c:pt idx="2679">
                  <c:v>148.3153722284157</c:v>
                </c:pt>
                <c:pt idx="2680">
                  <c:v>150.30348073826335</c:v>
                </c:pt>
                <c:pt idx="2681">
                  <c:v>149.58813328378545</c:v>
                </c:pt>
                <c:pt idx="2682">
                  <c:v>152.39068499938065</c:v>
                </c:pt>
                <c:pt idx="2683">
                  <c:v>152.18939675461414</c:v>
                </c:pt>
                <c:pt idx="2684">
                  <c:v>147.09215904868077</c:v>
                </c:pt>
                <c:pt idx="2685">
                  <c:v>147.08286882199926</c:v>
                </c:pt>
                <c:pt idx="2686">
                  <c:v>148.30608200173418</c:v>
                </c:pt>
                <c:pt idx="2687">
                  <c:v>149.85445311532268</c:v>
                </c:pt>
                <c:pt idx="2688">
                  <c:v>152.799454973368</c:v>
                </c:pt>
                <c:pt idx="2689">
                  <c:v>155.63607085346214</c:v>
                </c:pt>
                <c:pt idx="2690">
                  <c:v>156.64870556174904</c:v>
                </c:pt>
                <c:pt idx="2691">
                  <c:v>157.32689210950079</c:v>
                </c:pt>
                <c:pt idx="2692">
                  <c:v>156.87476774433296</c:v>
                </c:pt>
                <c:pt idx="2693">
                  <c:v>154.69775795862751</c:v>
                </c:pt>
                <c:pt idx="2694">
                  <c:v>156.0076799207234</c:v>
                </c:pt>
                <c:pt idx="2695">
                  <c:v>153.62938189025144</c:v>
                </c:pt>
                <c:pt idx="2696">
                  <c:v>148.6126594822247</c:v>
                </c:pt>
                <c:pt idx="2697">
                  <c:v>147.60621825839218</c:v>
                </c:pt>
                <c:pt idx="2698">
                  <c:v>150.47689830298526</c:v>
                </c:pt>
                <c:pt idx="2699">
                  <c:v>149.15458937198068</c:v>
                </c:pt>
                <c:pt idx="2700">
                  <c:v>148.38969404186795</c:v>
                </c:pt>
                <c:pt idx="2701">
                  <c:v>144.70457079152732</c:v>
                </c:pt>
                <c:pt idx="2702">
                  <c:v>147.62479871175523</c:v>
                </c:pt>
                <c:pt idx="2703">
                  <c:v>149.62839093273874</c:v>
                </c:pt>
                <c:pt idx="2704">
                  <c:v>153.11532268054006</c:v>
                </c:pt>
                <c:pt idx="2705">
                  <c:v>153.8368636194723</c:v>
                </c:pt>
                <c:pt idx="2706">
                  <c:v>153.11532268054006</c:v>
                </c:pt>
                <c:pt idx="2707">
                  <c:v>154.01957141087576</c:v>
                </c:pt>
                <c:pt idx="2708">
                  <c:v>151.23869689087078</c:v>
                </c:pt>
                <c:pt idx="2709">
                  <c:v>150.38709277839712</c:v>
                </c:pt>
                <c:pt idx="2710">
                  <c:v>150.08980552458812</c:v>
                </c:pt>
                <c:pt idx="2711">
                  <c:v>146.54093893224328</c:v>
                </c:pt>
                <c:pt idx="2712">
                  <c:v>143.89632107023411</c:v>
                </c:pt>
                <c:pt idx="2713">
                  <c:v>141.94847020933977</c:v>
                </c:pt>
                <c:pt idx="2714">
                  <c:v>135.69924439489657</c:v>
                </c:pt>
                <c:pt idx="2715">
                  <c:v>133.65539452495975</c:v>
                </c:pt>
                <c:pt idx="2716">
                  <c:v>128.07506503158677</c:v>
                </c:pt>
                <c:pt idx="2717">
                  <c:v>130.17775300383997</c:v>
                </c:pt>
                <c:pt idx="2718">
                  <c:v>125.02787068004459</c:v>
                </c:pt>
                <c:pt idx="2719">
                  <c:v>128.94834633965067</c:v>
                </c:pt>
                <c:pt idx="2720">
                  <c:v>133.15991576861143</c:v>
                </c:pt>
                <c:pt idx="2721">
                  <c:v>135.51963334572031</c:v>
                </c:pt>
                <c:pt idx="2722">
                  <c:v>134.91576861142079</c:v>
                </c:pt>
                <c:pt idx="2723">
                  <c:v>135.79214666171188</c:v>
                </c:pt>
                <c:pt idx="2724">
                  <c:v>128.09364548494983</c:v>
                </c:pt>
                <c:pt idx="2725">
                  <c:v>126.97572154093892</c:v>
                </c:pt>
                <c:pt idx="2726">
                  <c:v>127.65700483091787</c:v>
                </c:pt>
                <c:pt idx="2727">
                  <c:v>128.72538089929392</c:v>
                </c:pt>
                <c:pt idx="2728">
                  <c:v>130.69181221355134</c:v>
                </c:pt>
                <c:pt idx="2729">
                  <c:v>128.63247863247864</c:v>
                </c:pt>
                <c:pt idx="2730">
                  <c:v>127.82422891118543</c:v>
                </c:pt>
                <c:pt idx="2731">
                  <c:v>130.96742227177009</c:v>
                </c:pt>
                <c:pt idx="2732">
                  <c:v>131.40096618357487</c:v>
                </c:pt>
                <c:pt idx="2733">
                  <c:v>134.94054254923819</c:v>
                </c:pt>
                <c:pt idx="2734">
                  <c:v>134.40170940170938</c:v>
                </c:pt>
                <c:pt idx="2735">
                  <c:v>130.74136008918617</c:v>
                </c:pt>
                <c:pt idx="2736">
                  <c:v>124.49523101697014</c:v>
                </c:pt>
                <c:pt idx="2737">
                  <c:v>122.99950452124365</c:v>
                </c:pt>
                <c:pt idx="2738">
                  <c:v>126.87972253189643</c:v>
                </c:pt>
                <c:pt idx="2739">
                  <c:v>127.48978075065031</c:v>
                </c:pt>
                <c:pt idx="2740">
                  <c:v>121.65551839464882</c:v>
                </c:pt>
                <c:pt idx="2741">
                  <c:v>117.70097857054378</c:v>
                </c:pt>
                <c:pt idx="2742">
                  <c:v>119.3422519509476</c:v>
                </c:pt>
                <c:pt idx="2743">
                  <c:v>121.07333085593955</c:v>
                </c:pt>
                <c:pt idx="2744">
                  <c:v>125.12696643131424</c:v>
                </c:pt>
                <c:pt idx="2745">
                  <c:v>125.34064164498946</c:v>
                </c:pt>
                <c:pt idx="2746">
                  <c:v>121.03307320698624</c:v>
                </c:pt>
                <c:pt idx="2747">
                  <c:v>124.14839588752632</c:v>
                </c:pt>
                <c:pt idx="2748">
                  <c:v>121.94041867954911</c:v>
                </c:pt>
                <c:pt idx="2749">
                  <c:v>114.36888393410132</c:v>
                </c:pt>
                <c:pt idx="2750">
                  <c:v>115.52087204261117</c:v>
                </c:pt>
                <c:pt idx="2751">
                  <c:v>117.29530533878359</c:v>
                </c:pt>
                <c:pt idx="2752">
                  <c:v>123.90994673603369</c:v>
                </c:pt>
                <c:pt idx="2753">
                  <c:v>122.26247987117551</c:v>
                </c:pt>
                <c:pt idx="2754">
                  <c:v>123.50117676204633</c:v>
                </c:pt>
                <c:pt idx="2755">
                  <c:v>119.98018084974606</c:v>
                </c:pt>
                <c:pt idx="2756">
                  <c:v>117.35724018332714</c:v>
                </c:pt>
                <c:pt idx="2757">
                  <c:v>114.15830546265329</c:v>
                </c:pt>
                <c:pt idx="2758">
                  <c:v>117.95181469094511</c:v>
                </c:pt>
                <c:pt idx="2759">
                  <c:v>122.03332094636441</c:v>
                </c:pt>
                <c:pt idx="2760">
                  <c:v>123.75201288244766</c:v>
                </c:pt>
                <c:pt idx="2761">
                  <c:v>127.3844915149263</c:v>
                </c:pt>
                <c:pt idx="2762">
                  <c:v>126.86114207853338</c:v>
                </c:pt>
                <c:pt idx="2763">
                  <c:v>130.48123374210331</c:v>
                </c:pt>
                <c:pt idx="2764">
                  <c:v>128.20203146290103</c:v>
                </c:pt>
                <c:pt idx="2765">
                  <c:v>130.77852099591229</c:v>
                </c:pt>
                <c:pt idx="2766">
                  <c:v>128.60460795243404</c:v>
                </c:pt>
                <c:pt idx="2767">
                  <c:v>127.37520128824477</c:v>
                </c:pt>
                <c:pt idx="2768">
                  <c:v>129.23324662455096</c:v>
                </c:pt>
                <c:pt idx="2769">
                  <c:v>126.28514802427846</c:v>
                </c:pt>
                <c:pt idx="2770">
                  <c:v>131.34832156571287</c:v>
                </c:pt>
                <c:pt idx="2771">
                  <c:v>132.92766010157314</c:v>
                </c:pt>
                <c:pt idx="2772">
                  <c:v>132.17205499814196</c:v>
                </c:pt>
                <c:pt idx="2773">
                  <c:v>131.65180230397621</c:v>
                </c:pt>
                <c:pt idx="2774">
                  <c:v>139.54539824105041</c:v>
                </c:pt>
                <c:pt idx="2775">
                  <c:v>139.64139725009289</c:v>
                </c:pt>
                <c:pt idx="2776">
                  <c:v>134.35525826830175</c:v>
                </c:pt>
                <c:pt idx="2777">
                  <c:v>127.17391304347825</c:v>
                </c:pt>
                <c:pt idx="2778">
                  <c:v>129.60795243403939</c:v>
                </c:pt>
                <c:pt idx="2779">
                  <c:v>131.77257525083613</c:v>
                </c:pt>
                <c:pt idx="2780">
                  <c:v>130.59890994673603</c:v>
                </c:pt>
                <c:pt idx="2781">
                  <c:v>129.87117552334942</c:v>
                </c:pt>
                <c:pt idx="2782">
                  <c:v>131.52483587266195</c:v>
                </c:pt>
                <c:pt idx="2783">
                  <c:v>127.19868698129567</c:v>
                </c:pt>
                <c:pt idx="2784">
                  <c:v>126.70320822494735</c:v>
                </c:pt>
                <c:pt idx="2785">
                  <c:v>131.15013006317355</c:v>
                </c:pt>
                <c:pt idx="2786">
                  <c:v>128.81518642388207</c:v>
                </c:pt>
                <c:pt idx="2787">
                  <c:v>127.00359222098352</c:v>
                </c:pt>
                <c:pt idx="2788">
                  <c:v>127.13675213675214</c:v>
                </c:pt>
                <c:pt idx="2789">
                  <c:v>125.34993187167099</c:v>
                </c:pt>
                <c:pt idx="2790">
                  <c:v>124.47045707915272</c:v>
                </c:pt>
                <c:pt idx="2791">
                  <c:v>120.02043849869936</c:v>
                </c:pt>
                <c:pt idx="2792">
                  <c:v>119.47231512448903</c:v>
                </c:pt>
                <c:pt idx="2793">
                  <c:v>116.66976340889384</c:v>
                </c:pt>
                <c:pt idx="2794">
                  <c:v>116.24241298154341</c:v>
                </c:pt>
                <c:pt idx="2795">
                  <c:v>116.59544159544159</c:v>
                </c:pt>
                <c:pt idx="2796">
                  <c:v>121.72054998141954</c:v>
                </c:pt>
                <c:pt idx="2797">
                  <c:v>122.54428341384863</c:v>
                </c:pt>
                <c:pt idx="2798">
                  <c:v>128.22680540071843</c:v>
                </c:pt>
                <c:pt idx="2799">
                  <c:v>127.45571658615137</c:v>
                </c:pt>
                <c:pt idx="2800">
                  <c:v>128.27635327635326</c:v>
                </c:pt>
                <c:pt idx="2801">
                  <c:v>129.71324166976339</c:v>
                </c:pt>
                <c:pt idx="2802">
                  <c:v>128.45286758330235</c:v>
                </c:pt>
                <c:pt idx="2803">
                  <c:v>128.27945001858043</c:v>
                </c:pt>
                <c:pt idx="2804">
                  <c:v>125.56051034311903</c:v>
                </c:pt>
                <c:pt idx="2805">
                  <c:v>127.54861885296667</c:v>
                </c:pt>
                <c:pt idx="2806">
                  <c:v>123.79536727362813</c:v>
                </c:pt>
                <c:pt idx="2807">
                  <c:v>123.23795367273628</c:v>
                </c:pt>
                <c:pt idx="2808">
                  <c:v>119.4630248978075</c:v>
                </c:pt>
                <c:pt idx="2809">
                  <c:v>121.07333085593955</c:v>
                </c:pt>
                <c:pt idx="2810">
                  <c:v>121.00520252694164</c:v>
                </c:pt>
                <c:pt idx="2811">
                  <c:v>120.78533382881209</c:v>
                </c:pt>
                <c:pt idx="2812">
                  <c:v>124.11433172302736</c:v>
                </c:pt>
                <c:pt idx="2813">
                  <c:v>122.89421528551962</c:v>
                </c:pt>
                <c:pt idx="2814">
                  <c:v>124.35278087451999</c:v>
                </c:pt>
                <c:pt idx="2815">
                  <c:v>125.17961104917626</c:v>
                </c:pt>
                <c:pt idx="2816">
                  <c:v>125.4707048185309</c:v>
                </c:pt>
                <c:pt idx="2817">
                  <c:v>123.45162888641148</c:v>
                </c:pt>
                <c:pt idx="2818">
                  <c:v>124.30323299888516</c:v>
                </c:pt>
                <c:pt idx="2819">
                  <c:v>126.02502167719558</c:v>
                </c:pt>
                <c:pt idx="2820">
                  <c:v>127.36900780379041</c:v>
                </c:pt>
                <c:pt idx="2821">
                  <c:v>130.10652793261488</c:v>
                </c:pt>
                <c:pt idx="2822">
                  <c:v>127.93880837359097</c:v>
                </c:pt>
                <c:pt idx="2823">
                  <c:v>125.65341260993435</c:v>
                </c:pt>
                <c:pt idx="2824">
                  <c:v>124.95354886659234</c:v>
                </c:pt>
                <c:pt idx="2825">
                  <c:v>124.6221974482844</c:v>
                </c:pt>
                <c:pt idx="2826">
                  <c:v>127.27300879474792</c:v>
                </c:pt>
                <c:pt idx="2827">
                  <c:v>125.91044221479004</c:v>
                </c:pt>
                <c:pt idx="2828">
                  <c:v>126.7899170073083</c:v>
                </c:pt>
                <c:pt idx="2829">
                  <c:v>125.33754490276229</c:v>
                </c:pt>
                <c:pt idx="2830">
                  <c:v>126.39663074445683</c:v>
                </c:pt>
                <c:pt idx="2831">
                  <c:v>128.1246129072216</c:v>
                </c:pt>
                <c:pt idx="2832">
                  <c:v>129.05673231760187</c:v>
                </c:pt>
                <c:pt idx="2833">
                  <c:v>131.40406292580204</c:v>
                </c:pt>
                <c:pt idx="2834">
                  <c:v>131.30806391675955</c:v>
                </c:pt>
                <c:pt idx="2835">
                  <c:v>133.20946364424626</c:v>
                </c:pt>
                <c:pt idx="2836">
                  <c:v>132.03270159791899</c:v>
                </c:pt>
                <c:pt idx="2837">
                  <c:v>131.45980428589124</c:v>
                </c:pt>
                <c:pt idx="2838">
                  <c:v>134.8445435401957</c:v>
                </c:pt>
                <c:pt idx="2839">
                  <c:v>133.30855939551591</c:v>
                </c:pt>
                <c:pt idx="2840">
                  <c:v>131.62083488170444</c:v>
                </c:pt>
                <c:pt idx="2841">
                  <c:v>132.37024650068128</c:v>
                </c:pt>
                <c:pt idx="2842">
                  <c:v>136.13588504892851</c:v>
                </c:pt>
                <c:pt idx="2843">
                  <c:v>136.18233618233617</c:v>
                </c:pt>
                <c:pt idx="2844">
                  <c:v>138.00322061191625</c:v>
                </c:pt>
                <c:pt idx="2845">
                  <c:v>137.37148519757216</c:v>
                </c:pt>
                <c:pt idx="2846">
                  <c:v>138.72166480862131</c:v>
                </c:pt>
                <c:pt idx="2847">
                  <c:v>138.56682769726248</c:v>
                </c:pt>
                <c:pt idx="2848">
                  <c:v>139.41843180973615</c:v>
                </c:pt>
                <c:pt idx="2849">
                  <c:v>136.95961848135761</c:v>
                </c:pt>
                <c:pt idx="2850">
                  <c:v>138.25715347454477</c:v>
                </c:pt>
                <c:pt idx="2851">
                  <c:v>137.04323052149138</c:v>
                </c:pt>
                <c:pt idx="2852">
                  <c:v>137.3529047442091</c:v>
                </c:pt>
                <c:pt idx="2853">
                  <c:v>137.17639043725998</c:v>
                </c:pt>
                <c:pt idx="2854">
                  <c:v>139.3038523473306</c:v>
                </c:pt>
                <c:pt idx="2855">
                  <c:v>141.58615136876006</c:v>
                </c:pt>
                <c:pt idx="2856">
                  <c:v>140.83054626532888</c:v>
                </c:pt>
                <c:pt idx="2857">
                  <c:v>139.44939923200792</c:v>
                </c:pt>
                <c:pt idx="2858">
                  <c:v>139.94487798835624</c:v>
                </c:pt>
                <c:pt idx="2859">
                  <c:v>141.88034188034186</c:v>
                </c:pt>
                <c:pt idx="2860">
                  <c:v>140.76551467855816</c:v>
                </c:pt>
                <c:pt idx="2861">
                  <c:v>141.31673479499565</c:v>
                </c:pt>
                <c:pt idx="2862">
                  <c:v>140.88319088319088</c:v>
                </c:pt>
                <c:pt idx="2863">
                  <c:v>141.86795491143317</c:v>
                </c:pt>
                <c:pt idx="2864">
                  <c:v>140.59209711383625</c:v>
                </c:pt>
                <c:pt idx="2865">
                  <c:v>140.0191998018085</c:v>
                </c:pt>
                <c:pt idx="2866">
                  <c:v>135.07370246500682</c:v>
                </c:pt>
                <c:pt idx="2867">
                  <c:v>136.07395020438497</c:v>
                </c:pt>
                <c:pt idx="2868">
                  <c:v>139.87365291713118</c:v>
                </c:pt>
                <c:pt idx="2869">
                  <c:v>138.93843676452371</c:v>
                </c:pt>
                <c:pt idx="2870">
                  <c:v>138.85172798216277</c:v>
                </c:pt>
                <c:pt idx="2871">
                  <c:v>140.98228663446054</c:v>
                </c:pt>
                <c:pt idx="2872">
                  <c:v>140.51777530038399</c:v>
                </c:pt>
                <c:pt idx="2873">
                  <c:v>141.36937941285765</c:v>
                </c:pt>
                <c:pt idx="2874">
                  <c:v>143.20574755357364</c:v>
                </c:pt>
                <c:pt idx="2875">
                  <c:v>143.82199925678185</c:v>
                </c:pt>
                <c:pt idx="2876">
                  <c:v>141.95156695156695</c:v>
                </c:pt>
                <c:pt idx="2877">
                  <c:v>141.49944258639911</c:v>
                </c:pt>
                <c:pt idx="2878">
                  <c:v>139.88913662826707</c:v>
                </c:pt>
                <c:pt idx="2879">
                  <c:v>140.7159668029233</c:v>
                </c:pt>
                <c:pt idx="2880">
                  <c:v>142.70407531277095</c:v>
                </c:pt>
                <c:pt idx="2881">
                  <c:v>142.02898550724638</c:v>
                </c:pt>
                <c:pt idx="2882">
                  <c:v>140.22358478880219</c:v>
                </c:pt>
                <c:pt idx="2883">
                  <c:v>138.33766877245137</c:v>
                </c:pt>
                <c:pt idx="2884">
                  <c:v>140.14306949089558</c:v>
                </c:pt>
                <c:pt idx="2885">
                  <c:v>142.08472686733555</c:v>
                </c:pt>
                <c:pt idx="2886">
                  <c:v>140.95441595441594</c:v>
                </c:pt>
                <c:pt idx="2887">
                  <c:v>135.74569552830422</c:v>
                </c:pt>
                <c:pt idx="2888">
                  <c:v>135.39576365663322</c:v>
                </c:pt>
                <c:pt idx="2889">
                  <c:v>132.21540938932242</c:v>
                </c:pt>
                <c:pt idx="2890">
                  <c:v>133.5934596804162</c:v>
                </c:pt>
                <c:pt idx="2891">
                  <c:v>135.69924439489657</c:v>
                </c:pt>
                <c:pt idx="2892">
                  <c:v>132.73875882571534</c:v>
                </c:pt>
                <c:pt idx="2893">
                  <c:v>133.01436888393408</c:v>
                </c:pt>
                <c:pt idx="2894">
                  <c:v>136.57562244518766</c:v>
                </c:pt>
                <c:pt idx="2895">
                  <c:v>135.51343986126594</c:v>
                </c:pt>
                <c:pt idx="2896">
                  <c:v>135.1139601139601</c:v>
                </c:pt>
                <c:pt idx="2897">
                  <c:v>136.51678434287129</c:v>
                </c:pt>
                <c:pt idx="2898">
                  <c:v>132.58392171435648</c:v>
                </c:pt>
                <c:pt idx="2899">
                  <c:v>134.77951195342499</c:v>
                </c:pt>
                <c:pt idx="2900">
                  <c:v>136.06156323547629</c:v>
                </c:pt>
                <c:pt idx="2901">
                  <c:v>136.69639539204755</c:v>
                </c:pt>
                <c:pt idx="2902">
                  <c:v>138.09302613650439</c:v>
                </c:pt>
                <c:pt idx="2903">
                  <c:v>136.98748916140221</c:v>
                </c:pt>
                <c:pt idx="2904">
                  <c:v>137.4581939799331</c:v>
                </c:pt>
                <c:pt idx="2905">
                  <c:v>136.23807754242537</c:v>
                </c:pt>
                <c:pt idx="2906">
                  <c:v>136.3402700359222</c:v>
                </c:pt>
                <c:pt idx="2907">
                  <c:v>133.68945868945869</c:v>
                </c:pt>
                <c:pt idx="2908">
                  <c:v>134.03010033444815</c:v>
                </c:pt>
                <c:pt idx="2909">
                  <c:v>131.28328997894215</c:v>
                </c:pt>
                <c:pt idx="2910">
                  <c:v>130.33568685742597</c:v>
                </c:pt>
                <c:pt idx="2911">
                  <c:v>131.47219125479995</c:v>
                </c:pt>
                <c:pt idx="2912">
                  <c:v>131.81592964201658</c:v>
                </c:pt>
                <c:pt idx="2913">
                  <c:v>128.39093273875881</c:v>
                </c:pt>
                <c:pt idx="2914">
                  <c:v>126.90449646971385</c:v>
                </c:pt>
                <c:pt idx="2915">
                  <c:v>125.94450637928898</c:v>
                </c:pt>
                <c:pt idx="2916">
                  <c:v>124.21962095875139</c:v>
                </c:pt>
                <c:pt idx="2917">
                  <c:v>123.03047194351542</c:v>
                </c:pt>
                <c:pt idx="2918">
                  <c:v>124.22581444320573</c:v>
                </c:pt>
                <c:pt idx="2919">
                  <c:v>126.5205004335439</c:v>
                </c:pt>
                <c:pt idx="2920">
                  <c:v>122.12002972872537</c:v>
                </c:pt>
                <c:pt idx="2921">
                  <c:v>123.35872661959618</c:v>
                </c:pt>
                <c:pt idx="2922">
                  <c:v>123.00260126347082</c:v>
                </c:pt>
                <c:pt idx="2923">
                  <c:v>123.25653412609934</c:v>
                </c:pt>
                <c:pt idx="2924">
                  <c:v>124.17316982534373</c:v>
                </c:pt>
                <c:pt idx="2925">
                  <c:v>120.94017094017093</c:v>
                </c:pt>
                <c:pt idx="2926">
                  <c:v>120.25269416573764</c:v>
                </c:pt>
                <c:pt idx="2927">
                  <c:v>117.93633097980924</c:v>
                </c:pt>
                <c:pt idx="2928">
                  <c:v>118.59284033197076</c:v>
                </c:pt>
                <c:pt idx="2929">
                  <c:v>118.66096866096865</c:v>
                </c:pt>
                <c:pt idx="2930">
                  <c:v>121.82274247491638</c:v>
                </c:pt>
                <c:pt idx="2931">
                  <c:v>123.82323795367273</c:v>
                </c:pt>
                <c:pt idx="2932">
                  <c:v>122.55047689830297</c:v>
                </c:pt>
                <c:pt idx="2933">
                  <c:v>122.99331103678929</c:v>
                </c:pt>
                <c:pt idx="2934">
                  <c:v>123.23176018828192</c:v>
                </c:pt>
                <c:pt idx="2935">
                  <c:v>123.94091415830546</c:v>
                </c:pt>
                <c:pt idx="2936">
                  <c:v>123.79536727362813</c:v>
                </c:pt>
                <c:pt idx="2937">
                  <c:v>125.28799702712746</c:v>
                </c:pt>
                <c:pt idx="2938">
                  <c:v>124.97522606218257</c:v>
                </c:pt>
                <c:pt idx="2939">
                  <c:v>127.95738882695404</c:v>
                </c:pt>
                <c:pt idx="2940">
                  <c:v>128.96073330855938</c:v>
                </c:pt>
                <c:pt idx="2941">
                  <c:v>127.344233865973</c:v>
                </c:pt>
                <c:pt idx="2942">
                  <c:v>125.70605722779635</c:v>
                </c:pt>
                <c:pt idx="2943">
                  <c:v>123.23795367273628</c:v>
                </c:pt>
                <c:pt idx="2944">
                  <c:v>123.03976217019695</c:v>
                </c:pt>
                <c:pt idx="2945">
                  <c:v>124.5819397993311</c:v>
                </c:pt>
                <c:pt idx="2946">
                  <c:v>123.67459432676823</c:v>
                </c:pt>
                <c:pt idx="2947">
                  <c:v>129.66059705190139</c:v>
                </c:pt>
                <c:pt idx="2948">
                  <c:v>130.44716957760434</c:v>
                </c:pt>
                <c:pt idx="2949">
                  <c:v>131.99554069119287</c:v>
                </c:pt>
                <c:pt idx="2950">
                  <c:v>130.98909946736032</c:v>
                </c:pt>
                <c:pt idx="2951">
                  <c:v>129.43453486931747</c:v>
                </c:pt>
                <c:pt idx="2952">
                  <c:v>127.396878483835</c:v>
                </c:pt>
                <c:pt idx="2953">
                  <c:v>126.85185185185185</c:v>
                </c:pt>
                <c:pt idx="2954">
                  <c:v>127.47429703951443</c:v>
                </c:pt>
                <c:pt idx="2955">
                  <c:v>127.41236219497088</c:v>
                </c:pt>
                <c:pt idx="2956">
                  <c:v>125.39328626285148</c:v>
                </c:pt>
                <c:pt idx="2957">
                  <c:v>127.71584293323423</c:v>
                </c:pt>
                <c:pt idx="2958">
                  <c:v>127.91093769354639</c:v>
                </c:pt>
                <c:pt idx="2959">
                  <c:v>127.31326644370122</c:v>
                </c:pt>
                <c:pt idx="2960">
                  <c:v>129.27969775795862</c:v>
                </c:pt>
                <c:pt idx="2961">
                  <c:v>130.70419918246006</c:v>
                </c:pt>
                <c:pt idx="2962">
                  <c:v>127.87997027127462</c:v>
                </c:pt>
                <c:pt idx="2963">
                  <c:v>124.17936330979809</c:v>
                </c:pt>
                <c:pt idx="2964">
                  <c:v>123.27201783723523</c:v>
                </c:pt>
                <c:pt idx="2965">
                  <c:v>123.59407902886163</c:v>
                </c:pt>
                <c:pt idx="2966">
                  <c:v>128.49931871671001</c:v>
                </c:pt>
                <c:pt idx="2967">
                  <c:v>130.85903629381889</c:v>
                </c:pt>
                <c:pt idx="2968">
                  <c:v>131.56819026384244</c:v>
                </c:pt>
                <c:pt idx="2969">
                  <c:v>131.06651802303975</c:v>
                </c:pt>
                <c:pt idx="2970">
                  <c:v>131.4783847392543</c:v>
                </c:pt>
                <c:pt idx="2971">
                  <c:v>128.38164251207729</c:v>
                </c:pt>
                <c:pt idx="2972">
                  <c:v>133.45410628019323</c:v>
                </c:pt>
                <c:pt idx="2973">
                  <c:v>134.86002725133159</c:v>
                </c:pt>
                <c:pt idx="2974">
                  <c:v>135.94698377307071</c:v>
                </c:pt>
                <c:pt idx="2975">
                  <c:v>135.64969651926174</c:v>
                </c:pt>
                <c:pt idx="2976">
                  <c:v>135.66518023039762</c:v>
                </c:pt>
                <c:pt idx="2977">
                  <c:v>135.52582683017465</c:v>
                </c:pt>
                <c:pt idx="2978">
                  <c:v>135.35240926545274</c:v>
                </c:pt>
                <c:pt idx="2979">
                  <c:v>135.9376935463892</c:v>
                </c:pt>
                <c:pt idx="2980">
                  <c:v>135.51034311903877</c:v>
                </c:pt>
                <c:pt idx="2981">
                  <c:v>136.84503901895206</c:v>
                </c:pt>
                <c:pt idx="2982">
                  <c:v>136.92245757463149</c:v>
                </c:pt>
                <c:pt idx="2983">
                  <c:v>136.74904000990958</c:v>
                </c:pt>
                <c:pt idx="2984">
                  <c:v>138.83624427102689</c:v>
                </c:pt>
                <c:pt idx="2985">
                  <c:v>137.03084355258267</c:v>
                </c:pt>
                <c:pt idx="2986">
                  <c:v>137.48916140220487</c:v>
                </c:pt>
                <c:pt idx="2987">
                  <c:v>136.93174780131301</c:v>
                </c:pt>
                <c:pt idx="2988">
                  <c:v>137.5387092778397</c:v>
                </c:pt>
                <c:pt idx="2989">
                  <c:v>137.12374581939798</c:v>
                </c:pt>
                <c:pt idx="2990">
                  <c:v>136.55084850737023</c:v>
                </c:pt>
                <c:pt idx="2991">
                  <c:v>135.1944754118667</c:v>
                </c:pt>
                <c:pt idx="2992">
                  <c:v>136.99987613031089</c:v>
                </c:pt>
                <c:pt idx="2993">
                  <c:v>137.90722160287376</c:v>
                </c:pt>
                <c:pt idx="2994">
                  <c:v>136.126594822247</c:v>
                </c:pt>
                <c:pt idx="2995">
                  <c:v>136.66233122754861</c:v>
                </c:pt>
                <c:pt idx="2996">
                  <c:v>140.19571410875758</c:v>
                </c:pt>
                <c:pt idx="2997">
                  <c:v>142.38820760559889</c:v>
                </c:pt>
                <c:pt idx="2998">
                  <c:v>141.90821256038646</c:v>
                </c:pt>
                <c:pt idx="2999">
                  <c:v>143.03852347330607</c:v>
                </c:pt>
                <c:pt idx="3000">
                  <c:v>143.69812956769476</c:v>
                </c:pt>
                <c:pt idx="3001">
                  <c:v>143.64548494983276</c:v>
                </c:pt>
                <c:pt idx="3002">
                  <c:v>148.21627647714604</c:v>
                </c:pt>
                <c:pt idx="3003">
                  <c:v>147.59692803171063</c:v>
                </c:pt>
                <c:pt idx="3004">
                  <c:v>146.03616994921342</c:v>
                </c:pt>
                <c:pt idx="3005">
                  <c:v>146.66171187910317</c:v>
                </c:pt>
                <c:pt idx="3006">
                  <c:v>145.26508113464635</c:v>
                </c:pt>
                <c:pt idx="3007">
                  <c:v>146.35823114083982</c:v>
                </c:pt>
                <c:pt idx="3008">
                  <c:v>145.01114827201783</c:v>
                </c:pt>
                <c:pt idx="3009">
                  <c:v>146.1321689582559</c:v>
                </c:pt>
                <c:pt idx="3010">
                  <c:v>142.11259754738015</c:v>
                </c:pt>
                <c:pt idx="3011">
                  <c:v>142.84033197076675</c:v>
                </c:pt>
                <c:pt idx="3012">
                  <c:v>141.21454230149882</c:v>
                </c:pt>
                <c:pt idx="3013">
                  <c:v>143.69503282546759</c:v>
                </c:pt>
                <c:pt idx="3014">
                  <c:v>143.65167843428713</c:v>
                </c:pt>
                <c:pt idx="3015">
                  <c:v>143.15619967793882</c:v>
                </c:pt>
                <c:pt idx="3016">
                  <c:v>144.28031710640406</c:v>
                </c:pt>
                <c:pt idx="3017">
                  <c:v>146.37681159420288</c:v>
                </c:pt>
                <c:pt idx="3018">
                  <c:v>143.93657871918739</c:v>
                </c:pt>
                <c:pt idx="3019">
                  <c:v>142.47801313018704</c:v>
                </c:pt>
                <c:pt idx="3020">
                  <c:v>141.78434287129937</c:v>
                </c:pt>
                <c:pt idx="3021">
                  <c:v>143.36368140715967</c:v>
                </c:pt>
                <c:pt idx="3022">
                  <c:v>142.88368636194721</c:v>
                </c:pt>
                <c:pt idx="3023">
                  <c:v>143.27077914034436</c:v>
                </c:pt>
                <c:pt idx="3024">
                  <c:v>146.13836244271027</c:v>
                </c:pt>
                <c:pt idx="3025">
                  <c:v>147.96853709897186</c:v>
                </c:pt>
                <c:pt idx="3026">
                  <c:v>147.92208596556421</c:v>
                </c:pt>
                <c:pt idx="3027">
                  <c:v>146.11049176266567</c:v>
                </c:pt>
                <c:pt idx="3028">
                  <c:v>145.95565465130682</c:v>
                </c:pt>
                <c:pt idx="3029">
                  <c:v>142.35104669887278</c:v>
                </c:pt>
                <c:pt idx="3030">
                  <c:v>143.05400718444196</c:v>
                </c:pt>
                <c:pt idx="3031">
                  <c:v>143.32652050043353</c:v>
                </c:pt>
                <c:pt idx="3032">
                  <c:v>143.16548990462033</c:v>
                </c:pt>
                <c:pt idx="3033">
                  <c:v>142.31388579214666</c:v>
                </c:pt>
                <c:pt idx="3034">
                  <c:v>144.3422519509476</c:v>
                </c:pt>
                <c:pt idx="3035">
                  <c:v>143.34819769602379</c:v>
                </c:pt>
                <c:pt idx="3036">
                  <c:v>144.91824600520252</c:v>
                </c:pt>
                <c:pt idx="3037">
                  <c:v>144.49399232007926</c:v>
                </c:pt>
                <c:pt idx="3038">
                  <c:v>142.93633097980924</c:v>
                </c:pt>
                <c:pt idx="3039">
                  <c:v>143.94896568809611</c:v>
                </c:pt>
                <c:pt idx="3040">
                  <c:v>141.55208720426111</c:v>
                </c:pt>
                <c:pt idx="3041">
                  <c:v>141.00396383005079</c:v>
                </c:pt>
                <c:pt idx="3042">
                  <c:v>140.64164498947108</c:v>
                </c:pt>
                <c:pt idx="3043">
                  <c:v>140.2855196333457</c:v>
                </c:pt>
                <c:pt idx="3044">
                  <c:v>140.84293323423756</c:v>
                </c:pt>
                <c:pt idx="3045">
                  <c:v>139.81481481481481</c:v>
                </c:pt>
                <c:pt idx="3046">
                  <c:v>139.1428217515174</c:v>
                </c:pt>
                <c:pt idx="3047">
                  <c:v>136.81716833890746</c:v>
                </c:pt>
                <c:pt idx="3048">
                  <c:v>141.01015731450514</c:v>
                </c:pt>
                <c:pt idx="3049">
                  <c:v>141.34770221726743</c:v>
                </c:pt>
                <c:pt idx="3050">
                  <c:v>141.91440604484083</c:v>
                </c:pt>
                <c:pt idx="3051">
                  <c:v>143.48445435401956</c:v>
                </c:pt>
                <c:pt idx="3052">
                  <c:v>145.16908212560386</c:v>
                </c:pt>
                <c:pt idx="3053">
                  <c:v>144.54044345348692</c:v>
                </c:pt>
                <c:pt idx="3054">
                  <c:v>144.61476526693917</c:v>
                </c:pt>
                <c:pt idx="3055">
                  <c:v>144.54973368016846</c:v>
                </c:pt>
                <c:pt idx="3056">
                  <c:v>147.008547008547</c:v>
                </c:pt>
                <c:pt idx="3057">
                  <c:v>147.03951443081877</c:v>
                </c:pt>
                <c:pt idx="3058">
                  <c:v>147.96853709897186</c:v>
                </c:pt>
                <c:pt idx="3059">
                  <c:v>148.21008299269167</c:v>
                </c:pt>
                <c:pt idx="3060">
                  <c:v>148.37730707295924</c:v>
                </c:pt>
                <c:pt idx="3061">
                  <c:v>148.46711259754738</c:v>
                </c:pt>
                <c:pt idx="3062">
                  <c:v>147.98402081010775</c:v>
                </c:pt>
                <c:pt idx="3063">
                  <c:v>148.16363185928404</c:v>
                </c:pt>
                <c:pt idx="3064">
                  <c:v>149.50452124365168</c:v>
                </c:pt>
                <c:pt idx="3065">
                  <c:v>150.06812832899789</c:v>
                </c:pt>
                <c:pt idx="3066">
                  <c:v>150.07741855567943</c:v>
                </c:pt>
                <c:pt idx="3067">
                  <c:v>150.19819150253932</c:v>
                </c:pt>
                <c:pt idx="3068">
                  <c:v>150.71225071225069</c:v>
                </c:pt>
                <c:pt idx="3069">
                  <c:v>151.99430199430199</c:v>
                </c:pt>
                <c:pt idx="3070">
                  <c:v>153.1772575250836</c:v>
                </c:pt>
                <c:pt idx="3071">
                  <c:v>153.00693670258886</c:v>
                </c:pt>
                <c:pt idx="3072">
                  <c:v>151.82088442958008</c:v>
                </c:pt>
                <c:pt idx="3073">
                  <c:v>151.82088442958008</c:v>
                </c:pt>
                <c:pt idx="3074">
                  <c:v>152.20178372352285</c:v>
                </c:pt>
                <c:pt idx="3075">
                  <c:v>151.19534249969033</c:v>
                </c:pt>
                <c:pt idx="3076">
                  <c:v>151.25727734423387</c:v>
                </c:pt>
                <c:pt idx="3077">
                  <c:v>154.97027127461908</c:v>
                </c:pt>
                <c:pt idx="3078">
                  <c:v>154.1062801932367</c:v>
                </c:pt>
                <c:pt idx="3079">
                  <c:v>154.04434534869316</c:v>
                </c:pt>
                <c:pt idx="3080">
                  <c:v>154.04124860646598</c:v>
                </c:pt>
                <c:pt idx="3081">
                  <c:v>153.44977084107518</c:v>
                </c:pt>
                <c:pt idx="3082">
                  <c:v>154.23944010900533</c:v>
                </c:pt>
                <c:pt idx="3083">
                  <c:v>155.843552582683</c:v>
                </c:pt>
                <c:pt idx="3084">
                  <c:v>157.20302242041373</c:v>
                </c:pt>
                <c:pt idx="3085">
                  <c:v>156.85928403319707</c:v>
                </c:pt>
                <c:pt idx="3086">
                  <c:v>156.66109253065775</c:v>
                </c:pt>
                <c:pt idx="3087">
                  <c:v>156.11296915644741</c:v>
                </c:pt>
                <c:pt idx="3088">
                  <c:v>157.55914777653908</c:v>
                </c:pt>
                <c:pt idx="3089">
                  <c:v>156.60225442834138</c:v>
                </c:pt>
                <c:pt idx="3090">
                  <c:v>157.29282794500185</c:v>
                </c:pt>
                <c:pt idx="3091">
                  <c:v>156.89025145546884</c:v>
                </c:pt>
                <c:pt idx="3092">
                  <c:v>157.14418431809736</c:v>
                </c:pt>
                <c:pt idx="3093">
                  <c:v>158.66158800941409</c:v>
                </c:pt>
                <c:pt idx="3094">
                  <c:v>160.32144184318096</c:v>
                </c:pt>
                <c:pt idx="3095">
                  <c:v>159.95602626037407</c:v>
                </c:pt>
                <c:pt idx="3096">
                  <c:v>160.68066394153351</c:v>
                </c:pt>
                <c:pt idx="3097">
                  <c:v>160.84479127957388</c:v>
                </c:pt>
                <c:pt idx="3098">
                  <c:v>160.1139601139601</c:v>
                </c:pt>
                <c:pt idx="3099">
                  <c:v>162.10206862380775</c:v>
                </c:pt>
                <c:pt idx="3100">
                  <c:v>158.082497212932</c:v>
                </c:pt>
                <c:pt idx="3101">
                  <c:v>158.65229778273257</c:v>
                </c:pt>
                <c:pt idx="3102">
                  <c:v>158.20636690201906</c:v>
                </c:pt>
                <c:pt idx="3103">
                  <c:v>156.11916264090178</c:v>
                </c:pt>
                <c:pt idx="3104">
                  <c:v>157.9183698748916</c:v>
                </c:pt>
                <c:pt idx="3105">
                  <c:v>156.94908955778521</c:v>
                </c:pt>
                <c:pt idx="3106">
                  <c:v>158.7544902762294</c:v>
                </c:pt>
                <c:pt idx="3107">
                  <c:v>159.20042115694289</c:v>
                </c:pt>
                <c:pt idx="3108">
                  <c:v>157.81617738139477</c:v>
                </c:pt>
                <c:pt idx="3109">
                  <c:v>157.67372723894462</c:v>
                </c:pt>
                <c:pt idx="3110">
                  <c:v>157.36095627399973</c:v>
                </c:pt>
                <c:pt idx="3111">
                  <c:v>159.20971138362441</c:v>
                </c:pt>
                <c:pt idx="3112">
                  <c:v>158.92171435649698</c:v>
                </c:pt>
                <c:pt idx="3113">
                  <c:v>154.88046575003096</c:v>
                </c:pt>
                <c:pt idx="3114">
                  <c:v>156.17800074321812</c:v>
                </c:pt>
                <c:pt idx="3115">
                  <c:v>156.70754366406538</c:v>
                </c:pt>
                <c:pt idx="3116">
                  <c:v>153.07816177381395</c:v>
                </c:pt>
                <c:pt idx="3117">
                  <c:v>154.90523968784836</c:v>
                </c:pt>
                <c:pt idx="3118">
                  <c:v>155.97361575622443</c:v>
                </c:pt>
                <c:pt idx="3119">
                  <c:v>154.41905115818159</c:v>
                </c:pt>
                <c:pt idx="3120">
                  <c:v>154.65750030967422</c:v>
                </c:pt>
                <c:pt idx="3121">
                  <c:v>157.65205004335439</c:v>
                </c:pt>
                <c:pt idx="3122">
                  <c:v>157.00483091787439</c:v>
                </c:pt>
                <c:pt idx="3123">
                  <c:v>157.96791775052642</c:v>
                </c:pt>
                <c:pt idx="3124">
                  <c:v>158.01436888393408</c:v>
                </c:pt>
                <c:pt idx="3125">
                  <c:v>158.26520500433543</c:v>
                </c:pt>
                <c:pt idx="3126">
                  <c:v>158.4045584045584</c:v>
                </c:pt>
                <c:pt idx="3127">
                  <c:v>157.59321194103802</c:v>
                </c:pt>
                <c:pt idx="3128">
                  <c:v>159.68041620215533</c:v>
                </c:pt>
                <c:pt idx="3129">
                  <c:v>160.17279821627648</c:v>
                </c:pt>
                <c:pt idx="3130">
                  <c:v>158.53462157809983</c:v>
                </c:pt>
                <c:pt idx="3131">
                  <c:v>156.9893472067385</c:v>
                </c:pt>
                <c:pt idx="3132">
                  <c:v>158.37359098228663</c:v>
                </c:pt>
                <c:pt idx="3133">
                  <c:v>157.0450885668277</c:v>
                </c:pt>
                <c:pt idx="3134">
                  <c:v>157.69850117676205</c:v>
                </c:pt>
                <c:pt idx="3135">
                  <c:v>155.8992939427722</c:v>
                </c:pt>
                <c:pt idx="3136">
                  <c:v>155.88690697386349</c:v>
                </c:pt>
                <c:pt idx="3137">
                  <c:v>154.27969775795862</c:v>
                </c:pt>
                <c:pt idx="3138">
                  <c:v>155.71658615136874</c:v>
                </c:pt>
                <c:pt idx="3139">
                  <c:v>157.67372723894462</c:v>
                </c:pt>
                <c:pt idx="3140">
                  <c:v>156.37619224575747</c:v>
                </c:pt>
                <c:pt idx="3141">
                  <c:v>154.82472438994176</c:v>
                </c:pt>
                <c:pt idx="3142">
                  <c:v>154.40047070481853</c:v>
                </c:pt>
                <c:pt idx="3143">
                  <c:v>154.69775795862751</c:v>
                </c:pt>
                <c:pt idx="3144">
                  <c:v>155.4131054131054</c:v>
                </c:pt>
                <c:pt idx="3145">
                  <c:v>158.55010528923572</c:v>
                </c:pt>
                <c:pt idx="3146">
                  <c:v>160.06750898055245</c:v>
                </c:pt>
                <c:pt idx="3147">
                  <c:v>158.39836492010403</c:v>
                </c:pt>
                <c:pt idx="3148">
                  <c:v>157.27115074941162</c:v>
                </c:pt>
                <c:pt idx="3149">
                  <c:v>156.60535117056855</c:v>
                </c:pt>
                <c:pt idx="3150">
                  <c:v>153.2051282051282</c:v>
                </c:pt>
                <c:pt idx="3151">
                  <c:v>153.67892976588627</c:v>
                </c:pt>
                <c:pt idx="3152">
                  <c:v>154.54911433172302</c:v>
                </c:pt>
                <c:pt idx="3153">
                  <c:v>154.23324662455096</c:v>
                </c:pt>
                <c:pt idx="3154">
                  <c:v>157.80998389694042</c:v>
                </c:pt>
                <c:pt idx="3155">
                  <c:v>158.76997398736532</c:v>
                </c:pt>
                <c:pt idx="3156">
                  <c:v>160.15421776291339</c:v>
                </c:pt>
                <c:pt idx="3157">
                  <c:v>159.97460671373713</c:v>
                </c:pt>
                <c:pt idx="3158">
                  <c:v>161.82026508113461</c:v>
                </c:pt>
                <c:pt idx="3159">
                  <c:v>162.52632230893101</c:v>
                </c:pt>
                <c:pt idx="3160">
                  <c:v>162.77096494487799</c:v>
                </c:pt>
                <c:pt idx="3161">
                  <c:v>161.87290969899664</c:v>
                </c:pt>
                <c:pt idx="3162">
                  <c:v>164.15830546265329</c:v>
                </c:pt>
                <c:pt idx="3163">
                  <c:v>163.43986126594822</c:v>
                </c:pt>
                <c:pt idx="3164">
                  <c:v>164.24501424501423</c:v>
                </c:pt>
                <c:pt idx="3165">
                  <c:v>166.56447417316983</c:v>
                </c:pt>
                <c:pt idx="3166">
                  <c:v>165.7159668029233</c:v>
                </c:pt>
                <c:pt idx="3167">
                  <c:v>164.84887897931378</c:v>
                </c:pt>
                <c:pt idx="3168">
                  <c:v>164.70023535240927</c:v>
                </c:pt>
                <c:pt idx="3169">
                  <c:v>165.35055122011644</c:v>
                </c:pt>
                <c:pt idx="3170">
                  <c:v>165.25145546884676</c:v>
                </c:pt>
                <c:pt idx="3171">
                  <c:v>165.94512572773442</c:v>
                </c:pt>
                <c:pt idx="3172">
                  <c:v>165.20190759321193</c:v>
                </c:pt>
                <c:pt idx="3173">
                  <c:v>166.28576737272388</c:v>
                </c:pt>
                <c:pt idx="3174">
                  <c:v>166.64189272884923</c:v>
                </c:pt>
                <c:pt idx="3175">
                  <c:v>167.08782360956272</c:v>
                </c:pt>
                <c:pt idx="3176">
                  <c:v>163.86721169329863</c:v>
                </c:pt>
                <c:pt idx="3177">
                  <c:v>163.90746934225194</c:v>
                </c:pt>
                <c:pt idx="3178">
                  <c:v>164.56397869441346</c:v>
                </c:pt>
                <c:pt idx="3179">
                  <c:v>165.59519385606342</c:v>
                </c:pt>
                <c:pt idx="3180">
                  <c:v>163.94772699120523</c:v>
                </c:pt>
                <c:pt idx="3181">
                  <c:v>165.66022544283416</c:v>
                </c:pt>
                <c:pt idx="3182">
                  <c:v>163.02489780750651</c:v>
                </c:pt>
                <c:pt idx="3183">
                  <c:v>162.66257896692679</c:v>
                </c:pt>
                <c:pt idx="3184">
                  <c:v>163.7371485197572</c:v>
                </c:pt>
                <c:pt idx="3185">
                  <c:v>161.53846153846152</c:v>
                </c:pt>
                <c:pt idx="3186">
                  <c:v>161.00272513315991</c:v>
                </c:pt>
                <c:pt idx="3187">
                  <c:v>163.37482967917751</c:v>
                </c:pt>
                <c:pt idx="3188">
                  <c:v>162.95676947850859</c:v>
                </c:pt>
                <c:pt idx="3189">
                  <c:v>162.00916635699244</c:v>
                </c:pt>
                <c:pt idx="3190">
                  <c:v>162.30335686857424</c:v>
                </c:pt>
                <c:pt idx="3191">
                  <c:v>161.76142697881826</c:v>
                </c:pt>
                <c:pt idx="3192">
                  <c:v>162.60064412238327</c:v>
                </c:pt>
                <c:pt idx="3193">
                  <c:v>163.87340517775297</c:v>
                </c:pt>
                <c:pt idx="3194">
                  <c:v>164.3007556051034</c:v>
                </c:pt>
                <c:pt idx="3195">
                  <c:v>164.0870803914282</c:v>
                </c:pt>
                <c:pt idx="3196">
                  <c:v>156.50935216152607</c:v>
                </c:pt>
                <c:pt idx="3197">
                  <c:v>154.25182707791402</c:v>
                </c:pt>
                <c:pt idx="3198">
                  <c:v>151.21082621082621</c:v>
                </c:pt>
                <c:pt idx="3199">
                  <c:v>153.18345100953795</c:v>
                </c:pt>
                <c:pt idx="3200">
                  <c:v>155.00123869689085</c:v>
                </c:pt>
                <c:pt idx="3201">
                  <c:v>156.02935711631363</c:v>
                </c:pt>
                <c:pt idx="3202">
                  <c:v>155.22110739502043</c:v>
                </c:pt>
                <c:pt idx="3203">
                  <c:v>157.45695528304222</c:v>
                </c:pt>
                <c:pt idx="3204">
                  <c:v>156.81283289978941</c:v>
                </c:pt>
                <c:pt idx="3205">
                  <c:v>155.18704323052148</c:v>
                </c:pt>
                <c:pt idx="3206">
                  <c:v>158.11346463520377</c:v>
                </c:pt>
                <c:pt idx="3207">
                  <c:v>155.0817539947974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2!$G$1</c:f>
              <c:strCache>
                <c:ptCount val="1"/>
                <c:pt idx="0">
                  <c:v>MSCI Europe USD NR</c:v>
                </c:pt>
              </c:strCache>
            </c:strRef>
          </c:tx>
          <c:spPr>
            <a:ln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2!$A$2:$A$3209</c:f>
              <c:numCache>
                <c:formatCode>m/d/yyyy</c:formatCode>
                <c:ptCount val="3208"/>
                <c:pt idx="0">
                  <c:v>36893</c:v>
                </c:pt>
                <c:pt idx="1">
                  <c:v>36894</c:v>
                </c:pt>
                <c:pt idx="2">
                  <c:v>36895</c:v>
                </c:pt>
                <c:pt idx="3">
                  <c:v>36896</c:v>
                </c:pt>
                <c:pt idx="4">
                  <c:v>36899</c:v>
                </c:pt>
                <c:pt idx="5">
                  <c:v>36900</c:v>
                </c:pt>
                <c:pt idx="6">
                  <c:v>36901</c:v>
                </c:pt>
                <c:pt idx="7">
                  <c:v>36902</c:v>
                </c:pt>
                <c:pt idx="8">
                  <c:v>36903</c:v>
                </c:pt>
                <c:pt idx="9">
                  <c:v>36906</c:v>
                </c:pt>
                <c:pt idx="10">
                  <c:v>36907</c:v>
                </c:pt>
                <c:pt idx="11">
                  <c:v>36908</c:v>
                </c:pt>
                <c:pt idx="12">
                  <c:v>36909</c:v>
                </c:pt>
                <c:pt idx="13">
                  <c:v>36910</c:v>
                </c:pt>
                <c:pt idx="14">
                  <c:v>36913</c:v>
                </c:pt>
                <c:pt idx="15">
                  <c:v>36914</c:v>
                </c:pt>
                <c:pt idx="16">
                  <c:v>36915</c:v>
                </c:pt>
                <c:pt idx="17">
                  <c:v>36916</c:v>
                </c:pt>
                <c:pt idx="18">
                  <c:v>36917</c:v>
                </c:pt>
                <c:pt idx="19">
                  <c:v>36920</c:v>
                </c:pt>
                <c:pt idx="20">
                  <c:v>36921</c:v>
                </c:pt>
                <c:pt idx="21">
                  <c:v>36922</c:v>
                </c:pt>
                <c:pt idx="22">
                  <c:v>36923</c:v>
                </c:pt>
                <c:pt idx="23">
                  <c:v>36924</c:v>
                </c:pt>
                <c:pt idx="24">
                  <c:v>36927</c:v>
                </c:pt>
                <c:pt idx="25">
                  <c:v>36928</c:v>
                </c:pt>
                <c:pt idx="26">
                  <c:v>36929</c:v>
                </c:pt>
                <c:pt idx="27">
                  <c:v>36930</c:v>
                </c:pt>
                <c:pt idx="28">
                  <c:v>36931</c:v>
                </c:pt>
                <c:pt idx="29">
                  <c:v>36934</c:v>
                </c:pt>
                <c:pt idx="30">
                  <c:v>36935</c:v>
                </c:pt>
                <c:pt idx="31">
                  <c:v>36936</c:v>
                </c:pt>
                <c:pt idx="32">
                  <c:v>36937</c:v>
                </c:pt>
                <c:pt idx="33">
                  <c:v>36938</c:v>
                </c:pt>
                <c:pt idx="34">
                  <c:v>36941</c:v>
                </c:pt>
                <c:pt idx="35">
                  <c:v>36942</c:v>
                </c:pt>
                <c:pt idx="36">
                  <c:v>36943</c:v>
                </c:pt>
                <c:pt idx="37">
                  <c:v>36944</c:v>
                </c:pt>
                <c:pt idx="38">
                  <c:v>36945</c:v>
                </c:pt>
                <c:pt idx="39">
                  <c:v>36948</c:v>
                </c:pt>
                <c:pt idx="40">
                  <c:v>36949</c:v>
                </c:pt>
                <c:pt idx="41">
                  <c:v>36950</c:v>
                </c:pt>
                <c:pt idx="42">
                  <c:v>36951</c:v>
                </c:pt>
                <c:pt idx="43">
                  <c:v>36952</c:v>
                </c:pt>
                <c:pt idx="44">
                  <c:v>36955</c:v>
                </c:pt>
                <c:pt idx="45">
                  <c:v>36956</c:v>
                </c:pt>
                <c:pt idx="46">
                  <c:v>36957</c:v>
                </c:pt>
                <c:pt idx="47">
                  <c:v>36958</c:v>
                </c:pt>
                <c:pt idx="48">
                  <c:v>36959</c:v>
                </c:pt>
                <c:pt idx="49">
                  <c:v>36962</c:v>
                </c:pt>
                <c:pt idx="50">
                  <c:v>36963</c:v>
                </c:pt>
                <c:pt idx="51">
                  <c:v>36964</c:v>
                </c:pt>
                <c:pt idx="52">
                  <c:v>36965</c:v>
                </c:pt>
                <c:pt idx="53">
                  <c:v>36966</c:v>
                </c:pt>
                <c:pt idx="54">
                  <c:v>36969</c:v>
                </c:pt>
                <c:pt idx="55">
                  <c:v>36970</c:v>
                </c:pt>
                <c:pt idx="56">
                  <c:v>36971</c:v>
                </c:pt>
                <c:pt idx="57">
                  <c:v>36972</c:v>
                </c:pt>
                <c:pt idx="58">
                  <c:v>36973</c:v>
                </c:pt>
                <c:pt idx="59">
                  <c:v>36976</c:v>
                </c:pt>
                <c:pt idx="60">
                  <c:v>36977</c:v>
                </c:pt>
                <c:pt idx="61">
                  <c:v>36978</c:v>
                </c:pt>
                <c:pt idx="62">
                  <c:v>36979</c:v>
                </c:pt>
                <c:pt idx="63">
                  <c:v>36980</c:v>
                </c:pt>
                <c:pt idx="64">
                  <c:v>36983</c:v>
                </c:pt>
                <c:pt idx="65">
                  <c:v>36984</c:v>
                </c:pt>
                <c:pt idx="66">
                  <c:v>36985</c:v>
                </c:pt>
                <c:pt idx="67">
                  <c:v>36986</c:v>
                </c:pt>
                <c:pt idx="68">
                  <c:v>36987</c:v>
                </c:pt>
                <c:pt idx="69">
                  <c:v>36990</c:v>
                </c:pt>
                <c:pt idx="70">
                  <c:v>36991</c:v>
                </c:pt>
                <c:pt idx="71">
                  <c:v>36992</c:v>
                </c:pt>
                <c:pt idx="72">
                  <c:v>36993</c:v>
                </c:pt>
                <c:pt idx="73">
                  <c:v>36998</c:v>
                </c:pt>
                <c:pt idx="74">
                  <c:v>36999</c:v>
                </c:pt>
                <c:pt idx="75">
                  <c:v>37000</c:v>
                </c:pt>
                <c:pt idx="76">
                  <c:v>37001</c:v>
                </c:pt>
                <c:pt idx="77">
                  <c:v>37004</c:v>
                </c:pt>
                <c:pt idx="78">
                  <c:v>37005</c:v>
                </c:pt>
                <c:pt idx="79">
                  <c:v>37006</c:v>
                </c:pt>
                <c:pt idx="80">
                  <c:v>37007</c:v>
                </c:pt>
                <c:pt idx="81">
                  <c:v>37008</c:v>
                </c:pt>
                <c:pt idx="82">
                  <c:v>37011</c:v>
                </c:pt>
                <c:pt idx="83">
                  <c:v>37013</c:v>
                </c:pt>
                <c:pt idx="84">
                  <c:v>37014</c:v>
                </c:pt>
                <c:pt idx="85">
                  <c:v>37015</c:v>
                </c:pt>
                <c:pt idx="86">
                  <c:v>37018</c:v>
                </c:pt>
                <c:pt idx="87">
                  <c:v>37019</c:v>
                </c:pt>
                <c:pt idx="88">
                  <c:v>37020</c:v>
                </c:pt>
                <c:pt idx="89">
                  <c:v>37021</c:v>
                </c:pt>
                <c:pt idx="90">
                  <c:v>37022</c:v>
                </c:pt>
                <c:pt idx="91">
                  <c:v>37025</c:v>
                </c:pt>
                <c:pt idx="92">
                  <c:v>37026</c:v>
                </c:pt>
                <c:pt idx="93">
                  <c:v>37027</c:v>
                </c:pt>
                <c:pt idx="94">
                  <c:v>37028</c:v>
                </c:pt>
                <c:pt idx="95">
                  <c:v>37029</c:v>
                </c:pt>
                <c:pt idx="96">
                  <c:v>37032</c:v>
                </c:pt>
                <c:pt idx="97">
                  <c:v>37033</c:v>
                </c:pt>
                <c:pt idx="98">
                  <c:v>37034</c:v>
                </c:pt>
                <c:pt idx="99">
                  <c:v>37035</c:v>
                </c:pt>
                <c:pt idx="100">
                  <c:v>37036</c:v>
                </c:pt>
                <c:pt idx="101">
                  <c:v>37039</c:v>
                </c:pt>
                <c:pt idx="102">
                  <c:v>37040</c:v>
                </c:pt>
                <c:pt idx="103">
                  <c:v>37041</c:v>
                </c:pt>
                <c:pt idx="104">
                  <c:v>37042</c:v>
                </c:pt>
                <c:pt idx="105">
                  <c:v>37043</c:v>
                </c:pt>
                <c:pt idx="106">
                  <c:v>37046</c:v>
                </c:pt>
                <c:pt idx="107">
                  <c:v>37047</c:v>
                </c:pt>
                <c:pt idx="108">
                  <c:v>37048</c:v>
                </c:pt>
                <c:pt idx="109">
                  <c:v>37049</c:v>
                </c:pt>
                <c:pt idx="110">
                  <c:v>37050</c:v>
                </c:pt>
                <c:pt idx="111">
                  <c:v>37053</c:v>
                </c:pt>
                <c:pt idx="112">
                  <c:v>37054</c:v>
                </c:pt>
                <c:pt idx="113">
                  <c:v>37055</c:v>
                </c:pt>
                <c:pt idx="114">
                  <c:v>37056</c:v>
                </c:pt>
                <c:pt idx="115">
                  <c:v>37057</c:v>
                </c:pt>
                <c:pt idx="116">
                  <c:v>37060</c:v>
                </c:pt>
                <c:pt idx="117">
                  <c:v>37061</c:v>
                </c:pt>
                <c:pt idx="118">
                  <c:v>37062</c:v>
                </c:pt>
                <c:pt idx="119">
                  <c:v>37063</c:v>
                </c:pt>
                <c:pt idx="120">
                  <c:v>37064</c:v>
                </c:pt>
                <c:pt idx="121">
                  <c:v>37067</c:v>
                </c:pt>
                <c:pt idx="122">
                  <c:v>37068</c:v>
                </c:pt>
                <c:pt idx="123">
                  <c:v>37069</c:v>
                </c:pt>
                <c:pt idx="124">
                  <c:v>37070</c:v>
                </c:pt>
                <c:pt idx="125">
                  <c:v>37071</c:v>
                </c:pt>
                <c:pt idx="126">
                  <c:v>37074</c:v>
                </c:pt>
                <c:pt idx="127">
                  <c:v>37075</c:v>
                </c:pt>
                <c:pt idx="128">
                  <c:v>37076</c:v>
                </c:pt>
                <c:pt idx="129">
                  <c:v>37077</c:v>
                </c:pt>
                <c:pt idx="130">
                  <c:v>37078</c:v>
                </c:pt>
                <c:pt idx="131">
                  <c:v>37081</c:v>
                </c:pt>
                <c:pt idx="132">
                  <c:v>37082</c:v>
                </c:pt>
                <c:pt idx="133">
                  <c:v>37083</c:v>
                </c:pt>
                <c:pt idx="134">
                  <c:v>37084</c:v>
                </c:pt>
                <c:pt idx="135">
                  <c:v>37085</c:v>
                </c:pt>
                <c:pt idx="136">
                  <c:v>37088</c:v>
                </c:pt>
                <c:pt idx="137">
                  <c:v>37089</c:v>
                </c:pt>
                <c:pt idx="138">
                  <c:v>37090</c:v>
                </c:pt>
                <c:pt idx="139">
                  <c:v>37091</c:v>
                </c:pt>
                <c:pt idx="140">
                  <c:v>37092</c:v>
                </c:pt>
                <c:pt idx="141">
                  <c:v>37095</c:v>
                </c:pt>
                <c:pt idx="142">
                  <c:v>37096</c:v>
                </c:pt>
                <c:pt idx="143">
                  <c:v>37097</c:v>
                </c:pt>
                <c:pt idx="144">
                  <c:v>37098</c:v>
                </c:pt>
                <c:pt idx="145">
                  <c:v>37099</c:v>
                </c:pt>
                <c:pt idx="146">
                  <c:v>37102</c:v>
                </c:pt>
                <c:pt idx="147">
                  <c:v>37103</c:v>
                </c:pt>
                <c:pt idx="148">
                  <c:v>37104</c:v>
                </c:pt>
                <c:pt idx="149">
                  <c:v>37105</c:v>
                </c:pt>
                <c:pt idx="150">
                  <c:v>37106</c:v>
                </c:pt>
                <c:pt idx="151">
                  <c:v>37109</c:v>
                </c:pt>
                <c:pt idx="152">
                  <c:v>37110</c:v>
                </c:pt>
                <c:pt idx="153">
                  <c:v>37111</c:v>
                </c:pt>
                <c:pt idx="154">
                  <c:v>37112</c:v>
                </c:pt>
                <c:pt idx="155">
                  <c:v>37113</c:v>
                </c:pt>
                <c:pt idx="156">
                  <c:v>37116</c:v>
                </c:pt>
                <c:pt idx="157">
                  <c:v>37117</c:v>
                </c:pt>
                <c:pt idx="158">
                  <c:v>37118</c:v>
                </c:pt>
                <c:pt idx="159">
                  <c:v>37119</c:v>
                </c:pt>
                <c:pt idx="160">
                  <c:v>37120</c:v>
                </c:pt>
                <c:pt idx="161">
                  <c:v>37123</c:v>
                </c:pt>
                <c:pt idx="162">
                  <c:v>37124</c:v>
                </c:pt>
                <c:pt idx="163">
                  <c:v>37125</c:v>
                </c:pt>
                <c:pt idx="164">
                  <c:v>37126</c:v>
                </c:pt>
                <c:pt idx="165">
                  <c:v>37127</c:v>
                </c:pt>
                <c:pt idx="166">
                  <c:v>37130</c:v>
                </c:pt>
                <c:pt idx="167">
                  <c:v>37131</c:v>
                </c:pt>
                <c:pt idx="168">
                  <c:v>37132</c:v>
                </c:pt>
                <c:pt idx="169">
                  <c:v>37133</c:v>
                </c:pt>
                <c:pt idx="170">
                  <c:v>37134</c:v>
                </c:pt>
                <c:pt idx="171">
                  <c:v>37137</c:v>
                </c:pt>
                <c:pt idx="172">
                  <c:v>37138</c:v>
                </c:pt>
                <c:pt idx="173">
                  <c:v>37139</c:v>
                </c:pt>
                <c:pt idx="174">
                  <c:v>37140</c:v>
                </c:pt>
                <c:pt idx="175">
                  <c:v>37141</c:v>
                </c:pt>
                <c:pt idx="176">
                  <c:v>37144</c:v>
                </c:pt>
                <c:pt idx="177">
                  <c:v>37145</c:v>
                </c:pt>
                <c:pt idx="178">
                  <c:v>37146</c:v>
                </c:pt>
                <c:pt idx="179">
                  <c:v>37147</c:v>
                </c:pt>
                <c:pt idx="180">
                  <c:v>37148</c:v>
                </c:pt>
                <c:pt idx="181">
                  <c:v>37151</c:v>
                </c:pt>
                <c:pt idx="182">
                  <c:v>37152</c:v>
                </c:pt>
                <c:pt idx="183">
                  <c:v>37153</c:v>
                </c:pt>
                <c:pt idx="184">
                  <c:v>37154</c:v>
                </c:pt>
                <c:pt idx="185">
                  <c:v>37155</c:v>
                </c:pt>
                <c:pt idx="186">
                  <c:v>37158</c:v>
                </c:pt>
                <c:pt idx="187">
                  <c:v>37159</c:v>
                </c:pt>
                <c:pt idx="188">
                  <c:v>37160</c:v>
                </c:pt>
                <c:pt idx="189">
                  <c:v>37161</c:v>
                </c:pt>
                <c:pt idx="190">
                  <c:v>37162</c:v>
                </c:pt>
                <c:pt idx="191">
                  <c:v>37165</c:v>
                </c:pt>
                <c:pt idx="192">
                  <c:v>37166</c:v>
                </c:pt>
                <c:pt idx="193">
                  <c:v>37167</c:v>
                </c:pt>
                <c:pt idx="194">
                  <c:v>37168</c:v>
                </c:pt>
                <c:pt idx="195">
                  <c:v>37169</c:v>
                </c:pt>
                <c:pt idx="196">
                  <c:v>37172</c:v>
                </c:pt>
                <c:pt idx="197">
                  <c:v>37173</c:v>
                </c:pt>
                <c:pt idx="198">
                  <c:v>37174</c:v>
                </c:pt>
                <c:pt idx="199">
                  <c:v>37175</c:v>
                </c:pt>
                <c:pt idx="200">
                  <c:v>37176</c:v>
                </c:pt>
                <c:pt idx="201">
                  <c:v>37179</c:v>
                </c:pt>
                <c:pt idx="202">
                  <c:v>37180</c:v>
                </c:pt>
                <c:pt idx="203">
                  <c:v>37181</c:v>
                </c:pt>
                <c:pt idx="204">
                  <c:v>37182</c:v>
                </c:pt>
                <c:pt idx="205">
                  <c:v>37183</c:v>
                </c:pt>
                <c:pt idx="206">
                  <c:v>37186</c:v>
                </c:pt>
                <c:pt idx="207">
                  <c:v>37187</c:v>
                </c:pt>
                <c:pt idx="208">
                  <c:v>37188</c:v>
                </c:pt>
                <c:pt idx="209">
                  <c:v>37189</c:v>
                </c:pt>
                <c:pt idx="210">
                  <c:v>37190</c:v>
                </c:pt>
                <c:pt idx="211">
                  <c:v>37193</c:v>
                </c:pt>
                <c:pt idx="212">
                  <c:v>37194</c:v>
                </c:pt>
                <c:pt idx="213">
                  <c:v>37195</c:v>
                </c:pt>
                <c:pt idx="214">
                  <c:v>37196</c:v>
                </c:pt>
                <c:pt idx="215">
                  <c:v>37197</c:v>
                </c:pt>
                <c:pt idx="216">
                  <c:v>37200</c:v>
                </c:pt>
                <c:pt idx="217">
                  <c:v>37201</c:v>
                </c:pt>
                <c:pt idx="218">
                  <c:v>37202</c:v>
                </c:pt>
                <c:pt idx="219">
                  <c:v>37203</c:v>
                </c:pt>
                <c:pt idx="220">
                  <c:v>37204</c:v>
                </c:pt>
                <c:pt idx="221">
                  <c:v>37207</c:v>
                </c:pt>
                <c:pt idx="222">
                  <c:v>37208</c:v>
                </c:pt>
                <c:pt idx="223">
                  <c:v>37209</c:v>
                </c:pt>
                <c:pt idx="224">
                  <c:v>37210</c:v>
                </c:pt>
                <c:pt idx="225">
                  <c:v>37211</c:v>
                </c:pt>
                <c:pt idx="226">
                  <c:v>37214</c:v>
                </c:pt>
                <c:pt idx="227">
                  <c:v>37215</c:v>
                </c:pt>
                <c:pt idx="228">
                  <c:v>37216</c:v>
                </c:pt>
                <c:pt idx="229">
                  <c:v>37217</c:v>
                </c:pt>
                <c:pt idx="230">
                  <c:v>37218</c:v>
                </c:pt>
                <c:pt idx="231">
                  <c:v>37221</c:v>
                </c:pt>
                <c:pt idx="232">
                  <c:v>37222</c:v>
                </c:pt>
                <c:pt idx="233">
                  <c:v>37223</c:v>
                </c:pt>
                <c:pt idx="234">
                  <c:v>37224</c:v>
                </c:pt>
                <c:pt idx="235">
                  <c:v>37225</c:v>
                </c:pt>
                <c:pt idx="236">
                  <c:v>37228</c:v>
                </c:pt>
                <c:pt idx="237">
                  <c:v>37229</c:v>
                </c:pt>
                <c:pt idx="238">
                  <c:v>37230</c:v>
                </c:pt>
                <c:pt idx="239">
                  <c:v>37231</c:v>
                </c:pt>
                <c:pt idx="240">
                  <c:v>37232</c:v>
                </c:pt>
                <c:pt idx="241">
                  <c:v>37235</c:v>
                </c:pt>
                <c:pt idx="242">
                  <c:v>37236</c:v>
                </c:pt>
                <c:pt idx="243">
                  <c:v>37237</c:v>
                </c:pt>
                <c:pt idx="244">
                  <c:v>37238</c:v>
                </c:pt>
                <c:pt idx="245">
                  <c:v>37239</c:v>
                </c:pt>
                <c:pt idx="246">
                  <c:v>37242</c:v>
                </c:pt>
                <c:pt idx="247">
                  <c:v>37243</c:v>
                </c:pt>
                <c:pt idx="248">
                  <c:v>37244</c:v>
                </c:pt>
                <c:pt idx="249">
                  <c:v>37245</c:v>
                </c:pt>
                <c:pt idx="250">
                  <c:v>37246</c:v>
                </c:pt>
                <c:pt idx="251">
                  <c:v>37249</c:v>
                </c:pt>
                <c:pt idx="252">
                  <c:v>37252</c:v>
                </c:pt>
                <c:pt idx="253">
                  <c:v>37253</c:v>
                </c:pt>
                <c:pt idx="254">
                  <c:v>37258</c:v>
                </c:pt>
                <c:pt idx="255">
                  <c:v>37259</c:v>
                </c:pt>
                <c:pt idx="256">
                  <c:v>37260</c:v>
                </c:pt>
                <c:pt idx="257">
                  <c:v>37263</c:v>
                </c:pt>
                <c:pt idx="258">
                  <c:v>37264</c:v>
                </c:pt>
                <c:pt idx="259">
                  <c:v>37265</c:v>
                </c:pt>
                <c:pt idx="260">
                  <c:v>37266</c:v>
                </c:pt>
                <c:pt idx="261">
                  <c:v>37267</c:v>
                </c:pt>
                <c:pt idx="262">
                  <c:v>37270</c:v>
                </c:pt>
                <c:pt idx="263">
                  <c:v>37271</c:v>
                </c:pt>
                <c:pt idx="264">
                  <c:v>37272</c:v>
                </c:pt>
                <c:pt idx="265">
                  <c:v>37273</c:v>
                </c:pt>
                <c:pt idx="266">
                  <c:v>37274</c:v>
                </c:pt>
                <c:pt idx="267">
                  <c:v>37277</c:v>
                </c:pt>
                <c:pt idx="268">
                  <c:v>37278</c:v>
                </c:pt>
                <c:pt idx="269">
                  <c:v>37279</c:v>
                </c:pt>
                <c:pt idx="270">
                  <c:v>37280</c:v>
                </c:pt>
                <c:pt idx="271">
                  <c:v>37281</c:v>
                </c:pt>
                <c:pt idx="272">
                  <c:v>37284</c:v>
                </c:pt>
                <c:pt idx="273">
                  <c:v>37285</c:v>
                </c:pt>
                <c:pt idx="274">
                  <c:v>37286</c:v>
                </c:pt>
                <c:pt idx="275">
                  <c:v>37287</c:v>
                </c:pt>
                <c:pt idx="276">
                  <c:v>37288</c:v>
                </c:pt>
                <c:pt idx="277">
                  <c:v>37291</c:v>
                </c:pt>
                <c:pt idx="278">
                  <c:v>37292</c:v>
                </c:pt>
                <c:pt idx="279">
                  <c:v>37293</c:v>
                </c:pt>
                <c:pt idx="280">
                  <c:v>37294</c:v>
                </c:pt>
                <c:pt idx="281">
                  <c:v>37295</c:v>
                </c:pt>
                <c:pt idx="282">
                  <c:v>37298</c:v>
                </c:pt>
                <c:pt idx="283">
                  <c:v>37299</c:v>
                </c:pt>
                <c:pt idx="284">
                  <c:v>37300</c:v>
                </c:pt>
                <c:pt idx="285">
                  <c:v>37301</c:v>
                </c:pt>
                <c:pt idx="286">
                  <c:v>37302</c:v>
                </c:pt>
                <c:pt idx="287">
                  <c:v>37305</c:v>
                </c:pt>
                <c:pt idx="288">
                  <c:v>37306</c:v>
                </c:pt>
                <c:pt idx="289">
                  <c:v>37307</c:v>
                </c:pt>
                <c:pt idx="290">
                  <c:v>37308</c:v>
                </c:pt>
                <c:pt idx="291">
                  <c:v>37309</c:v>
                </c:pt>
                <c:pt idx="292">
                  <c:v>37312</c:v>
                </c:pt>
                <c:pt idx="293">
                  <c:v>37313</c:v>
                </c:pt>
                <c:pt idx="294">
                  <c:v>37314</c:v>
                </c:pt>
                <c:pt idx="295">
                  <c:v>37315</c:v>
                </c:pt>
                <c:pt idx="296">
                  <c:v>37316</c:v>
                </c:pt>
                <c:pt idx="297">
                  <c:v>37319</c:v>
                </c:pt>
                <c:pt idx="298">
                  <c:v>37320</c:v>
                </c:pt>
                <c:pt idx="299">
                  <c:v>37321</c:v>
                </c:pt>
                <c:pt idx="300">
                  <c:v>37322</c:v>
                </c:pt>
                <c:pt idx="301">
                  <c:v>37323</c:v>
                </c:pt>
                <c:pt idx="302">
                  <c:v>37326</c:v>
                </c:pt>
                <c:pt idx="303">
                  <c:v>37327</c:v>
                </c:pt>
                <c:pt idx="304">
                  <c:v>37328</c:v>
                </c:pt>
                <c:pt idx="305">
                  <c:v>37329</c:v>
                </c:pt>
                <c:pt idx="306">
                  <c:v>37330</c:v>
                </c:pt>
                <c:pt idx="307">
                  <c:v>37333</c:v>
                </c:pt>
                <c:pt idx="308">
                  <c:v>37334</c:v>
                </c:pt>
                <c:pt idx="309">
                  <c:v>37335</c:v>
                </c:pt>
                <c:pt idx="310">
                  <c:v>37336</c:v>
                </c:pt>
                <c:pt idx="311">
                  <c:v>37337</c:v>
                </c:pt>
                <c:pt idx="312">
                  <c:v>37340</c:v>
                </c:pt>
                <c:pt idx="313">
                  <c:v>37341</c:v>
                </c:pt>
                <c:pt idx="314">
                  <c:v>37342</c:v>
                </c:pt>
                <c:pt idx="315">
                  <c:v>37343</c:v>
                </c:pt>
                <c:pt idx="316">
                  <c:v>37348</c:v>
                </c:pt>
                <c:pt idx="317">
                  <c:v>37349</c:v>
                </c:pt>
                <c:pt idx="318">
                  <c:v>37350</c:v>
                </c:pt>
                <c:pt idx="319">
                  <c:v>37351</c:v>
                </c:pt>
                <c:pt idx="320">
                  <c:v>37354</c:v>
                </c:pt>
                <c:pt idx="321">
                  <c:v>37355</c:v>
                </c:pt>
                <c:pt idx="322">
                  <c:v>37356</c:v>
                </c:pt>
                <c:pt idx="323">
                  <c:v>37357</c:v>
                </c:pt>
                <c:pt idx="324">
                  <c:v>37358</c:v>
                </c:pt>
                <c:pt idx="325">
                  <c:v>37361</c:v>
                </c:pt>
                <c:pt idx="326">
                  <c:v>37362</c:v>
                </c:pt>
                <c:pt idx="327">
                  <c:v>37363</c:v>
                </c:pt>
                <c:pt idx="328">
                  <c:v>37364</c:v>
                </c:pt>
                <c:pt idx="329">
                  <c:v>37365</c:v>
                </c:pt>
                <c:pt idx="330">
                  <c:v>37368</c:v>
                </c:pt>
                <c:pt idx="331">
                  <c:v>37369</c:v>
                </c:pt>
                <c:pt idx="332">
                  <c:v>37370</c:v>
                </c:pt>
                <c:pt idx="333">
                  <c:v>37371</c:v>
                </c:pt>
                <c:pt idx="334">
                  <c:v>37372</c:v>
                </c:pt>
                <c:pt idx="335">
                  <c:v>37375</c:v>
                </c:pt>
                <c:pt idx="336">
                  <c:v>37376</c:v>
                </c:pt>
                <c:pt idx="337">
                  <c:v>37378</c:v>
                </c:pt>
                <c:pt idx="338">
                  <c:v>37379</c:v>
                </c:pt>
                <c:pt idx="339">
                  <c:v>37382</c:v>
                </c:pt>
                <c:pt idx="340">
                  <c:v>37383</c:v>
                </c:pt>
                <c:pt idx="341">
                  <c:v>37384</c:v>
                </c:pt>
                <c:pt idx="342">
                  <c:v>37385</c:v>
                </c:pt>
                <c:pt idx="343">
                  <c:v>37386</c:v>
                </c:pt>
                <c:pt idx="344">
                  <c:v>37389</c:v>
                </c:pt>
                <c:pt idx="345">
                  <c:v>37390</c:v>
                </c:pt>
                <c:pt idx="346">
                  <c:v>37391</c:v>
                </c:pt>
                <c:pt idx="347">
                  <c:v>37392</c:v>
                </c:pt>
                <c:pt idx="348">
                  <c:v>37393</c:v>
                </c:pt>
                <c:pt idx="349">
                  <c:v>37396</c:v>
                </c:pt>
                <c:pt idx="350">
                  <c:v>37397</c:v>
                </c:pt>
                <c:pt idx="351">
                  <c:v>37398</c:v>
                </c:pt>
                <c:pt idx="352">
                  <c:v>37399</c:v>
                </c:pt>
                <c:pt idx="353">
                  <c:v>37400</c:v>
                </c:pt>
                <c:pt idx="354">
                  <c:v>37403</c:v>
                </c:pt>
                <c:pt idx="355">
                  <c:v>37404</c:v>
                </c:pt>
                <c:pt idx="356">
                  <c:v>37405</c:v>
                </c:pt>
                <c:pt idx="357">
                  <c:v>37406</c:v>
                </c:pt>
                <c:pt idx="358">
                  <c:v>37407</c:v>
                </c:pt>
                <c:pt idx="359">
                  <c:v>37410</c:v>
                </c:pt>
                <c:pt idx="360">
                  <c:v>37411</c:v>
                </c:pt>
                <c:pt idx="361">
                  <c:v>37412</c:v>
                </c:pt>
                <c:pt idx="362">
                  <c:v>37413</c:v>
                </c:pt>
                <c:pt idx="363">
                  <c:v>37414</c:v>
                </c:pt>
                <c:pt idx="364">
                  <c:v>37417</c:v>
                </c:pt>
                <c:pt idx="365">
                  <c:v>37418</c:v>
                </c:pt>
                <c:pt idx="366">
                  <c:v>37419</c:v>
                </c:pt>
                <c:pt idx="367">
                  <c:v>37420</c:v>
                </c:pt>
                <c:pt idx="368">
                  <c:v>37421</c:v>
                </c:pt>
                <c:pt idx="369">
                  <c:v>37424</c:v>
                </c:pt>
                <c:pt idx="370">
                  <c:v>37425</c:v>
                </c:pt>
                <c:pt idx="371">
                  <c:v>37426</c:v>
                </c:pt>
                <c:pt idx="372">
                  <c:v>37427</c:v>
                </c:pt>
                <c:pt idx="373">
                  <c:v>37428</c:v>
                </c:pt>
                <c:pt idx="374">
                  <c:v>37431</c:v>
                </c:pt>
                <c:pt idx="375">
                  <c:v>37432</c:v>
                </c:pt>
                <c:pt idx="376">
                  <c:v>37433</c:v>
                </c:pt>
                <c:pt idx="377">
                  <c:v>37434</c:v>
                </c:pt>
                <c:pt idx="378">
                  <c:v>37435</c:v>
                </c:pt>
                <c:pt idx="379">
                  <c:v>37438</c:v>
                </c:pt>
                <c:pt idx="380">
                  <c:v>37439</c:v>
                </c:pt>
                <c:pt idx="381">
                  <c:v>37440</c:v>
                </c:pt>
                <c:pt idx="382">
                  <c:v>37441</c:v>
                </c:pt>
                <c:pt idx="383">
                  <c:v>37442</c:v>
                </c:pt>
                <c:pt idx="384">
                  <c:v>37445</c:v>
                </c:pt>
                <c:pt idx="385">
                  <c:v>37446</c:v>
                </c:pt>
                <c:pt idx="386">
                  <c:v>37447</c:v>
                </c:pt>
                <c:pt idx="387">
                  <c:v>37448</c:v>
                </c:pt>
                <c:pt idx="388">
                  <c:v>37449</c:v>
                </c:pt>
                <c:pt idx="389">
                  <c:v>37452</c:v>
                </c:pt>
                <c:pt idx="390">
                  <c:v>37453</c:v>
                </c:pt>
                <c:pt idx="391">
                  <c:v>37454</c:v>
                </c:pt>
                <c:pt idx="392">
                  <c:v>37455</c:v>
                </c:pt>
                <c:pt idx="393">
                  <c:v>37456</c:v>
                </c:pt>
                <c:pt idx="394">
                  <c:v>37459</c:v>
                </c:pt>
                <c:pt idx="395">
                  <c:v>37460</c:v>
                </c:pt>
                <c:pt idx="396">
                  <c:v>37461</c:v>
                </c:pt>
                <c:pt idx="397">
                  <c:v>37462</c:v>
                </c:pt>
                <c:pt idx="398">
                  <c:v>37463</c:v>
                </c:pt>
                <c:pt idx="399">
                  <c:v>37466</c:v>
                </c:pt>
                <c:pt idx="400">
                  <c:v>37467</c:v>
                </c:pt>
                <c:pt idx="401">
                  <c:v>37468</c:v>
                </c:pt>
                <c:pt idx="402">
                  <c:v>37469</c:v>
                </c:pt>
                <c:pt idx="403">
                  <c:v>37470</c:v>
                </c:pt>
                <c:pt idx="404">
                  <c:v>37473</c:v>
                </c:pt>
                <c:pt idx="405">
                  <c:v>37474</c:v>
                </c:pt>
                <c:pt idx="406">
                  <c:v>37475</c:v>
                </c:pt>
                <c:pt idx="407">
                  <c:v>37476</c:v>
                </c:pt>
                <c:pt idx="408">
                  <c:v>37477</c:v>
                </c:pt>
                <c:pt idx="409">
                  <c:v>37480</c:v>
                </c:pt>
                <c:pt idx="410">
                  <c:v>37481</c:v>
                </c:pt>
                <c:pt idx="411">
                  <c:v>37482</c:v>
                </c:pt>
                <c:pt idx="412">
                  <c:v>37483</c:v>
                </c:pt>
                <c:pt idx="413">
                  <c:v>37484</c:v>
                </c:pt>
                <c:pt idx="414">
                  <c:v>37487</c:v>
                </c:pt>
                <c:pt idx="415">
                  <c:v>37488</c:v>
                </c:pt>
                <c:pt idx="416">
                  <c:v>37489</c:v>
                </c:pt>
                <c:pt idx="417">
                  <c:v>37490</c:v>
                </c:pt>
                <c:pt idx="418">
                  <c:v>37491</c:v>
                </c:pt>
                <c:pt idx="419">
                  <c:v>37494</c:v>
                </c:pt>
                <c:pt idx="420">
                  <c:v>37495</c:v>
                </c:pt>
                <c:pt idx="421">
                  <c:v>37496</c:v>
                </c:pt>
                <c:pt idx="422">
                  <c:v>37497</c:v>
                </c:pt>
                <c:pt idx="423">
                  <c:v>37498</c:v>
                </c:pt>
                <c:pt idx="424">
                  <c:v>37501</c:v>
                </c:pt>
                <c:pt idx="425">
                  <c:v>37502</c:v>
                </c:pt>
                <c:pt idx="426">
                  <c:v>37503</c:v>
                </c:pt>
                <c:pt idx="427">
                  <c:v>37504</c:v>
                </c:pt>
                <c:pt idx="428">
                  <c:v>37505</c:v>
                </c:pt>
                <c:pt idx="429">
                  <c:v>37508</c:v>
                </c:pt>
                <c:pt idx="430">
                  <c:v>37509</c:v>
                </c:pt>
                <c:pt idx="431">
                  <c:v>37510</c:v>
                </c:pt>
                <c:pt idx="432">
                  <c:v>37511</c:v>
                </c:pt>
                <c:pt idx="433">
                  <c:v>37512</c:v>
                </c:pt>
                <c:pt idx="434">
                  <c:v>37515</c:v>
                </c:pt>
                <c:pt idx="435">
                  <c:v>37516</c:v>
                </c:pt>
                <c:pt idx="436">
                  <c:v>37517</c:v>
                </c:pt>
                <c:pt idx="437">
                  <c:v>37518</c:v>
                </c:pt>
                <c:pt idx="438">
                  <c:v>37519</c:v>
                </c:pt>
                <c:pt idx="439">
                  <c:v>37522</c:v>
                </c:pt>
                <c:pt idx="440">
                  <c:v>37523</c:v>
                </c:pt>
                <c:pt idx="441">
                  <c:v>37524</c:v>
                </c:pt>
                <c:pt idx="442">
                  <c:v>37525</c:v>
                </c:pt>
                <c:pt idx="443">
                  <c:v>37526</c:v>
                </c:pt>
                <c:pt idx="444">
                  <c:v>37529</c:v>
                </c:pt>
                <c:pt idx="445">
                  <c:v>37530</c:v>
                </c:pt>
                <c:pt idx="446">
                  <c:v>37531</c:v>
                </c:pt>
                <c:pt idx="447">
                  <c:v>37532</c:v>
                </c:pt>
                <c:pt idx="448">
                  <c:v>37533</c:v>
                </c:pt>
                <c:pt idx="449">
                  <c:v>37536</c:v>
                </c:pt>
                <c:pt idx="450">
                  <c:v>37537</c:v>
                </c:pt>
                <c:pt idx="451">
                  <c:v>37538</c:v>
                </c:pt>
                <c:pt idx="452">
                  <c:v>37539</c:v>
                </c:pt>
                <c:pt idx="453">
                  <c:v>37540</c:v>
                </c:pt>
                <c:pt idx="454">
                  <c:v>37543</c:v>
                </c:pt>
                <c:pt idx="455">
                  <c:v>37544</c:v>
                </c:pt>
                <c:pt idx="456">
                  <c:v>37545</c:v>
                </c:pt>
                <c:pt idx="457">
                  <c:v>37546</c:v>
                </c:pt>
                <c:pt idx="458">
                  <c:v>37547</c:v>
                </c:pt>
                <c:pt idx="459">
                  <c:v>37550</c:v>
                </c:pt>
                <c:pt idx="460">
                  <c:v>37551</c:v>
                </c:pt>
                <c:pt idx="461">
                  <c:v>37552</c:v>
                </c:pt>
                <c:pt idx="462">
                  <c:v>37553</c:v>
                </c:pt>
                <c:pt idx="463">
                  <c:v>37554</c:v>
                </c:pt>
                <c:pt idx="464">
                  <c:v>37557</c:v>
                </c:pt>
                <c:pt idx="465">
                  <c:v>37558</c:v>
                </c:pt>
                <c:pt idx="466">
                  <c:v>37559</c:v>
                </c:pt>
                <c:pt idx="467">
                  <c:v>37560</c:v>
                </c:pt>
                <c:pt idx="468">
                  <c:v>37561</c:v>
                </c:pt>
                <c:pt idx="469">
                  <c:v>37564</c:v>
                </c:pt>
                <c:pt idx="470">
                  <c:v>37565</c:v>
                </c:pt>
                <c:pt idx="471">
                  <c:v>37566</c:v>
                </c:pt>
                <c:pt idx="472">
                  <c:v>37567</c:v>
                </c:pt>
                <c:pt idx="473">
                  <c:v>37568</c:v>
                </c:pt>
                <c:pt idx="474">
                  <c:v>37571</c:v>
                </c:pt>
                <c:pt idx="475">
                  <c:v>37572</c:v>
                </c:pt>
                <c:pt idx="476">
                  <c:v>37573</c:v>
                </c:pt>
                <c:pt idx="477">
                  <c:v>37574</c:v>
                </c:pt>
                <c:pt idx="478">
                  <c:v>37575</c:v>
                </c:pt>
                <c:pt idx="479">
                  <c:v>37578</c:v>
                </c:pt>
                <c:pt idx="480">
                  <c:v>37579</c:v>
                </c:pt>
                <c:pt idx="481">
                  <c:v>37580</c:v>
                </c:pt>
                <c:pt idx="482">
                  <c:v>37581</c:v>
                </c:pt>
                <c:pt idx="483">
                  <c:v>37582</c:v>
                </c:pt>
                <c:pt idx="484">
                  <c:v>37585</c:v>
                </c:pt>
                <c:pt idx="485">
                  <c:v>37586</c:v>
                </c:pt>
                <c:pt idx="486">
                  <c:v>37587</c:v>
                </c:pt>
                <c:pt idx="487">
                  <c:v>37588</c:v>
                </c:pt>
                <c:pt idx="488">
                  <c:v>37589</c:v>
                </c:pt>
                <c:pt idx="489">
                  <c:v>37592</c:v>
                </c:pt>
                <c:pt idx="490">
                  <c:v>37593</c:v>
                </c:pt>
                <c:pt idx="491">
                  <c:v>37594</c:v>
                </c:pt>
                <c:pt idx="492">
                  <c:v>37595</c:v>
                </c:pt>
                <c:pt idx="493">
                  <c:v>37596</c:v>
                </c:pt>
                <c:pt idx="494">
                  <c:v>37599</c:v>
                </c:pt>
                <c:pt idx="495">
                  <c:v>37600</c:v>
                </c:pt>
                <c:pt idx="496">
                  <c:v>37601</c:v>
                </c:pt>
                <c:pt idx="497">
                  <c:v>37602</c:v>
                </c:pt>
                <c:pt idx="498">
                  <c:v>37603</c:v>
                </c:pt>
                <c:pt idx="499">
                  <c:v>37606</c:v>
                </c:pt>
                <c:pt idx="500">
                  <c:v>37607</c:v>
                </c:pt>
                <c:pt idx="501">
                  <c:v>37608</c:v>
                </c:pt>
                <c:pt idx="502">
                  <c:v>37609</c:v>
                </c:pt>
                <c:pt idx="503">
                  <c:v>37610</c:v>
                </c:pt>
                <c:pt idx="504">
                  <c:v>37613</c:v>
                </c:pt>
                <c:pt idx="505">
                  <c:v>37617</c:v>
                </c:pt>
                <c:pt idx="506">
                  <c:v>37620</c:v>
                </c:pt>
                <c:pt idx="507">
                  <c:v>37623</c:v>
                </c:pt>
                <c:pt idx="508">
                  <c:v>37624</c:v>
                </c:pt>
                <c:pt idx="509">
                  <c:v>37627</c:v>
                </c:pt>
                <c:pt idx="510">
                  <c:v>37628</c:v>
                </c:pt>
                <c:pt idx="511">
                  <c:v>37629</c:v>
                </c:pt>
                <c:pt idx="512">
                  <c:v>37630</c:v>
                </c:pt>
                <c:pt idx="513">
                  <c:v>37631</c:v>
                </c:pt>
                <c:pt idx="514">
                  <c:v>37634</c:v>
                </c:pt>
                <c:pt idx="515">
                  <c:v>37635</c:v>
                </c:pt>
                <c:pt idx="516">
                  <c:v>37636</c:v>
                </c:pt>
                <c:pt idx="517">
                  <c:v>37637</c:v>
                </c:pt>
                <c:pt idx="518">
                  <c:v>37638</c:v>
                </c:pt>
                <c:pt idx="519">
                  <c:v>37641</c:v>
                </c:pt>
                <c:pt idx="520">
                  <c:v>37642</c:v>
                </c:pt>
                <c:pt idx="521">
                  <c:v>37643</c:v>
                </c:pt>
                <c:pt idx="522">
                  <c:v>37644</c:v>
                </c:pt>
                <c:pt idx="523">
                  <c:v>37645</c:v>
                </c:pt>
                <c:pt idx="524">
                  <c:v>37648</c:v>
                </c:pt>
                <c:pt idx="525">
                  <c:v>37649</c:v>
                </c:pt>
                <c:pt idx="526">
                  <c:v>37650</c:v>
                </c:pt>
                <c:pt idx="527">
                  <c:v>37651</c:v>
                </c:pt>
                <c:pt idx="528">
                  <c:v>37652</c:v>
                </c:pt>
                <c:pt idx="529">
                  <c:v>37655</c:v>
                </c:pt>
                <c:pt idx="530">
                  <c:v>37656</c:v>
                </c:pt>
                <c:pt idx="531">
                  <c:v>37657</c:v>
                </c:pt>
                <c:pt idx="532">
                  <c:v>37658</c:v>
                </c:pt>
                <c:pt idx="533">
                  <c:v>37659</c:v>
                </c:pt>
                <c:pt idx="534">
                  <c:v>37662</c:v>
                </c:pt>
                <c:pt idx="535">
                  <c:v>37663</c:v>
                </c:pt>
                <c:pt idx="536">
                  <c:v>37664</c:v>
                </c:pt>
                <c:pt idx="537">
                  <c:v>37665</c:v>
                </c:pt>
                <c:pt idx="538">
                  <c:v>37666</c:v>
                </c:pt>
                <c:pt idx="539">
                  <c:v>37669</c:v>
                </c:pt>
                <c:pt idx="540">
                  <c:v>37670</c:v>
                </c:pt>
                <c:pt idx="541">
                  <c:v>37671</c:v>
                </c:pt>
                <c:pt idx="542">
                  <c:v>37672</c:v>
                </c:pt>
                <c:pt idx="543">
                  <c:v>37673</c:v>
                </c:pt>
                <c:pt idx="544">
                  <c:v>37676</c:v>
                </c:pt>
                <c:pt idx="545">
                  <c:v>37677</c:v>
                </c:pt>
                <c:pt idx="546">
                  <c:v>37678</c:v>
                </c:pt>
                <c:pt idx="547">
                  <c:v>37679</c:v>
                </c:pt>
                <c:pt idx="548">
                  <c:v>37680</c:v>
                </c:pt>
                <c:pt idx="549">
                  <c:v>37683</c:v>
                </c:pt>
                <c:pt idx="550">
                  <c:v>37684</c:v>
                </c:pt>
                <c:pt idx="551">
                  <c:v>37685</c:v>
                </c:pt>
                <c:pt idx="552">
                  <c:v>37686</c:v>
                </c:pt>
                <c:pt idx="553">
                  <c:v>37687</c:v>
                </c:pt>
                <c:pt idx="554">
                  <c:v>37690</c:v>
                </c:pt>
                <c:pt idx="555">
                  <c:v>37691</c:v>
                </c:pt>
                <c:pt idx="556">
                  <c:v>37692</c:v>
                </c:pt>
                <c:pt idx="557">
                  <c:v>37693</c:v>
                </c:pt>
                <c:pt idx="558">
                  <c:v>37694</c:v>
                </c:pt>
                <c:pt idx="559">
                  <c:v>37697</c:v>
                </c:pt>
                <c:pt idx="560">
                  <c:v>37698</c:v>
                </c:pt>
                <c:pt idx="561">
                  <c:v>37699</c:v>
                </c:pt>
                <c:pt idx="562">
                  <c:v>37700</c:v>
                </c:pt>
                <c:pt idx="563">
                  <c:v>37701</c:v>
                </c:pt>
                <c:pt idx="564">
                  <c:v>37704</c:v>
                </c:pt>
                <c:pt idx="565">
                  <c:v>37705</c:v>
                </c:pt>
                <c:pt idx="566">
                  <c:v>37706</c:v>
                </c:pt>
                <c:pt idx="567">
                  <c:v>37707</c:v>
                </c:pt>
                <c:pt idx="568">
                  <c:v>37708</c:v>
                </c:pt>
                <c:pt idx="569">
                  <c:v>37711</c:v>
                </c:pt>
                <c:pt idx="570">
                  <c:v>37712</c:v>
                </c:pt>
                <c:pt idx="571">
                  <c:v>37713</c:v>
                </c:pt>
                <c:pt idx="572">
                  <c:v>37714</c:v>
                </c:pt>
                <c:pt idx="573">
                  <c:v>37715</c:v>
                </c:pt>
                <c:pt idx="574">
                  <c:v>37718</c:v>
                </c:pt>
                <c:pt idx="575">
                  <c:v>37719</c:v>
                </c:pt>
                <c:pt idx="576">
                  <c:v>37720</c:v>
                </c:pt>
                <c:pt idx="577">
                  <c:v>37721</c:v>
                </c:pt>
                <c:pt idx="578">
                  <c:v>37722</c:v>
                </c:pt>
                <c:pt idx="579">
                  <c:v>37725</c:v>
                </c:pt>
                <c:pt idx="580">
                  <c:v>37726</c:v>
                </c:pt>
                <c:pt idx="581">
                  <c:v>37727</c:v>
                </c:pt>
                <c:pt idx="582">
                  <c:v>37728</c:v>
                </c:pt>
                <c:pt idx="583">
                  <c:v>37733</c:v>
                </c:pt>
                <c:pt idx="584">
                  <c:v>37734</c:v>
                </c:pt>
                <c:pt idx="585">
                  <c:v>37735</c:v>
                </c:pt>
                <c:pt idx="586">
                  <c:v>37736</c:v>
                </c:pt>
                <c:pt idx="587">
                  <c:v>37739</c:v>
                </c:pt>
                <c:pt idx="588">
                  <c:v>37740</c:v>
                </c:pt>
                <c:pt idx="589">
                  <c:v>37741</c:v>
                </c:pt>
                <c:pt idx="590">
                  <c:v>37742</c:v>
                </c:pt>
                <c:pt idx="591">
                  <c:v>37743</c:v>
                </c:pt>
                <c:pt idx="592">
                  <c:v>37746</c:v>
                </c:pt>
                <c:pt idx="593">
                  <c:v>37747</c:v>
                </c:pt>
                <c:pt idx="594">
                  <c:v>37748</c:v>
                </c:pt>
                <c:pt idx="595">
                  <c:v>37749</c:v>
                </c:pt>
                <c:pt idx="596">
                  <c:v>37750</c:v>
                </c:pt>
                <c:pt idx="597">
                  <c:v>37753</c:v>
                </c:pt>
                <c:pt idx="598">
                  <c:v>37754</c:v>
                </c:pt>
                <c:pt idx="599">
                  <c:v>37755</c:v>
                </c:pt>
                <c:pt idx="600">
                  <c:v>37756</c:v>
                </c:pt>
                <c:pt idx="601">
                  <c:v>37757</c:v>
                </c:pt>
                <c:pt idx="602">
                  <c:v>37760</c:v>
                </c:pt>
                <c:pt idx="603">
                  <c:v>37761</c:v>
                </c:pt>
                <c:pt idx="604">
                  <c:v>37762</c:v>
                </c:pt>
                <c:pt idx="605">
                  <c:v>37763</c:v>
                </c:pt>
                <c:pt idx="606">
                  <c:v>37764</c:v>
                </c:pt>
                <c:pt idx="607">
                  <c:v>37767</c:v>
                </c:pt>
                <c:pt idx="608">
                  <c:v>37768</c:v>
                </c:pt>
                <c:pt idx="609">
                  <c:v>37769</c:v>
                </c:pt>
                <c:pt idx="610">
                  <c:v>37770</c:v>
                </c:pt>
                <c:pt idx="611">
                  <c:v>37771</c:v>
                </c:pt>
                <c:pt idx="612">
                  <c:v>37774</c:v>
                </c:pt>
                <c:pt idx="613">
                  <c:v>37775</c:v>
                </c:pt>
                <c:pt idx="614">
                  <c:v>37776</c:v>
                </c:pt>
                <c:pt idx="615">
                  <c:v>37777</c:v>
                </c:pt>
                <c:pt idx="616">
                  <c:v>37778</c:v>
                </c:pt>
                <c:pt idx="617">
                  <c:v>37781</c:v>
                </c:pt>
                <c:pt idx="618">
                  <c:v>37782</c:v>
                </c:pt>
                <c:pt idx="619">
                  <c:v>37783</c:v>
                </c:pt>
                <c:pt idx="620">
                  <c:v>37784</c:v>
                </c:pt>
                <c:pt idx="621">
                  <c:v>37785</c:v>
                </c:pt>
                <c:pt idx="622">
                  <c:v>37788</c:v>
                </c:pt>
                <c:pt idx="623">
                  <c:v>37789</c:v>
                </c:pt>
                <c:pt idx="624">
                  <c:v>37790</c:v>
                </c:pt>
                <c:pt idx="625">
                  <c:v>37791</c:v>
                </c:pt>
                <c:pt idx="626">
                  <c:v>37792</c:v>
                </c:pt>
                <c:pt idx="627">
                  <c:v>37795</c:v>
                </c:pt>
                <c:pt idx="628">
                  <c:v>37796</c:v>
                </c:pt>
                <c:pt idx="629">
                  <c:v>37797</c:v>
                </c:pt>
                <c:pt idx="630">
                  <c:v>37798</c:v>
                </c:pt>
                <c:pt idx="631">
                  <c:v>37799</c:v>
                </c:pt>
                <c:pt idx="632">
                  <c:v>37802</c:v>
                </c:pt>
                <c:pt idx="633">
                  <c:v>37803</c:v>
                </c:pt>
                <c:pt idx="634">
                  <c:v>37804</c:v>
                </c:pt>
                <c:pt idx="635">
                  <c:v>37805</c:v>
                </c:pt>
                <c:pt idx="636">
                  <c:v>37806</c:v>
                </c:pt>
                <c:pt idx="637">
                  <c:v>37809</c:v>
                </c:pt>
                <c:pt idx="638">
                  <c:v>37810</c:v>
                </c:pt>
                <c:pt idx="639">
                  <c:v>37811</c:v>
                </c:pt>
                <c:pt idx="640">
                  <c:v>37812</c:v>
                </c:pt>
                <c:pt idx="641">
                  <c:v>37813</c:v>
                </c:pt>
                <c:pt idx="642">
                  <c:v>37816</c:v>
                </c:pt>
                <c:pt idx="643">
                  <c:v>37817</c:v>
                </c:pt>
                <c:pt idx="644">
                  <c:v>37818</c:v>
                </c:pt>
                <c:pt idx="645">
                  <c:v>37819</c:v>
                </c:pt>
                <c:pt idx="646">
                  <c:v>37820</c:v>
                </c:pt>
                <c:pt idx="647">
                  <c:v>37823</c:v>
                </c:pt>
                <c:pt idx="648">
                  <c:v>37824</c:v>
                </c:pt>
                <c:pt idx="649">
                  <c:v>37825</c:v>
                </c:pt>
                <c:pt idx="650">
                  <c:v>37826</c:v>
                </c:pt>
                <c:pt idx="651">
                  <c:v>37827</c:v>
                </c:pt>
                <c:pt idx="652">
                  <c:v>37830</c:v>
                </c:pt>
                <c:pt idx="653">
                  <c:v>37831</c:v>
                </c:pt>
                <c:pt idx="654">
                  <c:v>37832</c:v>
                </c:pt>
                <c:pt idx="655">
                  <c:v>37833</c:v>
                </c:pt>
                <c:pt idx="656">
                  <c:v>37834</c:v>
                </c:pt>
                <c:pt idx="657">
                  <c:v>37837</c:v>
                </c:pt>
                <c:pt idx="658">
                  <c:v>37838</c:v>
                </c:pt>
                <c:pt idx="659">
                  <c:v>37839</c:v>
                </c:pt>
                <c:pt idx="660">
                  <c:v>37840</c:v>
                </c:pt>
                <c:pt idx="661">
                  <c:v>37841</c:v>
                </c:pt>
                <c:pt idx="662">
                  <c:v>37844</c:v>
                </c:pt>
                <c:pt idx="663">
                  <c:v>37845</c:v>
                </c:pt>
                <c:pt idx="664">
                  <c:v>37846</c:v>
                </c:pt>
                <c:pt idx="665">
                  <c:v>37847</c:v>
                </c:pt>
                <c:pt idx="666">
                  <c:v>37848</c:v>
                </c:pt>
                <c:pt idx="667">
                  <c:v>37851</c:v>
                </c:pt>
                <c:pt idx="668">
                  <c:v>37852</c:v>
                </c:pt>
                <c:pt idx="669">
                  <c:v>37853</c:v>
                </c:pt>
                <c:pt idx="670">
                  <c:v>37854</c:v>
                </c:pt>
                <c:pt idx="671">
                  <c:v>37855</c:v>
                </c:pt>
                <c:pt idx="672">
                  <c:v>37858</c:v>
                </c:pt>
                <c:pt idx="673">
                  <c:v>37859</c:v>
                </c:pt>
                <c:pt idx="674">
                  <c:v>37860</c:v>
                </c:pt>
                <c:pt idx="675">
                  <c:v>37861</c:v>
                </c:pt>
                <c:pt idx="676">
                  <c:v>37862</c:v>
                </c:pt>
                <c:pt idx="677">
                  <c:v>37865</c:v>
                </c:pt>
                <c:pt idx="678">
                  <c:v>37866</c:v>
                </c:pt>
                <c:pt idx="679">
                  <c:v>37867</c:v>
                </c:pt>
                <c:pt idx="680">
                  <c:v>37868</c:v>
                </c:pt>
                <c:pt idx="681">
                  <c:v>37869</c:v>
                </c:pt>
                <c:pt idx="682">
                  <c:v>37872</c:v>
                </c:pt>
                <c:pt idx="683">
                  <c:v>37873</c:v>
                </c:pt>
                <c:pt idx="684">
                  <c:v>37874</c:v>
                </c:pt>
                <c:pt idx="685">
                  <c:v>37875</c:v>
                </c:pt>
                <c:pt idx="686">
                  <c:v>37876</c:v>
                </c:pt>
                <c:pt idx="687">
                  <c:v>37879</c:v>
                </c:pt>
                <c:pt idx="688">
                  <c:v>37880</c:v>
                </c:pt>
                <c:pt idx="689">
                  <c:v>37881</c:v>
                </c:pt>
                <c:pt idx="690">
                  <c:v>37882</c:v>
                </c:pt>
                <c:pt idx="691">
                  <c:v>37883</c:v>
                </c:pt>
                <c:pt idx="692">
                  <c:v>37886</c:v>
                </c:pt>
                <c:pt idx="693">
                  <c:v>37887</c:v>
                </c:pt>
                <c:pt idx="694">
                  <c:v>37888</c:v>
                </c:pt>
                <c:pt idx="695">
                  <c:v>37889</c:v>
                </c:pt>
                <c:pt idx="696">
                  <c:v>37890</c:v>
                </c:pt>
                <c:pt idx="697">
                  <c:v>37893</c:v>
                </c:pt>
                <c:pt idx="698">
                  <c:v>37894</c:v>
                </c:pt>
                <c:pt idx="699">
                  <c:v>37895</c:v>
                </c:pt>
                <c:pt idx="700">
                  <c:v>37896</c:v>
                </c:pt>
                <c:pt idx="701">
                  <c:v>37897</c:v>
                </c:pt>
                <c:pt idx="702">
                  <c:v>37900</c:v>
                </c:pt>
                <c:pt idx="703">
                  <c:v>37901</c:v>
                </c:pt>
                <c:pt idx="704">
                  <c:v>37902</c:v>
                </c:pt>
                <c:pt idx="705">
                  <c:v>37903</c:v>
                </c:pt>
                <c:pt idx="706">
                  <c:v>37904</c:v>
                </c:pt>
                <c:pt idx="707">
                  <c:v>37907</c:v>
                </c:pt>
                <c:pt idx="708">
                  <c:v>37908</c:v>
                </c:pt>
                <c:pt idx="709">
                  <c:v>37909</c:v>
                </c:pt>
                <c:pt idx="710">
                  <c:v>37910</c:v>
                </c:pt>
                <c:pt idx="711">
                  <c:v>37911</c:v>
                </c:pt>
                <c:pt idx="712">
                  <c:v>37914</c:v>
                </c:pt>
                <c:pt idx="713">
                  <c:v>37915</c:v>
                </c:pt>
                <c:pt idx="714">
                  <c:v>37916</c:v>
                </c:pt>
                <c:pt idx="715">
                  <c:v>37917</c:v>
                </c:pt>
                <c:pt idx="716">
                  <c:v>37918</c:v>
                </c:pt>
                <c:pt idx="717">
                  <c:v>37921</c:v>
                </c:pt>
                <c:pt idx="718">
                  <c:v>37922</c:v>
                </c:pt>
                <c:pt idx="719">
                  <c:v>37923</c:v>
                </c:pt>
                <c:pt idx="720">
                  <c:v>37924</c:v>
                </c:pt>
                <c:pt idx="721">
                  <c:v>37925</c:v>
                </c:pt>
                <c:pt idx="722">
                  <c:v>37928</c:v>
                </c:pt>
                <c:pt idx="723">
                  <c:v>37929</c:v>
                </c:pt>
                <c:pt idx="724">
                  <c:v>37930</c:v>
                </c:pt>
                <c:pt idx="725">
                  <c:v>37931</c:v>
                </c:pt>
                <c:pt idx="726">
                  <c:v>37932</c:v>
                </c:pt>
                <c:pt idx="727">
                  <c:v>37935</c:v>
                </c:pt>
                <c:pt idx="728">
                  <c:v>37936</c:v>
                </c:pt>
                <c:pt idx="729">
                  <c:v>37937</c:v>
                </c:pt>
                <c:pt idx="730">
                  <c:v>37938</c:v>
                </c:pt>
                <c:pt idx="731">
                  <c:v>37939</c:v>
                </c:pt>
                <c:pt idx="732">
                  <c:v>37942</c:v>
                </c:pt>
                <c:pt idx="733">
                  <c:v>37943</c:v>
                </c:pt>
                <c:pt idx="734">
                  <c:v>37944</c:v>
                </c:pt>
                <c:pt idx="735">
                  <c:v>37945</c:v>
                </c:pt>
                <c:pt idx="736">
                  <c:v>37946</c:v>
                </c:pt>
                <c:pt idx="737">
                  <c:v>37949</c:v>
                </c:pt>
                <c:pt idx="738">
                  <c:v>37950</c:v>
                </c:pt>
                <c:pt idx="739">
                  <c:v>37951</c:v>
                </c:pt>
                <c:pt idx="740">
                  <c:v>37952</c:v>
                </c:pt>
                <c:pt idx="741">
                  <c:v>37953</c:v>
                </c:pt>
                <c:pt idx="742">
                  <c:v>37956</c:v>
                </c:pt>
                <c:pt idx="743">
                  <c:v>37957</c:v>
                </c:pt>
                <c:pt idx="744">
                  <c:v>37958</c:v>
                </c:pt>
                <c:pt idx="745">
                  <c:v>37959</c:v>
                </c:pt>
                <c:pt idx="746">
                  <c:v>37960</c:v>
                </c:pt>
                <c:pt idx="747">
                  <c:v>37963</c:v>
                </c:pt>
                <c:pt idx="748">
                  <c:v>37964</c:v>
                </c:pt>
                <c:pt idx="749">
                  <c:v>37965</c:v>
                </c:pt>
                <c:pt idx="750">
                  <c:v>37966</c:v>
                </c:pt>
                <c:pt idx="751">
                  <c:v>37967</c:v>
                </c:pt>
                <c:pt idx="752">
                  <c:v>37970</c:v>
                </c:pt>
                <c:pt idx="753">
                  <c:v>37971</c:v>
                </c:pt>
                <c:pt idx="754">
                  <c:v>37972</c:v>
                </c:pt>
                <c:pt idx="755">
                  <c:v>37973</c:v>
                </c:pt>
                <c:pt idx="756">
                  <c:v>37974</c:v>
                </c:pt>
                <c:pt idx="757">
                  <c:v>37977</c:v>
                </c:pt>
                <c:pt idx="758">
                  <c:v>37978</c:v>
                </c:pt>
                <c:pt idx="759">
                  <c:v>37979</c:v>
                </c:pt>
                <c:pt idx="760">
                  <c:v>37984</c:v>
                </c:pt>
                <c:pt idx="761">
                  <c:v>37985</c:v>
                </c:pt>
                <c:pt idx="762">
                  <c:v>37986</c:v>
                </c:pt>
                <c:pt idx="763">
                  <c:v>37988</c:v>
                </c:pt>
                <c:pt idx="764">
                  <c:v>37991</c:v>
                </c:pt>
                <c:pt idx="765">
                  <c:v>37992</c:v>
                </c:pt>
                <c:pt idx="766">
                  <c:v>37993</c:v>
                </c:pt>
                <c:pt idx="767">
                  <c:v>37994</c:v>
                </c:pt>
                <c:pt idx="768">
                  <c:v>37995</c:v>
                </c:pt>
                <c:pt idx="769">
                  <c:v>37998</c:v>
                </c:pt>
                <c:pt idx="770">
                  <c:v>37999</c:v>
                </c:pt>
                <c:pt idx="771">
                  <c:v>38000</c:v>
                </c:pt>
                <c:pt idx="772">
                  <c:v>38001</c:v>
                </c:pt>
                <c:pt idx="773">
                  <c:v>38002</c:v>
                </c:pt>
                <c:pt idx="774">
                  <c:v>38005</c:v>
                </c:pt>
                <c:pt idx="775">
                  <c:v>38006</c:v>
                </c:pt>
                <c:pt idx="776">
                  <c:v>38007</c:v>
                </c:pt>
                <c:pt idx="777">
                  <c:v>38008</c:v>
                </c:pt>
                <c:pt idx="778">
                  <c:v>38009</c:v>
                </c:pt>
                <c:pt idx="779">
                  <c:v>38012</c:v>
                </c:pt>
                <c:pt idx="780">
                  <c:v>38013</c:v>
                </c:pt>
                <c:pt idx="781">
                  <c:v>38014</c:v>
                </c:pt>
                <c:pt idx="782">
                  <c:v>38015</c:v>
                </c:pt>
                <c:pt idx="783">
                  <c:v>38016</c:v>
                </c:pt>
                <c:pt idx="784">
                  <c:v>38019</c:v>
                </c:pt>
                <c:pt idx="785">
                  <c:v>38020</c:v>
                </c:pt>
                <c:pt idx="786">
                  <c:v>38021</c:v>
                </c:pt>
                <c:pt idx="787">
                  <c:v>38022</c:v>
                </c:pt>
                <c:pt idx="788">
                  <c:v>38023</c:v>
                </c:pt>
                <c:pt idx="789">
                  <c:v>38026</c:v>
                </c:pt>
                <c:pt idx="790">
                  <c:v>38027</c:v>
                </c:pt>
                <c:pt idx="791">
                  <c:v>38028</c:v>
                </c:pt>
                <c:pt idx="792">
                  <c:v>38029</c:v>
                </c:pt>
                <c:pt idx="793">
                  <c:v>38030</c:v>
                </c:pt>
                <c:pt idx="794">
                  <c:v>38033</c:v>
                </c:pt>
                <c:pt idx="795">
                  <c:v>38034</c:v>
                </c:pt>
                <c:pt idx="796">
                  <c:v>38035</c:v>
                </c:pt>
                <c:pt idx="797">
                  <c:v>38036</c:v>
                </c:pt>
                <c:pt idx="798">
                  <c:v>38037</c:v>
                </c:pt>
                <c:pt idx="799">
                  <c:v>38040</c:v>
                </c:pt>
                <c:pt idx="800">
                  <c:v>38041</c:v>
                </c:pt>
                <c:pt idx="801">
                  <c:v>38042</c:v>
                </c:pt>
                <c:pt idx="802">
                  <c:v>38043</c:v>
                </c:pt>
                <c:pt idx="803">
                  <c:v>38044</c:v>
                </c:pt>
                <c:pt idx="804">
                  <c:v>38047</c:v>
                </c:pt>
                <c:pt idx="805">
                  <c:v>38048</c:v>
                </c:pt>
                <c:pt idx="806">
                  <c:v>38049</c:v>
                </c:pt>
                <c:pt idx="807">
                  <c:v>38050</c:v>
                </c:pt>
                <c:pt idx="808">
                  <c:v>38051</c:v>
                </c:pt>
                <c:pt idx="809">
                  <c:v>38054</c:v>
                </c:pt>
                <c:pt idx="810">
                  <c:v>38055</c:v>
                </c:pt>
                <c:pt idx="811">
                  <c:v>38056</c:v>
                </c:pt>
                <c:pt idx="812">
                  <c:v>38057</c:v>
                </c:pt>
                <c:pt idx="813">
                  <c:v>38058</c:v>
                </c:pt>
                <c:pt idx="814">
                  <c:v>38061</c:v>
                </c:pt>
                <c:pt idx="815">
                  <c:v>38062</c:v>
                </c:pt>
                <c:pt idx="816">
                  <c:v>38063</c:v>
                </c:pt>
                <c:pt idx="817">
                  <c:v>38064</c:v>
                </c:pt>
                <c:pt idx="818">
                  <c:v>38065</c:v>
                </c:pt>
                <c:pt idx="819">
                  <c:v>38068</c:v>
                </c:pt>
                <c:pt idx="820">
                  <c:v>38069</c:v>
                </c:pt>
                <c:pt idx="821">
                  <c:v>38070</c:v>
                </c:pt>
                <c:pt idx="822">
                  <c:v>38071</c:v>
                </c:pt>
                <c:pt idx="823">
                  <c:v>38072</c:v>
                </c:pt>
                <c:pt idx="824">
                  <c:v>38075</c:v>
                </c:pt>
                <c:pt idx="825">
                  <c:v>38076</c:v>
                </c:pt>
                <c:pt idx="826">
                  <c:v>38077</c:v>
                </c:pt>
                <c:pt idx="827">
                  <c:v>38078</c:v>
                </c:pt>
                <c:pt idx="828">
                  <c:v>38079</c:v>
                </c:pt>
                <c:pt idx="829">
                  <c:v>38082</c:v>
                </c:pt>
                <c:pt idx="830">
                  <c:v>38083</c:v>
                </c:pt>
                <c:pt idx="831">
                  <c:v>38084</c:v>
                </c:pt>
                <c:pt idx="832">
                  <c:v>38085</c:v>
                </c:pt>
                <c:pt idx="833">
                  <c:v>38090</c:v>
                </c:pt>
                <c:pt idx="834">
                  <c:v>38091</c:v>
                </c:pt>
                <c:pt idx="835">
                  <c:v>38092</c:v>
                </c:pt>
                <c:pt idx="836">
                  <c:v>38093</c:v>
                </c:pt>
                <c:pt idx="837">
                  <c:v>38096</c:v>
                </c:pt>
                <c:pt idx="838">
                  <c:v>38097</c:v>
                </c:pt>
                <c:pt idx="839">
                  <c:v>38098</c:v>
                </c:pt>
                <c:pt idx="840">
                  <c:v>38099</c:v>
                </c:pt>
                <c:pt idx="841">
                  <c:v>38100</c:v>
                </c:pt>
                <c:pt idx="842">
                  <c:v>38103</c:v>
                </c:pt>
                <c:pt idx="843">
                  <c:v>38104</c:v>
                </c:pt>
                <c:pt idx="844">
                  <c:v>38105</c:v>
                </c:pt>
                <c:pt idx="845">
                  <c:v>38106</c:v>
                </c:pt>
                <c:pt idx="846">
                  <c:v>38107</c:v>
                </c:pt>
                <c:pt idx="847">
                  <c:v>38110</c:v>
                </c:pt>
                <c:pt idx="848">
                  <c:v>38111</c:v>
                </c:pt>
                <c:pt idx="849">
                  <c:v>38112</c:v>
                </c:pt>
                <c:pt idx="850">
                  <c:v>38113</c:v>
                </c:pt>
                <c:pt idx="851">
                  <c:v>38114</c:v>
                </c:pt>
                <c:pt idx="852">
                  <c:v>38117</c:v>
                </c:pt>
                <c:pt idx="853">
                  <c:v>38118</c:v>
                </c:pt>
                <c:pt idx="854">
                  <c:v>38119</c:v>
                </c:pt>
                <c:pt idx="855">
                  <c:v>38120</c:v>
                </c:pt>
                <c:pt idx="856">
                  <c:v>38121</c:v>
                </c:pt>
                <c:pt idx="857">
                  <c:v>38124</c:v>
                </c:pt>
                <c:pt idx="858">
                  <c:v>38125</c:v>
                </c:pt>
                <c:pt idx="859">
                  <c:v>38126</c:v>
                </c:pt>
                <c:pt idx="860">
                  <c:v>38127</c:v>
                </c:pt>
                <c:pt idx="861">
                  <c:v>38128</c:v>
                </c:pt>
                <c:pt idx="862">
                  <c:v>38131</c:v>
                </c:pt>
                <c:pt idx="863">
                  <c:v>38132</c:v>
                </c:pt>
                <c:pt idx="864">
                  <c:v>38133</c:v>
                </c:pt>
                <c:pt idx="865">
                  <c:v>38134</c:v>
                </c:pt>
                <c:pt idx="866">
                  <c:v>38135</c:v>
                </c:pt>
                <c:pt idx="867">
                  <c:v>38138</c:v>
                </c:pt>
                <c:pt idx="868">
                  <c:v>38139</c:v>
                </c:pt>
                <c:pt idx="869">
                  <c:v>38140</c:v>
                </c:pt>
                <c:pt idx="870">
                  <c:v>38141</c:v>
                </c:pt>
                <c:pt idx="871">
                  <c:v>38142</c:v>
                </c:pt>
                <c:pt idx="872">
                  <c:v>38145</c:v>
                </c:pt>
                <c:pt idx="873">
                  <c:v>38146</c:v>
                </c:pt>
                <c:pt idx="874">
                  <c:v>38147</c:v>
                </c:pt>
                <c:pt idx="875">
                  <c:v>38148</c:v>
                </c:pt>
                <c:pt idx="876">
                  <c:v>38149</c:v>
                </c:pt>
                <c:pt idx="877">
                  <c:v>38152</c:v>
                </c:pt>
                <c:pt idx="878">
                  <c:v>38153</c:v>
                </c:pt>
                <c:pt idx="879">
                  <c:v>38154</c:v>
                </c:pt>
                <c:pt idx="880">
                  <c:v>38155</c:v>
                </c:pt>
                <c:pt idx="881">
                  <c:v>38156</c:v>
                </c:pt>
                <c:pt idx="882">
                  <c:v>38159</c:v>
                </c:pt>
                <c:pt idx="883">
                  <c:v>38160</c:v>
                </c:pt>
                <c:pt idx="884">
                  <c:v>38161</c:v>
                </c:pt>
                <c:pt idx="885">
                  <c:v>38162</c:v>
                </c:pt>
                <c:pt idx="886">
                  <c:v>38163</c:v>
                </c:pt>
                <c:pt idx="887">
                  <c:v>38166</c:v>
                </c:pt>
                <c:pt idx="888">
                  <c:v>38167</c:v>
                </c:pt>
                <c:pt idx="889">
                  <c:v>38168</c:v>
                </c:pt>
                <c:pt idx="890">
                  <c:v>38169</c:v>
                </c:pt>
                <c:pt idx="891">
                  <c:v>38170</c:v>
                </c:pt>
                <c:pt idx="892">
                  <c:v>38173</c:v>
                </c:pt>
                <c:pt idx="893">
                  <c:v>38174</c:v>
                </c:pt>
                <c:pt idx="894">
                  <c:v>38175</c:v>
                </c:pt>
                <c:pt idx="895">
                  <c:v>38176</c:v>
                </c:pt>
                <c:pt idx="896">
                  <c:v>38177</c:v>
                </c:pt>
                <c:pt idx="897">
                  <c:v>38180</c:v>
                </c:pt>
                <c:pt idx="898">
                  <c:v>38181</c:v>
                </c:pt>
                <c:pt idx="899">
                  <c:v>38182</c:v>
                </c:pt>
                <c:pt idx="900">
                  <c:v>38183</c:v>
                </c:pt>
                <c:pt idx="901">
                  <c:v>38184</c:v>
                </c:pt>
                <c:pt idx="902">
                  <c:v>38187</c:v>
                </c:pt>
                <c:pt idx="903">
                  <c:v>38188</c:v>
                </c:pt>
                <c:pt idx="904">
                  <c:v>38189</c:v>
                </c:pt>
                <c:pt idx="905">
                  <c:v>38190</c:v>
                </c:pt>
                <c:pt idx="906">
                  <c:v>38191</c:v>
                </c:pt>
                <c:pt idx="907">
                  <c:v>38194</c:v>
                </c:pt>
                <c:pt idx="908">
                  <c:v>38195</c:v>
                </c:pt>
                <c:pt idx="909">
                  <c:v>38196</c:v>
                </c:pt>
                <c:pt idx="910">
                  <c:v>38197</c:v>
                </c:pt>
                <c:pt idx="911">
                  <c:v>38198</c:v>
                </c:pt>
                <c:pt idx="912">
                  <c:v>38201</c:v>
                </c:pt>
                <c:pt idx="913">
                  <c:v>38202</c:v>
                </c:pt>
                <c:pt idx="914">
                  <c:v>38203</c:v>
                </c:pt>
                <c:pt idx="915">
                  <c:v>38204</c:v>
                </c:pt>
                <c:pt idx="916">
                  <c:v>38205</c:v>
                </c:pt>
                <c:pt idx="917">
                  <c:v>38208</c:v>
                </c:pt>
                <c:pt idx="918">
                  <c:v>38209</c:v>
                </c:pt>
                <c:pt idx="919">
                  <c:v>38210</c:v>
                </c:pt>
                <c:pt idx="920">
                  <c:v>38211</c:v>
                </c:pt>
                <c:pt idx="921">
                  <c:v>38212</c:v>
                </c:pt>
                <c:pt idx="922">
                  <c:v>38215</c:v>
                </c:pt>
                <c:pt idx="923">
                  <c:v>38216</c:v>
                </c:pt>
                <c:pt idx="924">
                  <c:v>38217</c:v>
                </c:pt>
                <c:pt idx="925">
                  <c:v>38218</c:v>
                </c:pt>
                <c:pt idx="926">
                  <c:v>38219</c:v>
                </c:pt>
                <c:pt idx="927">
                  <c:v>38222</c:v>
                </c:pt>
                <c:pt idx="928">
                  <c:v>38223</c:v>
                </c:pt>
                <c:pt idx="929">
                  <c:v>38224</c:v>
                </c:pt>
                <c:pt idx="930">
                  <c:v>38225</c:v>
                </c:pt>
                <c:pt idx="931">
                  <c:v>38226</c:v>
                </c:pt>
                <c:pt idx="932">
                  <c:v>38229</c:v>
                </c:pt>
                <c:pt idx="933">
                  <c:v>38230</c:v>
                </c:pt>
                <c:pt idx="934">
                  <c:v>38231</c:v>
                </c:pt>
                <c:pt idx="935">
                  <c:v>38232</c:v>
                </c:pt>
                <c:pt idx="936">
                  <c:v>38233</c:v>
                </c:pt>
                <c:pt idx="937">
                  <c:v>38236</c:v>
                </c:pt>
                <c:pt idx="938">
                  <c:v>38237</c:v>
                </c:pt>
                <c:pt idx="939">
                  <c:v>38238</c:v>
                </c:pt>
                <c:pt idx="940">
                  <c:v>38239</c:v>
                </c:pt>
                <c:pt idx="941">
                  <c:v>38240</c:v>
                </c:pt>
                <c:pt idx="942">
                  <c:v>38243</c:v>
                </c:pt>
                <c:pt idx="943">
                  <c:v>38244</c:v>
                </c:pt>
                <c:pt idx="944">
                  <c:v>38245</c:v>
                </c:pt>
                <c:pt idx="945">
                  <c:v>38246</c:v>
                </c:pt>
                <c:pt idx="946">
                  <c:v>38247</c:v>
                </c:pt>
                <c:pt idx="947">
                  <c:v>38250</c:v>
                </c:pt>
                <c:pt idx="948">
                  <c:v>38251</c:v>
                </c:pt>
                <c:pt idx="949">
                  <c:v>38252</c:v>
                </c:pt>
                <c:pt idx="950">
                  <c:v>38253</c:v>
                </c:pt>
                <c:pt idx="951">
                  <c:v>38254</c:v>
                </c:pt>
                <c:pt idx="952">
                  <c:v>38257</c:v>
                </c:pt>
                <c:pt idx="953">
                  <c:v>38258</c:v>
                </c:pt>
                <c:pt idx="954">
                  <c:v>38259</c:v>
                </c:pt>
                <c:pt idx="955">
                  <c:v>38260</c:v>
                </c:pt>
                <c:pt idx="956">
                  <c:v>38261</c:v>
                </c:pt>
                <c:pt idx="957">
                  <c:v>38264</c:v>
                </c:pt>
                <c:pt idx="958">
                  <c:v>38265</c:v>
                </c:pt>
                <c:pt idx="959">
                  <c:v>38266</c:v>
                </c:pt>
                <c:pt idx="960">
                  <c:v>38267</c:v>
                </c:pt>
                <c:pt idx="961">
                  <c:v>38268</c:v>
                </c:pt>
                <c:pt idx="962">
                  <c:v>38271</c:v>
                </c:pt>
                <c:pt idx="963">
                  <c:v>38272</c:v>
                </c:pt>
                <c:pt idx="964">
                  <c:v>38273</c:v>
                </c:pt>
                <c:pt idx="965">
                  <c:v>38274</c:v>
                </c:pt>
                <c:pt idx="966">
                  <c:v>38275</c:v>
                </c:pt>
                <c:pt idx="967">
                  <c:v>38278</c:v>
                </c:pt>
                <c:pt idx="968">
                  <c:v>38279</c:v>
                </c:pt>
                <c:pt idx="969">
                  <c:v>38280</c:v>
                </c:pt>
                <c:pt idx="970">
                  <c:v>38281</c:v>
                </c:pt>
                <c:pt idx="971">
                  <c:v>38282</c:v>
                </c:pt>
                <c:pt idx="972">
                  <c:v>38285</c:v>
                </c:pt>
                <c:pt idx="973">
                  <c:v>38286</c:v>
                </c:pt>
                <c:pt idx="974">
                  <c:v>38287</c:v>
                </c:pt>
                <c:pt idx="975">
                  <c:v>38288</c:v>
                </c:pt>
                <c:pt idx="976">
                  <c:v>38289</c:v>
                </c:pt>
                <c:pt idx="977">
                  <c:v>38292</c:v>
                </c:pt>
                <c:pt idx="978">
                  <c:v>38293</c:v>
                </c:pt>
                <c:pt idx="979">
                  <c:v>38294</c:v>
                </c:pt>
                <c:pt idx="980">
                  <c:v>38295</c:v>
                </c:pt>
                <c:pt idx="981">
                  <c:v>38296</c:v>
                </c:pt>
                <c:pt idx="982">
                  <c:v>38299</c:v>
                </c:pt>
                <c:pt idx="983">
                  <c:v>38300</c:v>
                </c:pt>
                <c:pt idx="984">
                  <c:v>38301</c:v>
                </c:pt>
                <c:pt idx="985">
                  <c:v>38302</c:v>
                </c:pt>
                <c:pt idx="986">
                  <c:v>38303</c:v>
                </c:pt>
                <c:pt idx="987">
                  <c:v>38306</c:v>
                </c:pt>
                <c:pt idx="988">
                  <c:v>38307</c:v>
                </c:pt>
                <c:pt idx="989">
                  <c:v>38308</c:v>
                </c:pt>
                <c:pt idx="990">
                  <c:v>38309</c:v>
                </c:pt>
                <c:pt idx="991">
                  <c:v>38310</c:v>
                </c:pt>
                <c:pt idx="992">
                  <c:v>38313</c:v>
                </c:pt>
                <c:pt idx="993">
                  <c:v>38314</c:v>
                </c:pt>
                <c:pt idx="994">
                  <c:v>38315</c:v>
                </c:pt>
                <c:pt idx="995">
                  <c:v>38316</c:v>
                </c:pt>
                <c:pt idx="996">
                  <c:v>38317</c:v>
                </c:pt>
                <c:pt idx="997">
                  <c:v>38320</c:v>
                </c:pt>
                <c:pt idx="998">
                  <c:v>38321</c:v>
                </c:pt>
                <c:pt idx="999">
                  <c:v>38322</c:v>
                </c:pt>
                <c:pt idx="1000">
                  <c:v>38323</c:v>
                </c:pt>
                <c:pt idx="1001">
                  <c:v>38324</c:v>
                </c:pt>
                <c:pt idx="1002">
                  <c:v>38327</c:v>
                </c:pt>
                <c:pt idx="1003">
                  <c:v>38328</c:v>
                </c:pt>
                <c:pt idx="1004">
                  <c:v>38329</c:v>
                </c:pt>
                <c:pt idx="1005">
                  <c:v>38330</c:v>
                </c:pt>
                <c:pt idx="1006">
                  <c:v>38331</c:v>
                </c:pt>
                <c:pt idx="1007">
                  <c:v>38334</c:v>
                </c:pt>
                <c:pt idx="1008">
                  <c:v>38335</c:v>
                </c:pt>
                <c:pt idx="1009">
                  <c:v>38336</c:v>
                </c:pt>
                <c:pt idx="1010">
                  <c:v>38337</c:v>
                </c:pt>
                <c:pt idx="1011">
                  <c:v>38338</c:v>
                </c:pt>
                <c:pt idx="1012">
                  <c:v>38341</c:v>
                </c:pt>
                <c:pt idx="1013">
                  <c:v>38342</c:v>
                </c:pt>
                <c:pt idx="1014">
                  <c:v>38343</c:v>
                </c:pt>
                <c:pt idx="1015">
                  <c:v>38344</c:v>
                </c:pt>
                <c:pt idx="1016">
                  <c:v>38345</c:v>
                </c:pt>
                <c:pt idx="1017">
                  <c:v>38348</c:v>
                </c:pt>
                <c:pt idx="1018">
                  <c:v>38349</c:v>
                </c:pt>
                <c:pt idx="1019">
                  <c:v>38350</c:v>
                </c:pt>
                <c:pt idx="1020">
                  <c:v>38351</c:v>
                </c:pt>
                <c:pt idx="1021">
                  <c:v>38352</c:v>
                </c:pt>
                <c:pt idx="1022">
                  <c:v>38355</c:v>
                </c:pt>
                <c:pt idx="1023">
                  <c:v>38356</c:v>
                </c:pt>
                <c:pt idx="1024">
                  <c:v>38357</c:v>
                </c:pt>
                <c:pt idx="1025">
                  <c:v>38358</c:v>
                </c:pt>
                <c:pt idx="1026">
                  <c:v>38359</c:v>
                </c:pt>
                <c:pt idx="1027">
                  <c:v>38362</c:v>
                </c:pt>
                <c:pt idx="1028">
                  <c:v>38363</c:v>
                </c:pt>
                <c:pt idx="1029">
                  <c:v>38364</c:v>
                </c:pt>
                <c:pt idx="1030">
                  <c:v>38365</c:v>
                </c:pt>
                <c:pt idx="1031">
                  <c:v>38366</c:v>
                </c:pt>
                <c:pt idx="1032">
                  <c:v>38369</c:v>
                </c:pt>
                <c:pt idx="1033">
                  <c:v>38370</c:v>
                </c:pt>
                <c:pt idx="1034">
                  <c:v>38371</c:v>
                </c:pt>
                <c:pt idx="1035">
                  <c:v>38372</c:v>
                </c:pt>
                <c:pt idx="1036">
                  <c:v>38373</c:v>
                </c:pt>
                <c:pt idx="1037">
                  <c:v>38376</c:v>
                </c:pt>
                <c:pt idx="1038">
                  <c:v>38377</c:v>
                </c:pt>
                <c:pt idx="1039">
                  <c:v>38378</c:v>
                </c:pt>
                <c:pt idx="1040">
                  <c:v>38379</c:v>
                </c:pt>
                <c:pt idx="1041">
                  <c:v>38380</c:v>
                </c:pt>
                <c:pt idx="1042">
                  <c:v>38383</c:v>
                </c:pt>
                <c:pt idx="1043">
                  <c:v>38384</c:v>
                </c:pt>
                <c:pt idx="1044">
                  <c:v>38385</c:v>
                </c:pt>
                <c:pt idx="1045">
                  <c:v>38386</c:v>
                </c:pt>
                <c:pt idx="1046">
                  <c:v>38387</c:v>
                </c:pt>
                <c:pt idx="1047">
                  <c:v>38390</c:v>
                </c:pt>
                <c:pt idx="1048">
                  <c:v>38391</c:v>
                </c:pt>
                <c:pt idx="1049">
                  <c:v>38392</c:v>
                </c:pt>
                <c:pt idx="1050">
                  <c:v>38393</c:v>
                </c:pt>
                <c:pt idx="1051">
                  <c:v>38394</c:v>
                </c:pt>
                <c:pt idx="1052">
                  <c:v>38397</c:v>
                </c:pt>
                <c:pt idx="1053">
                  <c:v>38398</c:v>
                </c:pt>
                <c:pt idx="1054">
                  <c:v>38399</c:v>
                </c:pt>
                <c:pt idx="1055">
                  <c:v>38400</c:v>
                </c:pt>
                <c:pt idx="1056">
                  <c:v>38401</c:v>
                </c:pt>
                <c:pt idx="1057">
                  <c:v>38404</c:v>
                </c:pt>
                <c:pt idx="1058">
                  <c:v>38405</c:v>
                </c:pt>
                <c:pt idx="1059">
                  <c:v>38406</c:v>
                </c:pt>
                <c:pt idx="1060">
                  <c:v>38407</c:v>
                </c:pt>
                <c:pt idx="1061">
                  <c:v>38408</c:v>
                </c:pt>
                <c:pt idx="1062">
                  <c:v>38411</c:v>
                </c:pt>
                <c:pt idx="1063">
                  <c:v>38412</c:v>
                </c:pt>
                <c:pt idx="1064">
                  <c:v>38413</c:v>
                </c:pt>
                <c:pt idx="1065">
                  <c:v>38414</c:v>
                </c:pt>
                <c:pt idx="1066">
                  <c:v>38415</c:v>
                </c:pt>
                <c:pt idx="1067">
                  <c:v>38418</c:v>
                </c:pt>
                <c:pt idx="1068">
                  <c:v>38419</c:v>
                </c:pt>
                <c:pt idx="1069">
                  <c:v>38420</c:v>
                </c:pt>
                <c:pt idx="1070">
                  <c:v>38421</c:v>
                </c:pt>
                <c:pt idx="1071">
                  <c:v>38422</c:v>
                </c:pt>
                <c:pt idx="1072">
                  <c:v>38425</c:v>
                </c:pt>
                <c:pt idx="1073">
                  <c:v>38426</c:v>
                </c:pt>
                <c:pt idx="1074">
                  <c:v>38427</c:v>
                </c:pt>
                <c:pt idx="1075">
                  <c:v>38428</c:v>
                </c:pt>
                <c:pt idx="1076">
                  <c:v>38429</c:v>
                </c:pt>
                <c:pt idx="1077">
                  <c:v>38432</c:v>
                </c:pt>
                <c:pt idx="1078">
                  <c:v>38433</c:v>
                </c:pt>
                <c:pt idx="1079">
                  <c:v>38434</c:v>
                </c:pt>
                <c:pt idx="1080">
                  <c:v>38435</c:v>
                </c:pt>
                <c:pt idx="1081">
                  <c:v>38440</c:v>
                </c:pt>
                <c:pt idx="1082">
                  <c:v>38441</c:v>
                </c:pt>
                <c:pt idx="1083">
                  <c:v>38442</c:v>
                </c:pt>
                <c:pt idx="1084">
                  <c:v>38443</c:v>
                </c:pt>
                <c:pt idx="1085">
                  <c:v>38446</c:v>
                </c:pt>
                <c:pt idx="1086">
                  <c:v>38447</c:v>
                </c:pt>
                <c:pt idx="1087">
                  <c:v>38448</c:v>
                </c:pt>
                <c:pt idx="1088">
                  <c:v>38449</c:v>
                </c:pt>
                <c:pt idx="1089">
                  <c:v>38450</c:v>
                </c:pt>
                <c:pt idx="1090">
                  <c:v>38453</c:v>
                </c:pt>
                <c:pt idx="1091">
                  <c:v>38454</c:v>
                </c:pt>
                <c:pt idx="1092">
                  <c:v>38455</c:v>
                </c:pt>
                <c:pt idx="1093">
                  <c:v>38456</c:v>
                </c:pt>
                <c:pt idx="1094">
                  <c:v>38457</c:v>
                </c:pt>
                <c:pt idx="1095">
                  <c:v>38460</c:v>
                </c:pt>
                <c:pt idx="1096">
                  <c:v>38461</c:v>
                </c:pt>
                <c:pt idx="1097">
                  <c:v>38462</c:v>
                </c:pt>
                <c:pt idx="1098">
                  <c:v>38463</c:v>
                </c:pt>
                <c:pt idx="1099">
                  <c:v>38464</c:v>
                </c:pt>
                <c:pt idx="1100">
                  <c:v>38467</c:v>
                </c:pt>
                <c:pt idx="1101">
                  <c:v>38468</c:v>
                </c:pt>
                <c:pt idx="1102">
                  <c:v>38469</c:v>
                </c:pt>
                <c:pt idx="1103">
                  <c:v>38470</c:v>
                </c:pt>
                <c:pt idx="1104">
                  <c:v>38471</c:v>
                </c:pt>
                <c:pt idx="1105">
                  <c:v>38474</c:v>
                </c:pt>
                <c:pt idx="1106">
                  <c:v>38475</c:v>
                </c:pt>
                <c:pt idx="1107">
                  <c:v>38476</c:v>
                </c:pt>
                <c:pt idx="1108">
                  <c:v>38477</c:v>
                </c:pt>
                <c:pt idx="1109">
                  <c:v>38478</c:v>
                </c:pt>
                <c:pt idx="1110">
                  <c:v>38481</c:v>
                </c:pt>
                <c:pt idx="1111">
                  <c:v>38482</c:v>
                </c:pt>
                <c:pt idx="1112">
                  <c:v>38483</c:v>
                </c:pt>
                <c:pt idx="1113">
                  <c:v>38484</c:v>
                </c:pt>
                <c:pt idx="1114">
                  <c:v>38485</c:v>
                </c:pt>
                <c:pt idx="1115">
                  <c:v>38488</c:v>
                </c:pt>
                <c:pt idx="1116">
                  <c:v>38489</c:v>
                </c:pt>
                <c:pt idx="1117">
                  <c:v>38490</c:v>
                </c:pt>
                <c:pt idx="1118">
                  <c:v>38491</c:v>
                </c:pt>
                <c:pt idx="1119">
                  <c:v>38492</c:v>
                </c:pt>
                <c:pt idx="1120">
                  <c:v>38495</c:v>
                </c:pt>
                <c:pt idx="1121">
                  <c:v>38496</c:v>
                </c:pt>
                <c:pt idx="1122">
                  <c:v>38497</c:v>
                </c:pt>
                <c:pt idx="1123">
                  <c:v>38498</c:v>
                </c:pt>
                <c:pt idx="1124">
                  <c:v>38499</c:v>
                </c:pt>
                <c:pt idx="1125">
                  <c:v>38502</c:v>
                </c:pt>
                <c:pt idx="1126">
                  <c:v>38503</c:v>
                </c:pt>
                <c:pt idx="1127">
                  <c:v>38504</c:v>
                </c:pt>
                <c:pt idx="1128">
                  <c:v>38505</c:v>
                </c:pt>
                <c:pt idx="1129">
                  <c:v>38506</c:v>
                </c:pt>
                <c:pt idx="1130">
                  <c:v>38509</c:v>
                </c:pt>
                <c:pt idx="1131">
                  <c:v>38510</c:v>
                </c:pt>
                <c:pt idx="1132">
                  <c:v>38511</c:v>
                </c:pt>
                <c:pt idx="1133">
                  <c:v>38512</c:v>
                </c:pt>
                <c:pt idx="1134">
                  <c:v>38513</c:v>
                </c:pt>
                <c:pt idx="1135">
                  <c:v>38516</c:v>
                </c:pt>
                <c:pt idx="1136">
                  <c:v>38517</c:v>
                </c:pt>
                <c:pt idx="1137">
                  <c:v>38518</c:v>
                </c:pt>
                <c:pt idx="1138">
                  <c:v>38519</c:v>
                </c:pt>
                <c:pt idx="1139">
                  <c:v>38520</c:v>
                </c:pt>
                <c:pt idx="1140">
                  <c:v>38523</c:v>
                </c:pt>
                <c:pt idx="1141">
                  <c:v>38524</c:v>
                </c:pt>
                <c:pt idx="1142">
                  <c:v>38525</c:v>
                </c:pt>
                <c:pt idx="1143">
                  <c:v>38526</c:v>
                </c:pt>
                <c:pt idx="1144">
                  <c:v>38527</c:v>
                </c:pt>
                <c:pt idx="1145">
                  <c:v>38530</c:v>
                </c:pt>
                <c:pt idx="1146">
                  <c:v>38531</c:v>
                </c:pt>
                <c:pt idx="1147">
                  <c:v>38532</c:v>
                </c:pt>
                <c:pt idx="1148">
                  <c:v>38533</c:v>
                </c:pt>
                <c:pt idx="1149">
                  <c:v>38534</c:v>
                </c:pt>
                <c:pt idx="1150">
                  <c:v>38537</c:v>
                </c:pt>
                <c:pt idx="1151">
                  <c:v>38538</c:v>
                </c:pt>
                <c:pt idx="1152">
                  <c:v>38539</c:v>
                </c:pt>
                <c:pt idx="1153">
                  <c:v>38540</c:v>
                </c:pt>
                <c:pt idx="1154">
                  <c:v>38541</c:v>
                </c:pt>
                <c:pt idx="1155">
                  <c:v>38544</c:v>
                </c:pt>
                <c:pt idx="1156">
                  <c:v>38545</c:v>
                </c:pt>
                <c:pt idx="1157">
                  <c:v>38546</c:v>
                </c:pt>
                <c:pt idx="1158">
                  <c:v>38547</c:v>
                </c:pt>
                <c:pt idx="1159">
                  <c:v>38548</c:v>
                </c:pt>
                <c:pt idx="1160">
                  <c:v>38551</c:v>
                </c:pt>
                <c:pt idx="1161">
                  <c:v>38552</c:v>
                </c:pt>
                <c:pt idx="1162">
                  <c:v>38553</c:v>
                </c:pt>
                <c:pt idx="1163">
                  <c:v>38554</c:v>
                </c:pt>
                <c:pt idx="1164">
                  <c:v>38555</c:v>
                </c:pt>
                <c:pt idx="1165">
                  <c:v>38558</c:v>
                </c:pt>
                <c:pt idx="1166">
                  <c:v>38559</c:v>
                </c:pt>
                <c:pt idx="1167">
                  <c:v>38560</c:v>
                </c:pt>
                <c:pt idx="1168">
                  <c:v>38561</c:v>
                </c:pt>
                <c:pt idx="1169">
                  <c:v>38562</c:v>
                </c:pt>
                <c:pt idx="1170">
                  <c:v>38565</c:v>
                </c:pt>
                <c:pt idx="1171">
                  <c:v>38566</c:v>
                </c:pt>
                <c:pt idx="1172">
                  <c:v>38567</c:v>
                </c:pt>
                <c:pt idx="1173">
                  <c:v>38568</c:v>
                </c:pt>
                <c:pt idx="1174">
                  <c:v>38569</c:v>
                </c:pt>
                <c:pt idx="1175">
                  <c:v>38572</c:v>
                </c:pt>
                <c:pt idx="1176">
                  <c:v>38573</c:v>
                </c:pt>
                <c:pt idx="1177">
                  <c:v>38574</c:v>
                </c:pt>
                <c:pt idx="1178">
                  <c:v>38575</c:v>
                </c:pt>
                <c:pt idx="1179">
                  <c:v>38576</c:v>
                </c:pt>
                <c:pt idx="1180">
                  <c:v>38579</c:v>
                </c:pt>
                <c:pt idx="1181">
                  <c:v>38580</c:v>
                </c:pt>
                <c:pt idx="1182">
                  <c:v>38581</c:v>
                </c:pt>
                <c:pt idx="1183">
                  <c:v>38582</c:v>
                </c:pt>
                <c:pt idx="1184">
                  <c:v>38583</c:v>
                </c:pt>
                <c:pt idx="1185">
                  <c:v>38586</c:v>
                </c:pt>
                <c:pt idx="1186">
                  <c:v>38587</c:v>
                </c:pt>
                <c:pt idx="1187">
                  <c:v>38588</c:v>
                </c:pt>
                <c:pt idx="1188">
                  <c:v>38589</c:v>
                </c:pt>
                <c:pt idx="1189">
                  <c:v>38590</c:v>
                </c:pt>
                <c:pt idx="1190">
                  <c:v>38593</c:v>
                </c:pt>
                <c:pt idx="1191">
                  <c:v>38594</c:v>
                </c:pt>
                <c:pt idx="1192">
                  <c:v>38595</c:v>
                </c:pt>
                <c:pt idx="1193">
                  <c:v>38596</c:v>
                </c:pt>
                <c:pt idx="1194">
                  <c:v>38597</c:v>
                </c:pt>
                <c:pt idx="1195">
                  <c:v>38600</c:v>
                </c:pt>
                <c:pt idx="1196">
                  <c:v>38601</c:v>
                </c:pt>
                <c:pt idx="1197">
                  <c:v>38602</c:v>
                </c:pt>
                <c:pt idx="1198">
                  <c:v>38603</c:v>
                </c:pt>
                <c:pt idx="1199">
                  <c:v>38604</c:v>
                </c:pt>
                <c:pt idx="1200">
                  <c:v>38607</c:v>
                </c:pt>
                <c:pt idx="1201">
                  <c:v>38608</c:v>
                </c:pt>
                <c:pt idx="1202">
                  <c:v>38609</c:v>
                </c:pt>
                <c:pt idx="1203">
                  <c:v>38610</c:v>
                </c:pt>
                <c:pt idx="1204">
                  <c:v>38611</c:v>
                </c:pt>
                <c:pt idx="1205">
                  <c:v>38614</c:v>
                </c:pt>
                <c:pt idx="1206">
                  <c:v>38615</c:v>
                </c:pt>
                <c:pt idx="1207">
                  <c:v>38616</c:v>
                </c:pt>
                <c:pt idx="1208">
                  <c:v>38617</c:v>
                </c:pt>
                <c:pt idx="1209">
                  <c:v>38618</c:v>
                </c:pt>
                <c:pt idx="1210">
                  <c:v>38621</c:v>
                </c:pt>
                <c:pt idx="1211">
                  <c:v>38622</c:v>
                </c:pt>
                <c:pt idx="1212">
                  <c:v>38623</c:v>
                </c:pt>
                <c:pt idx="1213">
                  <c:v>38624</c:v>
                </c:pt>
                <c:pt idx="1214">
                  <c:v>38625</c:v>
                </c:pt>
                <c:pt idx="1215">
                  <c:v>38628</c:v>
                </c:pt>
                <c:pt idx="1216">
                  <c:v>38629</c:v>
                </c:pt>
                <c:pt idx="1217">
                  <c:v>38630</c:v>
                </c:pt>
                <c:pt idx="1218">
                  <c:v>38631</c:v>
                </c:pt>
                <c:pt idx="1219">
                  <c:v>38632</c:v>
                </c:pt>
                <c:pt idx="1220">
                  <c:v>38635</c:v>
                </c:pt>
                <c:pt idx="1221">
                  <c:v>38636</c:v>
                </c:pt>
                <c:pt idx="1222">
                  <c:v>38637</c:v>
                </c:pt>
                <c:pt idx="1223">
                  <c:v>38638</c:v>
                </c:pt>
                <c:pt idx="1224">
                  <c:v>38639</c:v>
                </c:pt>
                <c:pt idx="1225">
                  <c:v>38642</c:v>
                </c:pt>
                <c:pt idx="1226">
                  <c:v>38643</c:v>
                </c:pt>
                <c:pt idx="1227">
                  <c:v>38644</c:v>
                </c:pt>
                <c:pt idx="1228">
                  <c:v>38645</c:v>
                </c:pt>
                <c:pt idx="1229">
                  <c:v>38646</c:v>
                </c:pt>
                <c:pt idx="1230">
                  <c:v>38649</c:v>
                </c:pt>
                <c:pt idx="1231">
                  <c:v>38650</c:v>
                </c:pt>
                <c:pt idx="1232">
                  <c:v>38651</c:v>
                </c:pt>
                <c:pt idx="1233">
                  <c:v>38652</c:v>
                </c:pt>
                <c:pt idx="1234">
                  <c:v>38653</c:v>
                </c:pt>
                <c:pt idx="1235">
                  <c:v>38656</c:v>
                </c:pt>
                <c:pt idx="1236">
                  <c:v>38657</c:v>
                </c:pt>
                <c:pt idx="1237">
                  <c:v>38658</c:v>
                </c:pt>
                <c:pt idx="1238">
                  <c:v>38659</c:v>
                </c:pt>
                <c:pt idx="1239">
                  <c:v>38660</c:v>
                </c:pt>
                <c:pt idx="1240">
                  <c:v>38663</c:v>
                </c:pt>
                <c:pt idx="1241">
                  <c:v>38664</c:v>
                </c:pt>
                <c:pt idx="1242">
                  <c:v>38665</c:v>
                </c:pt>
                <c:pt idx="1243">
                  <c:v>38666</c:v>
                </c:pt>
                <c:pt idx="1244">
                  <c:v>38667</c:v>
                </c:pt>
                <c:pt idx="1245">
                  <c:v>38670</c:v>
                </c:pt>
                <c:pt idx="1246">
                  <c:v>38671</c:v>
                </c:pt>
                <c:pt idx="1247">
                  <c:v>38672</c:v>
                </c:pt>
                <c:pt idx="1248">
                  <c:v>38673</c:v>
                </c:pt>
                <c:pt idx="1249">
                  <c:v>38674</c:v>
                </c:pt>
                <c:pt idx="1250">
                  <c:v>38677</c:v>
                </c:pt>
                <c:pt idx="1251">
                  <c:v>38678</c:v>
                </c:pt>
                <c:pt idx="1252">
                  <c:v>38679</c:v>
                </c:pt>
                <c:pt idx="1253">
                  <c:v>38680</c:v>
                </c:pt>
                <c:pt idx="1254">
                  <c:v>38681</c:v>
                </c:pt>
                <c:pt idx="1255">
                  <c:v>38684</c:v>
                </c:pt>
                <c:pt idx="1256">
                  <c:v>38685</c:v>
                </c:pt>
                <c:pt idx="1257">
                  <c:v>38686</c:v>
                </c:pt>
                <c:pt idx="1258">
                  <c:v>38687</c:v>
                </c:pt>
                <c:pt idx="1259">
                  <c:v>38688</c:v>
                </c:pt>
                <c:pt idx="1260">
                  <c:v>38691</c:v>
                </c:pt>
                <c:pt idx="1261">
                  <c:v>38692</c:v>
                </c:pt>
                <c:pt idx="1262">
                  <c:v>38693</c:v>
                </c:pt>
                <c:pt idx="1263">
                  <c:v>38694</c:v>
                </c:pt>
                <c:pt idx="1264">
                  <c:v>38695</c:v>
                </c:pt>
                <c:pt idx="1265">
                  <c:v>38698</c:v>
                </c:pt>
                <c:pt idx="1266">
                  <c:v>38699</c:v>
                </c:pt>
                <c:pt idx="1267">
                  <c:v>38700</c:v>
                </c:pt>
                <c:pt idx="1268">
                  <c:v>38701</c:v>
                </c:pt>
                <c:pt idx="1269">
                  <c:v>38702</c:v>
                </c:pt>
                <c:pt idx="1270">
                  <c:v>38705</c:v>
                </c:pt>
                <c:pt idx="1271">
                  <c:v>38706</c:v>
                </c:pt>
                <c:pt idx="1272">
                  <c:v>38707</c:v>
                </c:pt>
                <c:pt idx="1273">
                  <c:v>38708</c:v>
                </c:pt>
                <c:pt idx="1274">
                  <c:v>38709</c:v>
                </c:pt>
                <c:pt idx="1275">
                  <c:v>38713</c:v>
                </c:pt>
                <c:pt idx="1276">
                  <c:v>38714</c:v>
                </c:pt>
                <c:pt idx="1277">
                  <c:v>38715</c:v>
                </c:pt>
                <c:pt idx="1278">
                  <c:v>38716</c:v>
                </c:pt>
                <c:pt idx="1279">
                  <c:v>38719</c:v>
                </c:pt>
                <c:pt idx="1280">
                  <c:v>38720</c:v>
                </c:pt>
                <c:pt idx="1281">
                  <c:v>38721</c:v>
                </c:pt>
                <c:pt idx="1282">
                  <c:v>38722</c:v>
                </c:pt>
                <c:pt idx="1283">
                  <c:v>38723</c:v>
                </c:pt>
                <c:pt idx="1284">
                  <c:v>38726</c:v>
                </c:pt>
                <c:pt idx="1285">
                  <c:v>38727</c:v>
                </c:pt>
                <c:pt idx="1286">
                  <c:v>38728</c:v>
                </c:pt>
                <c:pt idx="1287">
                  <c:v>38729</c:v>
                </c:pt>
                <c:pt idx="1288">
                  <c:v>38730</c:v>
                </c:pt>
                <c:pt idx="1289">
                  <c:v>38733</c:v>
                </c:pt>
                <c:pt idx="1290">
                  <c:v>38734</c:v>
                </c:pt>
                <c:pt idx="1291">
                  <c:v>38735</c:v>
                </c:pt>
                <c:pt idx="1292">
                  <c:v>38736</c:v>
                </c:pt>
                <c:pt idx="1293">
                  <c:v>38737</c:v>
                </c:pt>
                <c:pt idx="1294">
                  <c:v>38740</c:v>
                </c:pt>
                <c:pt idx="1295">
                  <c:v>38741</c:v>
                </c:pt>
                <c:pt idx="1296">
                  <c:v>38742</c:v>
                </c:pt>
                <c:pt idx="1297">
                  <c:v>38743</c:v>
                </c:pt>
                <c:pt idx="1298">
                  <c:v>38744</c:v>
                </c:pt>
                <c:pt idx="1299">
                  <c:v>38747</c:v>
                </c:pt>
                <c:pt idx="1300">
                  <c:v>38748</c:v>
                </c:pt>
                <c:pt idx="1301">
                  <c:v>38749</c:v>
                </c:pt>
                <c:pt idx="1302">
                  <c:v>38750</c:v>
                </c:pt>
                <c:pt idx="1303">
                  <c:v>38751</c:v>
                </c:pt>
                <c:pt idx="1304">
                  <c:v>38754</c:v>
                </c:pt>
                <c:pt idx="1305">
                  <c:v>38755</c:v>
                </c:pt>
                <c:pt idx="1306">
                  <c:v>38756</c:v>
                </c:pt>
                <c:pt idx="1307">
                  <c:v>38757</c:v>
                </c:pt>
                <c:pt idx="1308">
                  <c:v>38758</c:v>
                </c:pt>
                <c:pt idx="1309">
                  <c:v>38761</c:v>
                </c:pt>
                <c:pt idx="1310">
                  <c:v>38762</c:v>
                </c:pt>
                <c:pt idx="1311">
                  <c:v>38763</c:v>
                </c:pt>
                <c:pt idx="1312">
                  <c:v>38764</c:v>
                </c:pt>
                <c:pt idx="1313">
                  <c:v>38765</c:v>
                </c:pt>
                <c:pt idx="1314">
                  <c:v>38768</c:v>
                </c:pt>
                <c:pt idx="1315">
                  <c:v>38769</c:v>
                </c:pt>
                <c:pt idx="1316">
                  <c:v>38770</c:v>
                </c:pt>
                <c:pt idx="1317">
                  <c:v>38771</c:v>
                </c:pt>
                <c:pt idx="1318">
                  <c:v>38772</c:v>
                </c:pt>
                <c:pt idx="1319">
                  <c:v>38775</c:v>
                </c:pt>
                <c:pt idx="1320">
                  <c:v>38776</c:v>
                </c:pt>
                <c:pt idx="1321">
                  <c:v>38777</c:v>
                </c:pt>
                <c:pt idx="1322">
                  <c:v>38778</c:v>
                </c:pt>
                <c:pt idx="1323">
                  <c:v>38779</c:v>
                </c:pt>
                <c:pt idx="1324">
                  <c:v>38782</c:v>
                </c:pt>
                <c:pt idx="1325">
                  <c:v>38783</c:v>
                </c:pt>
                <c:pt idx="1326">
                  <c:v>38784</c:v>
                </c:pt>
                <c:pt idx="1327">
                  <c:v>38785</c:v>
                </c:pt>
                <c:pt idx="1328">
                  <c:v>38786</c:v>
                </c:pt>
                <c:pt idx="1329">
                  <c:v>38789</c:v>
                </c:pt>
                <c:pt idx="1330">
                  <c:v>38790</c:v>
                </c:pt>
                <c:pt idx="1331">
                  <c:v>38791</c:v>
                </c:pt>
                <c:pt idx="1332">
                  <c:v>38792</c:v>
                </c:pt>
                <c:pt idx="1333">
                  <c:v>38793</c:v>
                </c:pt>
                <c:pt idx="1334">
                  <c:v>38796</c:v>
                </c:pt>
                <c:pt idx="1335">
                  <c:v>38797</c:v>
                </c:pt>
                <c:pt idx="1336">
                  <c:v>38798</c:v>
                </c:pt>
                <c:pt idx="1337">
                  <c:v>38799</c:v>
                </c:pt>
                <c:pt idx="1338">
                  <c:v>38800</c:v>
                </c:pt>
                <c:pt idx="1339">
                  <c:v>38803</c:v>
                </c:pt>
                <c:pt idx="1340">
                  <c:v>38804</c:v>
                </c:pt>
                <c:pt idx="1341">
                  <c:v>38805</c:v>
                </c:pt>
                <c:pt idx="1342">
                  <c:v>38806</c:v>
                </c:pt>
                <c:pt idx="1343">
                  <c:v>38807</c:v>
                </c:pt>
                <c:pt idx="1344">
                  <c:v>38810</c:v>
                </c:pt>
                <c:pt idx="1345">
                  <c:v>38811</c:v>
                </c:pt>
                <c:pt idx="1346">
                  <c:v>38812</c:v>
                </c:pt>
                <c:pt idx="1347">
                  <c:v>38813</c:v>
                </c:pt>
                <c:pt idx="1348">
                  <c:v>38814</c:v>
                </c:pt>
                <c:pt idx="1349">
                  <c:v>38817</c:v>
                </c:pt>
                <c:pt idx="1350">
                  <c:v>38818</c:v>
                </c:pt>
                <c:pt idx="1351">
                  <c:v>38819</c:v>
                </c:pt>
                <c:pt idx="1352">
                  <c:v>38820</c:v>
                </c:pt>
                <c:pt idx="1353">
                  <c:v>38825</c:v>
                </c:pt>
                <c:pt idx="1354">
                  <c:v>38826</c:v>
                </c:pt>
                <c:pt idx="1355">
                  <c:v>38827</c:v>
                </c:pt>
                <c:pt idx="1356">
                  <c:v>38828</c:v>
                </c:pt>
                <c:pt idx="1357">
                  <c:v>38831</c:v>
                </c:pt>
                <c:pt idx="1358">
                  <c:v>38832</c:v>
                </c:pt>
                <c:pt idx="1359">
                  <c:v>38833</c:v>
                </c:pt>
                <c:pt idx="1360">
                  <c:v>38834</c:v>
                </c:pt>
                <c:pt idx="1361">
                  <c:v>38835</c:v>
                </c:pt>
                <c:pt idx="1362">
                  <c:v>38838</c:v>
                </c:pt>
                <c:pt idx="1363">
                  <c:v>38839</c:v>
                </c:pt>
                <c:pt idx="1364">
                  <c:v>38840</c:v>
                </c:pt>
                <c:pt idx="1365">
                  <c:v>38841</c:v>
                </c:pt>
                <c:pt idx="1366">
                  <c:v>38842</c:v>
                </c:pt>
                <c:pt idx="1367">
                  <c:v>38845</c:v>
                </c:pt>
                <c:pt idx="1368">
                  <c:v>38846</c:v>
                </c:pt>
                <c:pt idx="1369">
                  <c:v>38847</c:v>
                </c:pt>
                <c:pt idx="1370">
                  <c:v>38848</c:v>
                </c:pt>
                <c:pt idx="1371">
                  <c:v>38849</c:v>
                </c:pt>
                <c:pt idx="1372">
                  <c:v>38852</c:v>
                </c:pt>
                <c:pt idx="1373">
                  <c:v>38853</c:v>
                </c:pt>
                <c:pt idx="1374">
                  <c:v>38854</c:v>
                </c:pt>
                <c:pt idx="1375">
                  <c:v>38855</c:v>
                </c:pt>
                <c:pt idx="1376">
                  <c:v>38856</c:v>
                </c:pt>
                <c:pt idx="1377">
                  <c:v>38859</c:v>
                </c:pt>
                <c:pt idx="1378">
                  <c:v>38860</c:v>
                </c:pt>
                <c:pt idx="1379">
                  <c:v>38861</c:v>
                </c:pt>
                <c:pt idx="1380">
                  <c:v>38862</c:v>
                </c:pt>
                <c:pt idx="1381">
                  <c:v>38863</c:v>
                </c:pt>
                <c:pt idx="1382">
                  <c:v>38866</c:v>
                </c:pt>
                <c:pt idx="1383">
                  <c:v>38867</c:v>
                </c:pt>
                <c:pt idx="1384">
                  <c:v>38868</c:v>
                </c:pt>
                <c:pt idx="1385">
                  <c:v>38869</c:v>
                </c:pt>
                <c:pt idx="1386">
                  <c:v>38870</c:v>
                </c:pt>
                <c:pt idx="1387">
                  <c:v>38873</c:v>
                </c:pt>
                <c:pt idx="1388">
                  <c:v>38874</c:v>
                </c:pt>
                <c:pt idx="1389">
                  <c:v>38875</c:v>
                </c:pt>
                <c:pt idx="1390">
                  <c:v>38876</c:v>
                </c:pt>
                <c:pt idx="1391">
                  <c:v>38877</c:v>
                </c:pt>
                <c:pt idx="1392">
                  <c:v>38880</c:v>
                </c:pt>
                <c:pt idx="1393">
                  <c:v>38881</c:v>
                </c:pt>
                <c:pt idx="1394">
                  <c:v>38882</c:v>
                </c:pt>
                <c:pt idx="1395">
                  <c:v>38883</c:v>
                </c:pt>
                <c:pt idx="1396">
                  <c:v>38884</c:v>
                </c:pt>
                <c:pt idx="1397">
                  <c:v>38887</c:v>
                </c:pt>
                <c:pt idx="1398">
                  <c:v>38888</c:v>
                </c:pt>
                <c:pt idx="1399">
                  <c:v>38889</c:v>
                </c:pt>
                <c:pt idx="1400">
                  <c:v>38890</c:v>
                </c:pt>
                <c:pt idx="1401">
                  <c:v>38891</c:v>
                </c:pt>
                <c:pt idx="1402">
                  <c:v>38894</c:v>
                </c:pt>
                <c:pt idx="1403">
                  <c:v>38895</c:v>
                </c:pt>
                <c:pt idx="1404">
                  <c:v>38896</c:v>
                </c:pt>
                <c:pt idx="1405">
                  <c:v>38897</c:v>
                </c:pt>
                <c:pt idx="1406">
                  <c:v>38898</c:v>
                </c:pt>
                <c:pt idx="1407">
                  <c:v>38901</c:v>
                </c:pt>
                <c:pt idx="1408">
                  <c:v>38902</c:v>
                </c:pt>
                <c:pt idx="1409">
                  <c:v>38903</c:v>
                </c:pt>
                <c:pt idx="1410">
                  <c:v>38904</c:v>
                </c:pt>
                <c:pt idx="1411">
                  <c:v>38905</c:v>
                </c:pt>
                <c:pt idx="1412">
                  <c:v>38908</c:v>
                </c:pt>
                <c:pt idx="1413">
                  <c:v>38909</c:v>
                </c:pt>
                <c:pt idx="1414">
                  <c:v>38910</c:v>
                </c:pt>
                <c:pt idx="1415">
                  <c:v>38911</c:v>
                </c:pt>
                <c:pt idx="1416">
                  <c:v>38912</c:v>
                </c:pt>
                <c:pt idx="1417">
                  <c:v>38915</c:v>
                </c:pt>
                <c:pt idx="1418">
                  <c:v>38916</c:v>
                </c:pt>
                <c:pt idx="1419">
                  <c:v>38917</c:v>
                </c:pt>
                <c:pt idx="1420">
                  <c:v>38918</c:v>
                </c:pt>
                <c:pt idx="1421">
                  <c:v>38919</c:v>
                </c:pt>
                <c:pt idx="1422">
                  <c:v>38922</c:v>
                </c:pt>
                <c:pt idx="1423">
                  <c:v>38923</c:v>
                </c:pt>
                <c:pt idx="1424">
                  <c:v>38924</c:v>
                </c:pt>
                <c:pt idx="1425">
                  <c:v>38925</c:v>
                </c:pt>
                <c:pt idx="1426">
                  <c:v>38926</c:v>
                </c:pt>
                <c:pt idx="1427">
                  <c:v>38929</c:v>
                </c:pt>
                <c:pt idx="1428">
                  <c:v>38930</c:v>
                </c:pt>
                <c:pt idx="1429">
                  <c:v>38931</c:v>
                </c:pt>
                <c:pt idx="1430">
                  <c:v>38932</c:v>
                </c:pt>
                <c:pt idx="1431">
                  <c:v>38933</c:v>
                </c:pt>
                <c:pt idx="1432">
                  <c:v>38936</c:v>
                </c:pt>
                <c:pt idx="1433">
                  <c:v>38937</c:v>
                </c:pt>
                <c:pt idx="1434">
                  <c:v>38938</c:v>
                </c:pt>
                <c:pt idx="1435">
                  <c:v>38939</c:v>
                </c:pt>
                <c:pt idx="1436">
                  <c:v>38940</c:v>
                </c:pt>
                <c:pt idx="1437">
                  <c:v>38943</c:v>
                </c:pt>
                <c:pt idx="1438">
                  <c:v>38944</c:v>
                </c:pt>
                <c:pt idx="1439">
                  <c:v>38945</c:v>
                </c:pt>
                <c:pt idx="1440">
                  <c:v>38946</c:v>
                </c:pt>
                <c:pt idx="1441">
                  <c:v>38947</c:v>
                </c:pt>
                <c:pt idx="1442">
                  <c:v>38950</c:v>
                </c:pt>
                <c:pt idx="1443">
                  <c:v>38951</c:v>
                </c:pt>
                <c:pt idx="1444">
                  <c:v>38952</c:v>
                </c:pt>
                <c:pt idx="1445">
                  <c:v>38953</c:v>
                </c:pt>
                <c:pt idx="1446">
                  <c:v>38954</c:v>
                </c:pt>
                <c:pt idx="1447">
                  <c:v>38957</c:v>
                </c:pt>
                <c:pt idx="1448">
                  <c:v>38958</c:v>
                </c:pt>
                <c:pt idx="1449">
                  <c:v>38959</c:v>
                </c:pt>
                <c:pt idx="1450">
                  <c:v>38960</c:v>
                </c:pt>
                <c:pt idx="1451">
                  <c:v>38961</c:v>
                </c:pt>
                <c:pt idx="1452">
                  <c:v>38964</c:v>
                </c:pt>
                <c:pt idx="1453">
                  <c:v>38965</c:v>
                </c:pt>
                <c:pt idx="1454">
                  <c:v>38966</c:v>
                </c:pt>
                <c:pt idx="1455">
                  <c:v>38967</c:v>
                </c:pt>
                <c:pt idx="1456">
                  <c:v>38968</c:v>
                </c:pt>
                <c:pt idx="1457">
                  <c:v>38971</c:v>
                </c:pt>
                <c:pt idx="1458">
                  <c:v>38972</c:v>
                </c:pt>
                <c:pt idx="1459">
                  <c:v>38973</c:v>
                </c:pt>
                <c:pt idx="1460">
                  <c:v>38974</c:v>
                </c:pt>
                <c:pt idx="1461">
                  <c:v>38975</c:v>
                </c:pt>
                <c:pt idx="1462">
                  <c:v>38978</c:v>
                </c:pt>
                <c:pt idx="1463">
                  <c:v>38979</c:v>
                </c:pt>
                <c:pt idx="1464">
                  <c:v>38980</c:v>
                </c:pt>
                <c:pt idx="1465">
                  <c:v>38981</c:v>
                </c:pt>
                <c:pt idx="1466">
                  <c:v>38982</c:v>
                </c:pt>
                <c:pt idx="1467">
                  <c:v>38985</c:v>
                </c:pt>
                <c:pt idx="1468">
                  <c:v>38986</c:v>
                </c:pt>
                <c:pt idx="1469">
                  <c:v>38987</c:v>
                </c:pt>
                <c:pt idx="1470">
                  <c:v>38988</c:v>
                </c:pt>
                <c:pt idx="1471">
                  <c:v>38989</c:v>
                </c:pt>
                <c:pt idx="1472">
                  <c:v>38992</c:v>
                </c:pt>
                <c:pt idx="1473">
                  <c:v>38993</c:v>
                </c:pt>
                <c:pt idx="1474">
                  <c:v>38994</c:v>
                </c:pt>
                <c:pt idx="1475">
                  <c:v>38995</c:v>
                </c:pt>
                <c:pt idx="1476">
                  <c:v>38996</c:v>
                </c:pt>
                <c:pt idx="1477">
                  <c:v>38999</c:v>
                </c:pt>
                <c:pt idx="1478">
                  <c:v>39000</c:v>
                </c:pt>
                <c:pt idx="1479">
                  <c:v>39001</c:v>
                </c:pt>
                <c:pt idx="1480">
                  <c:v>39002</c:v>
                </c:pt>
                <c:pt idx="1481">
                  <c:v>39003</c:v>
                </c:pt>
                <c:pt idx="1482">
                  <c:v>39006</c:v>
                </c:pt>
                <c:pt idx="1483">
                  <c:v>39007</c:v>
                </c:pt>
                <c:pt idx="1484">
                  <c:v>39008</c:v>
                </c:pt>
                <c:pt idx="1485">
                  <c:v>39009</c:v>
                </c:pt>
                <c:pt idx="1486">
                  <c:v>39010</c:v>
                </c:pt>
                <c:pt idx="1487">
                  <c:v>39013</c:v>
                </c:pt>
                <c:pt idx="1488">
                  <c:v>39014</c:v>
                </c:pt>
                <c:pt idx="1489">
                  <c:v>39015</c:v>
                </c:pt>
                <c:pt idx="1490">
                  <c:v>39016</c:v>
                </c:pt>
                <c:pt idx="1491">
                  <c:v>39017</c:v>
                </c:pt>
                <c:pt idx="1492">
                  <c:v>39020</c:v>
                </c:pt>
                <c:pt idx="1493">
                  <c:v>39021</c:v>
                </c:pt>
                <c:pt idx="1494">
                  <c:v>39022</c:v>
                </c:pt>
                <c:pt idx="1495">
                  <c:v>39023</c:v>
                </c:pt>
                <c:pt idx="1496">
                  <c:v>39024</c:v>
                </c:pt>
                <c:pt idx="1497">
                  <c:v>39027</c:v>
                </c:pt>
                <c:pt idx="1498">
                  <c:v>39028</c:v>
                </c:pt>
                <c:pt idx="1499">
                  <c:v>39029</c:v>
                </c:pt>
                <c:pt idx="1500">
                  <c:v>39030</c:v>
                </c:pt>
                <c:pt idx="1501">
                  <c:v>39031</c:v>
                </c:pt>
                <c:pt idx="1502">
                  <c:v>39034</c:v>
                </c:pt>
                <c:pt idx="1503">
                  <c:v>39035</c:v>
                </c:pt>
                <c:pt idx="1504">
                  <c:v>39036</c:v>
                </c:pt>
                <c:pt idx="1505">
                  <c:v>39037</c:v>
                </c:pt>
                <c:pt idx="1506">
                  <c:v>39038</c:v>
                </c:pt>
                <c:pt idx="1507">
                  <c:v>39041</c:v>
                </c:pt>
                <c:pt idx="1508">
                  <c:v>39042</c:v>
                </c:pt>
                <c:pt idx="1509">
                  <c:v>39043</c:v>
                </c:pt>
                <c:pt idx="1510">
                  <c:v>39044</c:v>
                </c:pt>
                <c:pt idx="1511">
                  <c:v>39045</c:v>
                </c:pt>
                <c:pt idx="1512">
                  <c:v>39048</c:v>
                </c:pt>
                <c:pt idx="1513">
                  <c:v>39049</c:v>
                </c:pt>
                <c:pt idx="1514">
                  <c:v>39050</c:v>
                </c:pt>
                <c:pt idx="1515">
                  <c:v>39051</c:v>
                </c:pt>
                <c:pt idx="1516">
                  <c:v>39052</c:v>
                </c:pt>
                <c:pt idx="1517">
                  <c:v>39055</c:v>
                </c:pt>
                <c:pt idx="1518">
                  <c:v>39056</c:v>
                </c:pt>
                <c:pt idx="1519">
                  <c:v>39057</c:v>
                </c:pt>
                <c:pt idx="1520">
                  <c:v>39058</c:v>
                </c:pt>
                <c:pt idx="1521">
                  <c:v>39059</c:v>
                </c:pt>
                <c:pt idx="1522">
                  <c:v>39062</c:v>
                </c:pt>
                <c:pt idx="1523">
                  <c:v>39063</c:v>
                </c:pt>
                <c:pt idx="1524">
                  <c:v>39064</c:v>
                </c:pt>
                <c:pt idx="1525">
                  <c:v>39065</c:v>
                </c:pt>
                <c:pt idx="1526">
                  <c:v>39066</c:v>
                </c:pt>
                <c:pt idx="1527">
                  <c:v>39069</c:v>
                </c:pt>
                <c:pt idx="1528">
                  <c:v>39070</c:v>
                </c:pt>
                <c:pt idx="1529">
                  <c:v>39071</c:v>
                </c:pt>
                <c:pt idx="1530">
                  <c:v>39072</c:v>
                </c:pt>
                <c:pt idx="1531">
                  <c:v>39073</c:v>
                </c:pt>
                <c:pt idx="1532">
                  <c:v>39078</c:v>
                </c:pt>
                <c:pt idx="1533">
                  <c:v>39079</c:v>
                </c:pt>
                <c:pt idx="1534">
                  <c:v>39080</c:v>
                </c:pt>
                <c:pt idx="1535">
                  <c:v>39084</c:v>
                </c:pt>
                <c:pt idx="1536">
                  <c:v>39085</c:v>
                </c:pt>
                <c:pt idx="1537">
                  <c:v>39086</c:v>
                </c:pt>
                <c:pt idx="1538">
                  <c:v>39087</c:v>
                </c:pt>
                <c:pt idx="1539">
                  <c:v>39090</c:v>
                </c:pt>
                <c:pt idx="1540">
                  <c:v>39091</c:v>
                </c:pt>
                <c:pt idx="1541">
                  <c:v>39092</c:v>
                </c:pt>
                <c:pt idx="1542">
                  <c:v>39093</c:v>
                </c:pt>
                <c:pt idx="1543">
                  <c:v>39094</c:v>
                </c:pt>
                <c:pt idx="1544">
                  <c:v>39097</c:v>
                </c:pt>
                <c:pt idx="1545">
                  <c:v>39098</c:v>
                </c:pt>
                <c:pt idx="1546">
                  <c:v>39099</c:v>
                </c:pt>
                <c:pt idx="1547">
                  <c:v>39100</c:v>
                </c:pt>
                <c:pt idx="1548">
                  <c:v>39101</c:v>
                </c:pt>
                <c:pt idx="1549">
                  <c:v>39104</c:v>
                </c:pt>
                <c:pt idx="1550">
                  <c:v>39105</c:v>
                </c:pt>
                <c:pt idx="1551">
                  <c:v>39106</c:v>
                </c:pt>
                <c:pt idx="1552">
                  <c:v>39107</c:v>
                </c:pt>
                <c:pt idx="1553">
                  <c:v>39108</c:v>
                </c:pt>
                <c:pt idx="1554">
                  <c:v>39111</c:v>
                </c:pt>
                <c:pt idx="1555">
                  <c:v>39112</c:v>
                </c:pt>
                <c:pt idx="1556">
                  <c:v>39113</c:v>
                </c:pt>
                <c:pt idx="1557">
                  <c:v>39114</c:v>
                </c:pt>
                <c:pt idx="1558">
                  <c:v>39115</c:v>
                </c:pt>
                <c:pt idx="1559">
                  <c:v>39118</c:v>
                </c:pt>
                <c:pt idx="1560">
                  <c:v>39119</c:v>
                </c:pt>
                <c:pt idx="1561">
                  <c:v>39120</c:v>
                </c:pt>
                <c:pt idx="1562">
                  <c:v>39121</c:v>
                </c:pt>
                <c:pt idx="1563">
                  <c:v>39122</c:v>
                </c:pt>
                <c:pt idx="1564">
                  <c:v>39125</c:v>
                </c:pt>
                <c:pt idx="1565">
                  <c:v>39126</c:v>
                </c:pt>
                <c:pt idx="1566">
                  <c:v>39127</c:v>
                </c:pt>
                <c:pt idx="1567">
                  <c:v>39128</c:v>
                </c:pt>
                <c:pt idx="1568">
                  <c:v>39129</c:v>
                </c:pt>
                <c:pt idx="1569">
                  <c:v>39132</c:v>
                </c:pt>
                <c:pt idx="1570">
                  <c:v>39133</c:v>
                </c:pt>
                <c:pt idx="1571">
                  <c:v>39134</c:v>
                </c:pt>
                <c:pt idx="1572">
                  <c:v>39135</c:v>
                </c:pt>
                <c:pt idx="1573">
                  <c:v>39136</c:v>
                </c:pt>
                <c:pt idx="1574">
                  <c:v>39139</c:v>
                </c:pt>
                <c:pt idx="1575">
                  <c:v>39140</c:v>
                </c:pt>
                <c:pt idx="1576">
                  <c:v>39141</c:v>
                </c:pt>
                <c:pt idx="1577">
                  <c:v>39142</c:v>
                </c:pt>
                <c:pt idx="1578">
                  <c:v>39143</c:v>
                </c:pt>
                <c:pt idx="1579">
                  <c:v>39146</c:v>
                </c:pt>
                <c:pt idx="1580">
                  <c:v>39147</c:v>
                </c:pt>
                <c:pt idx="1581">
                  <c:v>39148</c:v>
                </c:pt>
                <c:pt idx="1582">
                  <c:v>39149</c:v>
                </c:pt>
                <c:pt idx="1583">
                  <c:v>39150</c:v>
                </c:pt>
                <c:pt idx="1584">
                  <c:v>39153</c:v>
                </c:pt>
                <c:pt idx="1585">
                  <c:v>39154</c:v>
                </c:pt>
                <c:pt idx="1586">
                  <c:v>39155</c:v>
                </c:pt>
                <c:pt idx="1587">
                  <c:v>39156</c:v>
                </c:pt>
                <c:pt idx="1588">
                  <c:v>39157</c:v>
                </c:pt>
                <c:pt idx="1589">
                  <c:v>39160</c:v>
                </c:pt>
                <c:pt idx="1590">
                  <c:v>39161</c:v>
                </c:pt>
                <c:pt idx="1591">
                  <c:v>39162</c:v>
                </c:pt>
                <c:pt idx="1592">
                  <c:v>39163</c:v>
                </c:pt>
                <c:pt idx="1593">
                  <c:v>39164</c:v>
                </c:pt>
                <c:pt idx="1594">
                  <c:v>39167</c:v>
                </c:pt>
                <c:pt idx="1595">
                  <c:v>39168</c:v>
                </c:pt>
                <c:pt idx="1596">
                  <c:v>39169</c:v>
                </c:pt>
                <c:pt idx="1597">
                  <c:v>39170</c:v>
                </c:pt>
                <c:pt idx="1598">
                  <c:v>39171</c:v>
                </c:pt>
                <c:pt idx="1599">
                  <c:v>39174</c:v>
                </c:pt>
                <c:pt idx="1600">
                  <c:v>39175</c:v>
                </c:pt>
                <c:pt idx="1601">
                  <c:v>39176</c:v>
                </c:pt>
                <c:pt idx="1602">
                  <c:v>39177</c:v>
                </c:pt>
                <c:pt idx="1603">
                  <c:v>39182</c:v>
                </c:pt>
                <c:pt idx="1604">
                  <c:v>39183</c:v>
                </c:pt>
                <c:pt idx="1605">
                  <c:v>39184</c:v>
                </c:pt>
                <c:pt idx="1606">
                  <c:v>39185</c:v>
                </c:pt>
                <c:pt idx="1607">
                  <c:v>39188</c:v>
                </c:pt>
                <c:pt idx="1608">
                  <c:v>39189</c:v>
                </c:pt>
                <c:pt idx="1609">
                  <c:v>39190</c:v>
                </c:pt>
                <c:pt idx="1610">
                  <c:v>39191</c:v>
                </c:pt>
                <c:pt idx="1611">
                  <c:v>39192</c:v>
                </c:pt>
                <c:pt idx="1612">
                  <c:v>39195</c:v>
                </c:pt>
                <c:pt idx="1613">
                  <c:v>39196</c:v>
                </c:pt>
                <c:pt idx="1614">
                  <c:v>39197</c:v>
                </c:pt>
                <c:pt idx="1615">
                  <c:v>39198</c:v>
                </c:pt>
                <c:pt idx="1616">
                  <c:v>39199</c:v>
                </c:pt>
                <c:pt idx="1617">
                  <c:v>39202</c:v>
                </c:pt>
                <c:pt idx="1618">
                  <c:v>39203</c:v>
                </c:pt>
                <c:pt idx="1619">
                  <c:v>39204</c:v>
                </c:pt>
                <c:pt idx="1620">
                  <c:v>39205</c:v>
                </c:pt>
                <c:pt idx="1621">
                  <c:v>39206</c:v>
                </c:pt>
                <c:pt idx="1622">
                  <c:v>39209</c:v>
                </c:pt>
                <c:pt idx="1623">
                  <c:v>39210</c:v>
                </c:pt>
                <c:pt idx="1624">
                  <c:v>39211</c:v>
                </c:pt>
                <c:pt idx="1625">
                  <c:v>39212</c:v>
                </c:pt>
                <c:pt idx="1626">
                  <c:v>39213</c:v>
                </c:pt>
                <c:pt idx="1627">
                  <c:v>39216</c:v>
                </c:pt>
                <c:pt idx="1628">
                  <c:v>39217</c:v>
                </c:pt>
                <c:pt idx="1629">
                  <c:v>39218</c:v>
                </c:pt>
                <c:pt idx="1630">
                  <c:v>39219</c:v>
                </c:pt>
                <c:pt idx="1631">
                  <c:v>39220</c:v>
                </c:pt>
                <c:pt idx="1632">
                  <c:v>39223</c:v>
                </c:pt>
                <c:pt idx="1633">
                  <c:v>39224</c:v>
                </c:pt>
                <c:pt idx="1634">
                  <c:v>39225</c:v>
                </c:pt>
                <c:pt idx="1635">
                  <c:v>39226</c:v>
                </c:pt>
                <c:pt idx="1636">
                  <c:v>39227</c:v>
                </c:pt>
                <c:pt idx="1637">
                  <c:v>39230</c:v>
                </c:pt>
                <c:pt idx="1638">
                  <c:v>39231</c:v>
                </c:pt>
                <c:pt idx="1639">
                  <c:v>39232</c:v>
                </c:pt>
                <c:pt idx="1640">
                  <c:v>39233</c:v>
                </c:pt>
                <c:pt idx="1641">
                  <c:v>39234</c:v>
                </c:pt>
                <c:pt idx="1642">
                  <c:v>39237</c:v>
                </c:pt>
                <c:pt idx="1643">
                  <c:v>39238</c:v>
                </c:pt>
                <c:pt idx="1644">
                  <c:v>39239</c:v>
                </c:pt>
                <c:pt idx="1645">
                  <c:v>39240</c:v>
                </c:pt>
                <c:pt idx="1646">
                  <c:v>39241</c:v>
                </c:pt>
                <c:pt idx="1647">
                  <c:v>39244</c:v>
                </c:pt>
                <c:pt idx="1648">
                  <c:v>39245</c:v>
                </c:pt>
                <c:pt idx="1649">
                  <c:v>39246</c:v>
                </c:pt>
                <c:pt idx="1650">
                  <c:v>39247</c:v>
                </c:pt>
                <c:pt idx="1651">
                  <c:v>39248</c:v>
                </c:pt>
                <c:pt idx="1652">
                  <c:v>39251</c:v>
                </c:pt>
                <c:pt idx="1653">
                  <c:v>39252</c:v>
                </c:pt>
                <c:pt idx="1654">
                  <c:v>39253</c:v>
                </c:pt>
                <c:pt idx="1655">
                  <c:v>39254</c:v>
                </c:pt>
                <c:pt idx="1656">
                  <c:v>39255</c:v>
                </c:pt>
                <c:pt idx="1657">
                  <c:v>39258</c:v>
                </c:pt>
                <c:pt idx="1658">
                  <c:v>39259</c:v>
                </c:pt>
                <c:pt idx="1659">
                  <c:v>39260</c:v>
                </c:pt>
                <c:pt idx="1660">
                  <c:v>39261</c:v>
                </c:pt>
                <c:pt idx="1661">
                  <c:v>39262</c:v>
                </c:pt>
                <c:pt idx="1662">
                  <c:v>39265</c:v>
                </c:pt>
                <c:pt idx="1663">
                  <c:v>39266</c:v>
                </c:pt>
                <c:pt idx="1664">
                  <c:v>39267</c:v>
                </c:pt>
                <c:pt idx="1665">
                  <c:v>39268</c:v>
                </c:pt>
                <c:pt idx="1666">
                  <c:v>39269</c:v>
                </c:pt>
                <c:pt idx="1667">
                  <c:v>39272</c:v>
                </c:pt>
                <c:pt idx="1668">
                  <c:v>39273</c:v>
                </c:pt>
                <c:pt idx="1669">
                  <c:v>39274</c:v>
                </c:pt>
                <c:pt idx="1670">
                  <c:v>39275</c:v>
                </c:pt>
                <c:pt idx="1671">
                  <c:v>39276</c:v>
                </c:pt>
                <c:pt idx="1672">
                  <c:v>39279</c:v>
                </c:pt>
                <c:pt idx="1673">
                  <c:v>39280</c:v>
                </c:pt>
                <c:pt idx="1674">
                  <c:v>39281</c:v>
                </c:pt>
                <c:pt idx="1675">
                  <c:v>39282</c:v>
                </c:pt>
                <c:pt idx="1676">
                  <c:v>39283</c:v>
                </c:pt>
                <c:pt idx="1677">
                  <c:v>39286</c:v>
                </c:pt>
                <c:pt idx="1678">
                  <c:v>39287</c:v>
                </c:pt>
                <c:pt idx="1679">
                  <c:v>39288</c:v>
                </c:pt>
                <c:pt idx="1680">
                  <c:v>39289</c:v>
                </c:pt>
                <c:pt idx="1681">
                  <c:v>39290</c:v>
                </c:pt>
                <c:pt idx="1682">
                  <c:v>39293</c:v>
                </c:pt>
                <c:pt idx="1683">
                  <c:v>39294</c:v>
                </c:pt>
                <c:pt idx="1684">
                  <c:v>39295</c:v>
                </c:pt>
                <c:pt idx="1685">
                  <c:v>39296</c:v>
                </c:pt>
                <c:pt idx="1686">
                  <c:v>39297</c:v>
                </c:pt>
                <c:pt idx="1687">
                  <c:v>39300</c:v>
                </c:pt>
                <c:pt idx="1688">
                  <c:v>39301</c:v>
                </c:pt>
                <c:pt idx="1689">
                  <c:v>39302</c:v>
                </c:pt>
                <c:pt idx="1690">
                  <c:v>39303</c:v>
                </c:pt>
                <c:pt idx="1691">
                  <c:v>39304</c:v>
                </c:pt>
                <c:pt idx="1692">
                  <c:v>39307</c:v>
                </c:pt>
                <c:pt idx="1693">
                  <c:v>39308</c:v>
                </c:pt>
                <c:pt idx="1694">
                  <c:v>39309</c:v>
                </c:pt>
                <c:pt idx="1695">
                  <c:v>39310</c:v>
                </c:pt>
                <c:pt idx="1696">
                  <c:v>39311</c:v>
                </c:pt>
                <c:pt idx="1697">
                  <c:v>39314</c:v>
                </c:pt>
                <c:pt idx="1698">
                  <c:v>39315</c:v>
                </c:pt>
                <c:pt idx="1699">
                  <c:v>39316</c:v>
                </c:pt>
                <c:pt idx="1700">
                  <c:v>39317</c:v>
                </c:pt>
                <c:pt idx="1701">
                  <c:v>39318</c:v>
                </c:pt>
                <c:pt idx="1702">
                  <c:v>39321</c:v>
                </c:pt>
                <c:pt idx="1703">
                  <c:v>39322</c:v>
                </c:pt>
                <c:pt idx="1704">
                  <c:v>39323</c:v>
                </c:pt>
                <c:pt idx="1705">
                  <c:v>39324</c:v>
                </c:pt>
                <c:pt idx="1706">
                  <c:v>39325</c:v>
                </c:pt>
                <c:pt idx="1707">
                  <c:v>39328</c:v>
                </c:pt>
                <c:pt idx="1708">
                  <c:v>39329</c:v>
                </c:pt>
                <c:pt idx="1709">
                  <c:v>39330</c:v>
                </c:pt>
                <c:pt idx="1710">
                  <c:v>39331</c:v>
                </c:pt>
                <c:pt idx="1711">
                  <c:v>39332</c:v>
                </c:pt>
                <c:pt idx="1712">
                  <c:v>39335</c:v>
                </c:pt>
                <c:pt idx="1713">
                  <c:v>39336</c:v>
                </c:pt>
                <c:pt idx="1714">
                  <c:v>39337</c:v>
                </c:pt>
                <c:pt idx="1715">
                  <c:v>39338</c:v>
                </c:pt>
                <c:pt idx="1716">
                  <c:v>39339</c:v>
                </c:pt>
                <c:pt idx="1717">
                  <c:v>39342</c:v>
                </c:pt>
                <c:pt idx="1718">
                  <c:v>39343</c:v>
                </c:pt>
                <c:pt idx="1719">
                  <c:v>39344</c:v>
                </c:pt>
                <c:pt idx="1720">
                  <c:v>39345</c:v>
                </c:pt>
                <c:pt idx="1721">
                  <c:v>39346</c:v>
                </c:pt>
                <c:pt idx="1722">
                  <c:v>39349</c:v>
                </c:pt>
                <c:pt idx="1723">
                  <c:v>39350</c:v>
                </c:pt>
                <c:pt idx="1724">
                  <c:v>39351</c:v>
                </c:pt>
                <c:pt idx="1725">
                  <c:v>39352</c:v>
                </c:pt>
                <c:pt idx="1726">
                  <c:v>39353</c:v>
                </c:pt>
                <c:pt idx="1727">
                  <c:v>39356</c:v>
                </c:pt>
                <c:pt idx="1728">
                  <c:v>39357</c:v>
                </c:pt>
                <c:pt idx="1729">
                  <c:v>39358</c:v>
                </c:pt>
                <c:pt idx="1730">
                  <c:v>39359</c:v>
                </c:pt>
                <c:pt idx="1731">
                  <c:v>39360</c:v>
                </c:pt>
                <c:pt idx="1732">
                  <c:v>39363</c:v>
                </c:pt>
                <c:pt idx="1733">
                  <c:v>39364</c:v>
                </c:pt>
                <c:pt idx="1734">
                  <c:v>39365</c:v>
                </c:pt>
                <c:pt idx="1735">
                  <c:v>39366</c:v>
                </c:pt>
                <c:pt idx="1736">
                  <c:v>39367</c:v>
                </c:pt>
                <c:pt idx="1737">
                  <c:v>39370</c:v>
                </c:pt>
                <c:pt idx="1738">
                  <c:v>39371</c:v>
                </c:pt>
                <c:pt idx="1739">
                  <c:v>39372</c:v>
                </c:pt>
                <c:pt idx="1740">
                  <c:v>39373</c:v>
                </c:pt>
                <c:pt idx="1741">
                  <c:v>39374</c:v>
                </c:pt>
                <c:pt idx="1742">
                  <c:v>39377</c:v>
                </c:pt>
                <c:pt idx="1743">
                  <c:v>39378</c:v>
                </c:pt>
                <c:pt idx="1744">
                  <c:v>39379</c:v>
                </c:pt>
                <c:pt idx="1745">
                  <c:v>39380</c:v>
                </c:pt>
                <c:pt idx="1746">
                  <c:v>39381</c:v>
                </c:pt>
                <c:pt idx="1747">
                  <c:v>39384</c:v>
                </c:pt>
                <c:pt idx="1748">
                  <c:v>39385</c:v>
                </c:pt>
                <c:pt idx="1749">
                  <c:v>39386</c:v>
                </c:pt>
                <c:pt idx="1750">
                  <c:v>39387</c:v>
                </c:pt>
                <c:pt idx="1751">
                  <c:v>39388</c:v>
                </c:pt>
                <c:pt idx="1752">
                  <c:v>39391</c:v>
                </c:pt>
                <c:pt idx="1753">
                  <c:v>39392</c:v>
                </c:pt>
                <c:pt idx="1754">
                  <c:v>39393</c:v>
                </c:pt>
                <c:pt idx="1755">
                  <c:v>39394</c:v>
                </c:pt>
                <c:pt idx="1756">
                  <c:v>39395</c:v>
                </c:pt>
                <c:pt idx="1757">
                  <c:v>39398</c:v>
                </c:pt>
                <c:pt idx="1758">
                  <c:v>39399</c:v>
                </c:pt>
                <c:pt idx="1759">
                  <c:v>39400</c:v>
                </c:pt>
                <c:pt idx="1760">
                  <c:v>39401</c:v>
                </c:pt>
                <c:pt idx="1761">
                  <c:v>39402</c:v>
                </c:pt>
                <c:pt idx="1762">
                  <c:v>39405</c:v>
                </c:pt>
                <c:pt idx="1763">
                  <c:v>39406</c:v>
                </c:pt>
                <c:pt idx="1764">
                  <c:v>39407</c:v>
                </c:pt>
                <c:pt idx="1765">
                  <c:v>39408</c:v>
                </c:pt>
                <c:pt idx="1766">
                  <c:v>39409</c:v>
                </c:pt>
                <c:pt idx="1767">
                  <c:v>39412</c:v>
                </c:pt>
                <c:pt idx="1768">
                  <c:v>39413</c:v>
                </c:pt>
                <c:pt idx="1769">
                  <c:v>39414</c:v>
                </c:pt>
                <c:pt idx="1770">
                  <c:v>39415</c:v>
                </c:pt>
                <c:pt idx="1771">
                  <c:v>39416</c:v>
                </c:pt>
                <c:pt idx="1772">
                  <c:v>39419</c:v>
                </c:pt>
                <c:pt idx="1773">
                  <c:v>39420</c:v>
                </c:pt>
                <c:pt idx="1774">
                  <c:v>39421</c:v>
                </c:pt>
                <c:pt idx="1775">
                  <c:v>39422</c:v>
                </c:pt>
                <c:pt idx="1776">
                  <c:v>39423</c:v>
                </c:pt>
                <c:pt idx="1777">
                  <c:v>39426</c:v>
                </c:pt>
                <c:pt idx="1778">
                  <c:v>39427</c:v>
                </c:pt>
                <c:pt idx="1779">
                  <c:v>39428</c:v>
                </c:pt>
                <c:pt idx="1780">
                  <c:v>39429</c:v>
                </c:pt>
                <c:pt idx="1781">
                  <c:v>39430</c:v>
                </c:pt>
                <c:pt idx="1782">
                  <c:v>39433</c:v>
                </c:pt>
                <c:pt idx="1783">
                  <c:v>39434</c:v>
                </c:pt>
                <c:pt idx="1784">
                  <c:v>39435</c:v>
                </c:pt>
                <c:pt idx="1785">
                  <c:v>39436</c:v>
                </c:pt>
                <c:pt idx="1786">
                  <c:v>39437</c:v>
                </c:pt>
                <c:pt idx="1787">
                  <c:v>39440</c:v>
                </c:pt>
                <c:pt idx="1788">
                  <c:v>39443</c:v>
                </c:pt>
                <c:pt idx="1789">
                  <c:v>39444</c:v>
                </c:pt>
                <c:pt idx="1790">
                  <c:v>39447</c:v>
                </c:pt>
                <c:pt idx="1791">
                  <c:v>39449</c:v>
                </c:pt>
                <c:pt idx="1792">
                  <c:v>39450</c:v>
                </c:pt>
                <c:pt idx="1793">
                  <c:v>39451</c:v>
                </c:pt>
                <c:pt idx="1794">
                  <c:v>39454</c:v>
                </c:pt>
                <c:pt idx="1795">
                  <c:v>39455</c:v>
                </c:pt>
                <c:pt idx="1796">
                  <c:v>39456</c:v>
                </c:pt>
                <c:pt idx="1797">
                  <c:v>39457</c:v>
                </c:pt>
                <c:pt idx="1798">
                  <c:v>39458</c:v>
                </c:pt>
                <c:pt idx="1799">
                  <c:v>39461</c:v>
                </c:pt>
                <c:pt idx="1800">
                  <c:v>39462</c:v>
                </c:pt>
                <c:pt idx="1801">
                  <c:v>39463</c:v>
                </c:pt>
                <c:pt idx="1802">
                  <c:v>39464</c:v>
                </c:pt>
                <c:pt idx="1803">
                  <c:v>39465</c:v>
                </c:pt>
                <c:pt idx="1804">
                  <c:v>39468</c:v>
                </c:pt>
                <c:pt idx="1805">
                  <c:v>39469</c:v>
                </c:pt>
                <c:pt idx="1806">
                  <c:v>39470</c:v>
                </c:pt>
                <c:pt idx="1807">
                  <c:v>39471</c:v>
                </c:pt>
                <c:pt idx="1808">
                  <c:v>39472</c:v>
                </c:pt>
                <c:pt idx="1809">
                  <c:v>39475</c:v>
                </c:pt>
                <c:pt idx="1810">
                  <c:v>39476</c:v>
                </c:pt>
                <c:pt idx="1811">
                  <c:v>39477</c:v>
                </c:pt>
                <c:pt idx="1812">
                  <c:v>39478</c:v>
                </c:pt>
                <c:pt idx="1813">
                  <c:v>39479</c:v>
                </c:pt>
                <c:pt idx="1814">
                  <c:v>39482</c:v>
                </c:pt>
                <c:pt idx="1815">
                  <c:v>39483</c:v>
                </c:pt>
                <c:pt idx="1816">
                  <c:v>39484</c:v>
                </c:pt>
                <c:pt idx="1817">
                  <c:v>39485</c:v>
                </c:pt>
                <c:pt idx="1818">
                  <c:v>39486</c:v>
                </c:pt>
                <c:pt idx="1819">
                  <c:v>39489</c:v>
                </c:pt>
                <c:pt idx="1820">
                  <c:v>39490</c:v>
                </c:pt>
                <c:pt idx="1821">
                  <c:v>39491</c:v>
                </c:pt>
                <c:pt idx="1822">
                  <c:v>39492</c:v>
                </c:pt>
                <c:pt idx="1823">
                  <c:v>39493</c:v>
                </c:pt>
                <c:pt idx="1824">
                  <c:v>39496</c:v>
                </c:pt>
                <c:pt idx="1825">
                  <c:v>39497</c:v>
                </c:pt>
                <c:pt idx="1826">
                  <c:v>39498</c:v>
                </c:pt>
                <c:pt idx="1827">
                  <c:v>39499</c:v>
                </c:pt>
                <c:pt idx="1828">
                  <c:v>39500</c:v>
                </c:pt>
                <c:pt idx="1829">
                  <c:v>39503</c:v>
                </c:pt>
                <c:pt idx="1830">
                  <c:v>39504</c:v>
                </c:pt>
                <c:pt idx="1831">
                  <c:v>39505</c:v>
                </c:pt>
                <c:pt idx="1832">
                  <c:v>39506</c:v>
                </c:pt>
                <c:pt idx="1833">
                  <c:v>39507</c:v>
                </c:pt>
                <c:pt idx="1834">
                  <c:v>39510</c:v>
                </c:pt>
                <c:pt idx="1835">
                  <c:v>39511</c:v>
                </c:pt>
                <c:pt idx="1836">
                  <c:v>39512</c:v>
                </c:pt>
                <c:pt idx="1837">
                  <c:v>39513</c:v>
                </c:pt>
                <c:pt idx="1838">
                  <c:v>39514</c:v>
                </c:pt>
                <c:pt idx="1839">
                  <c:v>39517</c:v>
                </c:pt>
                <c:pt idx="1840">
                  <c:v>39518</c:v>
                </c:pt>
                <c:pt idx="1841">
                  <c:v>39519</c:v>
                </c:pt>
                <c:pt idx="1842">
                  <c:v>39520</c:v>
                </c:pt>
                <c:pt idx="1843">
                  <c:v>39521</c:v>
                </c:pt>
                <c:pt idx="1844">
                  <c:v>39524</c:v>
                </c:pt>
                <c:pt idx="1845">
                  <c:v>39525</c:v>
                </c:pt>
                <c:pt idx="1846">
                  <c:v>39526</c:v>
                </c:pt>
                <c:pt idx="1847">
                  <c:v>39527</c:v>
                </c:pt>
                <c:pt idx="1848">
                  <c:v>39532</c:v>
                </c:pt>
                <c:pt idx="1849">
                  <c:v>39533</c:v>
                </c:pt>
                <c:pt idx="1850">
                  <c:v>39534</c:v>
                </c:pt>
                <c:pt idx="1851">
                  <c:v>39535</c:v>
                </c:pt>
                <c:pt idx="1852">
                  <c:v>39538</c:v>
                </c:pt>
                <c:pt idx="1853">
                  <c:v>39539</c:v>
                </c:pt>
                <c:pt idx="1854">
                  <c:v>39540</c:v>
                </c:pt>
                <c:pt idx="1855">
                  <c:v>39541</c:v>
                </c:pt>
                <c:pt idx="1856">
                  <c:v>39542</c:v>
                </c:pt>
                <c:pt idx="1857">
                  <c:v>39545</c:v>
                </c:pt>
                <c:pt idx="1858">
                  <c:v>39546</c:v>
                </c:pt>
                <c:pt idx="1859">
                  <c:v>39547</c:v>
                </c:pt>
                <c:pt idx="1860">
                  <c:v>39548</c:v>
                </c:pt>
                <c:pt idx="1861">
                  <c:v>39549</c:v>
                </c:pt>
                <c:pt idx="1862">
                  <c:v>39552</c:v>
                </c:pt>
                <c:pt idx="1863">
                  <c:v>39553</c:v>
                </c:pt>
                <c:pt idx="1864">
                  <c:v>39554</c:v>
                </c:pt>
                <c:pt idx="1865">
                  <c:v>39555</c:v>
                </c:pt>
                <c:pt idx="1866">
                  <c:v>39556</c:v>
                </c:pt>
                <c:pt idx="1867">
                  <c:v>39559</c:v>
                </c:pt>
                <c:pt idx="1868">
                  <c:v>39560</c:v>
                </c:pt>
                <c:pt idx="1869">
                  <c:v>39561</c:v>
                </c:pt>
                <c:pt idx="1870">
                  <c:v>39562</c:v>
                </c:pt>
                <c:pt idx="1871">
                  <c:v>39563</c:v>
                </c:pt>
                <c:pt idx="1872">
                  <c:v>39566</c:v>
                </c:pt>
                <c:pt idx="1873">
                  <c:v>39567</c:v>
                </c:pt>
                <c:pt idx="1874">
                  <c:v>39568</c:v>
                </c:pt>
                <c:pt idx="1875">
                  <c:v>39569</c:v>
                </c:pt>
                <c:pt idx="1876">
                  <c:v>39570</c:v>
                </c:pt>
                <c:pt idx="1877">
                  <c:v>39573</c:v>
                </c:pt>
                <c:pt idx="1878">
                  <c:v>39574</c:v>
                </c:pt>
                <c:pt idx="1879">
                  <c:v>39575</c:v>
                </c:pt>
                <c:pt idx="1880">
                  <c:v>39576</c:v>
                </c:pt>
                <c:pt idx="1881">
                  <c:v>39577</c:v>
                </c:pt>
                <c:pt idx="1882">
                  <c:v>39580</c:v>
                </c:pt>
                <c:pt idx="1883">
                  <c:v>39581</c:v>
                </c:pt>
                <c:pt idx="1884">
                  <c:v>39582</c:v>
                </c:pt>
                <c:pt idx="1885">
                  <c:v>39583</c:v>
                </c:pt>
                <c:pt idx="1886">
                  <c:v>39584</c:v>
                </c:pt>
                <c:pt idx="1887">
                  <c:v>39587</c:v>
                </c:pt>
                <c:pt idx="1888">
                  <c:v>39588</c:v>
                </c:pt>
                <c:pt idx="1889">
                  <c:v>39589</c:v>
                </c:pt>
                <c:pt idx="1890">
                  <c:v>39590</c:v>
                </c:pt>
                <c:pt idx="1891">
                  <c:v>39591</c:v>
                </c:pt>
                <c:pt idx="1892">
                  <c:v>39594</c:v>
                </c:pt>
                <c:pt idx="1893">
                  <c:v>39595</c:v>
                </c:pt>
                <c:pt idx="1894">
                  <c:v>39596</c:v>
                </c:pt>
                <c:pt idx="1895">
                  <c:v>39597</c:v>
                </c:pt>
                <c:pt idx="1896">
                  <c:v>39598</c:v>
                </c:pt>
                <c:pt idx="1897">
                  <c:v>39601</c:v>
                </c:pt>
                <c:pt idx="1898">
                  <c:v>39602</c:v>
                </c:pt>
                <c:pt idx="1899">
                  <c:v>39603</c:v>
                </c:pt>
                <c:pt idx="1900">
                  <c:v>39604</c:v>
                </c:pt>
                <c:pt idx="1901">
                  <c:v>39605</c:v>
                </c:pt>
                <c:pt idx="1902">
                  <c:v>39608</c:v>
                </c:pt>
                <c:pt idx="1903">
                  <c:v>39609</c:v>
                </c:pt>
                <c:pt idx="1904">
                  <c:v>39610</c:v>
                </c:pt>
                <c:pt idx="1905">
                  <c:v>39611</c:v>
                </c:pt>
                <c:pt idx="1906">
                  <c:v>39612</c:v>
                </c:pt>
                <c:pt idx="1907">
                  <c:v>39615</c:v>
                </c:pt>
                <c:pt idx="1908">
                  <c:v>39616</c:v>
                </c:pt>
                <c:pt idx="1909">
                  <c:v>39617</c:v>
                </c:pt>
                <c:pt idx="1910">
                  <c:v>39618</c:v>
                </c:pt>
                <c:pt idx="1911">
                  <c:v>39619</c:v>
                </c:pt>
                <c:pt idx="1912">
                  <c:v>39622</c:v>
                </c:pt>
                <c:pt idx="1913">
                  <c:v>39623</c:v>
                </c:pt>
                <c:pt idx="1914">
                  <c:v>39624</c:v>
                </c:pt>
                <c:pt idx="1915">
                  <c:v>39625</c:v>
                </c:pt>
                <c:pt idx="1916">
                  <c:v>39626</c:v>
                </c:pt>
                <c:pt idx="1917">
                  <c:v>39629</c:v>
                </c:pt>
                <c:pt idx="1918">
                  <c:v>39630</c:v>
                </c:pt>
                <c:pt idx="1919">
                  <c:v>39631</c:v>
                </c:pt>
                <c:pt idx="1920">
                  <c:v>39632</c:v>
                </c:pt>
                <c:pt idx="1921">
                  <c:v>39633</c:v>
                </c:pt>
                <c:pt idx="1922">
                  <c:v>39636</c:v>
                </c:pt>
                <c:pt idx="1923">
                  <c:v>39637</c:v>
                </c:pt>
                <c:pt idx="1924">
                  <c:v>39638</c:v>
                </c:pt>
                <c:pt idx="1925">
                  <c:v>39639</c:v>
                </c:pt>
                <c:pt idx="1926">
                  <c:v>39640</c:v>
                </c:pt>
                <c:pt idx="1927">
                  <c:v>39643</c:v>
                </c:pt>
                <c:pt idx="1928">
                  <c:v>39644</c:v>
                </c:pt>
                <c:pt idx="1929">
                  <c:v>39645</c:v>
                </c:pt>
                <c:pt idx="1930">
                  <c:v>39646</c:v>
                </c:pt>
                <c:pt idx="1931">
                  <c:v>39647</c:v>
                </c:pt>
                <c:pt idx="1932">
                  <c:v>39650</c:v>
                </c:pt>
                <c:pt idx="1933">
                  <c:v>39651</c:v>
                </c:pt>
                <c:pt idx="1934">
                  <c:v>39652</c:v>
                </c:pt>
                <c:pt idx="1935">
                  <c:v>39653</c:v>
                </c:pt>
                <c:pt idx="1936">
                  <c:v>39654</c:v>
                </c:pt>
                <c:pt idx="1937">
                  <c:v>39657</c:v>
                </c:pt>
                <c:pt idx="1938">
                  <c:v>39658</c:v>
                </c:pt>
                <c:pt idx="1939">
                  <c:v>39659</c:v>
                </c:pt>
                <c:pt idx="1940">
                  <c:v>39660</c:v>
                </c:pt>
                <c:pt idx="1941">
                  <c:v>39661</c:v>
                </c:pt>
                <c:pt idx="1942">
                  <c:v>39664</c:v>
                </c:pt>
                <c:pt idx="1943">
                  <c:v>39665</c:v>
                </c:pt>
                <c:pt idx="1944">
                  <c:v>39666</c:v>
                </c:pt>
                <c:pt idx="1945">
                  <c:v>39667</c:v>
                </c:pt>
                <c:pt idx="1946">
                  <c:v>39668</c:v>
                </c:pt>
                <c:pt idx="1947">
                  <c:v>39671</c:v>
                </c:pt>
                <c:pt idx="1948">
                  <c:v>39672</c:v>
                </c:pt>
                <c:pt idx="1949">
                  <c:v>39673</c:v>
                </c:pt>
                <c:pt idx="1950">
                  <c:v>39674</c:v>
                </c:pt>
                <c:pt idx="1951">
                  <c:v>39675</c:v>
                </c:pt>
                <c:pt idx="1952">
                  <c:v>39678</c:v>
                </c:pt>
                <c:pt idx="1953">
                  <c:v>39679</c:v>
                </c:pt>
                <c:pt idx="1954">
                  <c:v>39680</c:v>
                </c:pt>
                <c:pt idx="1955">
                  <c:v>39681</c:v>
                </c:pt>
                <c:pt idx="1956">
                  <c:v>39682</c:v>
                </c:pt>
                <c:pt idx="1957">
                  <c:v>39685</c:v>
                </c:pt>
                <c:pt idx="1958">
                  <c:v>39686</c:v>
                </c:pt>
                <c:pt idx="1959">
                  <c:v>39687</c:v>
                </c:pt>
                <c:pt idx="1960">
                  <c:v>39688</c:v>
                </c:pt>
                <c:pt idx="1961">
                  <c:v>39689</c:v>
                </c:pt>
                <c:pt idx="1962">
                  <c:v>39692</c:v>
                </c:pt>
                <c:pt idx="1963">
                  <c:v>39693</c:v>
                </c:pt>
                <c:pt idx="1964">
                  <c:v>39694</c:v>
                </c:pt>
                <c:pt idx="1965">
                  <c:v>39695</c:v>
                </c:pt>
                <c:pt idx="1966">
                  <c:v>39696</c:v>
                </c:pt>
                <c:pt idx="1967">
                  <c:v>39699</c:v>
                </c:pt>
                <c:pt idx="1968">
                  <c:v>39700</c:v>
                </c:pt>
                <c:pt idx="1969">
                  <c:v>39701</c:v>
                </c:pt>
                <c:pt idx="1970">
                  <c:v>39702</c:v>
                </c:pt>
                <c:pt idx="1971">
                  <c:v>39703</c:v>
                </c:pt>
                <c:pt idx="1972">
                  <c:v>39706</c:v>
                </c:pt>
                <c:pt idx="1973">
                  <c:v>39707</c:v>
                </c:pt>
                <c:pt idx="1974">
                  <c:v>39708</c:v>
                </c:pt>
                <c:pt idx="1975">
                  <c:v>39709</c:v>
                </c:pt>
                <c:pt idx="1976">
                  <c:v>39710</c:v>
                </c:pt>
                <c:pt idx="1977">
                  <c:v>39713</c:v>
                </c:pt>
                <c:pt idx="1978">
                  <c:v>39714</c:v>
                </c:pt>
                <c:pt idx="1979">
                  <c:v>39715</c:v>
                </c:pt>
                <c:pt idx="1980">
                  <c:v>39716</c:v>
                </c:pt>
                <c:pt idx="1981">
                  <c:v>39717</c:v>
                </c:pt>
                <c:pt idx="1982">
                  <c:v>39720</c:v>
                </c:pt>
                <c:pt idx="1983">
                  <c:v>39721</c:v>
                </c:pt>
                <c:pt idx="1984">
                  <c:v>39722</c:v>
                </c:pt>
                <c:pt idx="1985">
                  <c:v>39723</c:v>
                </c:pt>
                <c:pt idx="1986">
                  <c:v>39724</c:v>
                </c:pt>
                <c:pt idx="1987">
                  <c:v>39727</c:v>
                </c:pt>
                <c:pt idx="1988">
                  <c:v>39728</c:v>
                </c:pt>
                <c:pt idx="1989">
                  <c:v>39729</c:v>
                </c:pt>
                <c:pt idx="1990">
                  <c:v>39730</c:v>
                </c:pt>
                <c:pt idx="1991">
                  <c:v>39731</c:v>
                </c:pt>
                <c:pt idx="1992">
                  <c:v>39734</c:v>
                </c:pt>
                <c:pt idx="1993">
                  <c:v>39735</c:v>
                </c:pt>
                <c:pt idx="1994">
                  <c:v>39736</c:v>
                </c:pt>
                <c:pt idx="1995">
                  <c:v>39737</c:v>
                </c:pt>
                <c:pt idx="1996">
                  <c:v>39738</c:v>
                </c:pt>
                <c:pt idx="1997">
                  <c:v>39741</c:v>
                </c:pt>
                <c:pt idx="1998">
                  <c:v>39742</c:v>
                </c:pt>
                <c:pt idx="1999">
                  <c:v>39743</c:v>
                </c:pt>
                <c:pt idx="2000">
                  <c:v>39744</c:v>
                </c:pt>
                <c:pt idx="2001">
                  <c:v>39745</c:v>
                </c:pt>
                <c:pt idx="2002">
                  <c:v>39748</c:v>
                </c:pt>
                <c:pt idx="2003">
                  <c:v>39749</c:v>
                </c:pt>
                <c:pt idx="2004">
                  <c:v>39750</c:v>
                </c:pt>
                <c:pt idx="2005">
                  <c:v>39751</c:v>
                </c:pt>
                <c:pt idx="2006">
                  <c:v>39752</c:v>
                </c:pt>
                <c:pt idx="2007">
                  <c:v>39755</c:v>
                </c:pt>
                <c:pt idx="2008">
                  <c:v>39756</c:v>
                </c:pt>
                <c:pt idx="2009">
                  <c:v>39757</c:v>
                </c:pt>
                <c:pt idx="2010">
                  <c:v>39758</c:v>
                </c:pt>
                <c:pt idx="2011">
                  <c:v>39759</c:v>
                </c:pt>
                <c:pt idx="2012">
                  <c:v>39762</c:v>
                </c:pt>
                <c:pt idx="2013">
                  <c:v>39763</c:v>
                </c:pt>
                <c:pt idx="2014">
                  <c:v>39764</c:v>
                </c:pt>
                <c:pt idx="2015">
                  <c:v>39765</c:v>
                </c:pt>
                <c:pt idx="2016">
                  <c:v>39766</c:v>
                </c:pt>
                <c:pt idx="2017">
                  <c:v>39769</c:v>
                </c:pt>
                <c:pt idx="2018">
                  <c:v>39770</c:v>
                </c:pt>
                <c:pt idx="2019">
                  <c:v>39771</c:v>
                </c:pt>
                <c:pt idx="2020">
                  <c:v>39772</c:v>
                </c:pt>
                <c:pt idx="2021">
                  <c:v>39773</c:v>
                </c:pt>
                <c:pt idx="2022">
                  <c:v>39776</c:v>
                </c:pt>
                <c:pt idx="2023">
                  <c:v>39777</c:v>
                </c:pt>
                <c:pt idx="2024">
                  <c:v>39778</c:v>
                </c:pt>
                <c:pt idx="2025">
                  <c:v>39779</c:v>
                </c:pt>
                <c:pt idx="2026">
                  <c:v>39780</c:v>
                </c:pt>
                <c:pt idx="2027">
                  <c:v>39783</c:v>
                </c:pt>
                <c:pt idx="2028">
                  <c:v>39784</c:v>
                </c:pt>
                <c:pt idx="2029">
                  <c:v>39785</c:v>
                </c:pt>
                <c:pt idx="2030">
                  <c:v>39786</c:v>
                </c:pt>
                <c:pt idx="2031">
                  <c:v>39787</c:v>
                </c:pt>
                <c:pt idx="2032">
                  <c:v>39790</c:v>
                </c:pt>
                <c:pt idx="2033">
                  <c:v>39791</c:v>
                </c:pt>
                <c:pt idx="2034">
                  <c:v>39792</c:v>
                </c:pt>
                <c:pt idx="2035">
                  <c:v>39793</c:v>
                </c:pt>
                <c:pt idx="2036">
                  <c:v>39794</c:v>
                </c:pt>
                <c:pt idx="2037">
                  <c:v>39797</c:v>
                </c:pt>
                <c:pt idx="2038">
                  <c:v>39798</c:v>
                </c:pt>
                <c:pt idx="2039">
                  <c:v>39799</c:v>
                </c:pt>
                <c:pt idx="2040">
                  <c:v>39800</c:v>
                </c:pt>
                <c:pt idx="2041">
                  <c:v>39801</c:v>
                </c:pt>
                <c:pt idx="2042">
                  <c:v>39804</c:v>
                </c:pt>
                <c:pt idx="2043">
                  <c:v>39805</c:v>
                </c:pt>
                <c:pt idx="2044">
                  <c:v>39806</c:v>
                </c:pt>
                <c:pt idx="2045">
                  <c:v>39811</c:v>
                </c:pt>
                <c:pt idx="2046">
                  <c:v>39812</c:v>
                </c:pt>
                <c:pt idx="2047">
                  <c:v>39813</c:v>
                </c:pt>
                <c:pt idx="2048">
                  <c:v>39815</c:v>
                </c:pt>
                <c:pt idx="2049">
                  <c:v>39818</c:v>
                </c:pt>
                <c:pt idx="2050">
                  <c:v>39819</c:v>
                </c:pt>
                <c:pt idx="2051">
                  <c:v>39820</c:v>
                </c:pt>
                <c:pt idx="2052">
                  <c:v>39821</c:v>
                </c:pt>
                <c:pt idx="2053">
                  <c:v>39822</c:v>
                </c:pt>
                <c:pt idx="2054">
                  <c:v>39825</c:v>
                </c:pt>
                <c:pt idx="2055">
                  <c:v>39826</c:v>
                </c:pt>
                <c:pt idx="2056">
                  <c:v>39827</c:v>
                </c:pt>
                <c:pt idx="2057">
                  <c:v>39828</c:v>
                </c:pt>
                <c:pt idx="2058">
                  <c:v>39829</c:v>
                </c:pt>
                <c:pt idx="2059">
                  <c:v>39832</c:v>
                </c:pt>
                <c:pt idx="2060">
                  <c:v>39833</c:v>
                </c:pt>
                <c:pt idx="2061">
                  <c:v>39834</c:v>
                </c:pt>
                <c:pt idx="2062">
                  <c:v>39835</c:v>
                </c:pt>
                <c:pt idx="2063">
                  <c:v>39836</c:v>
                </c:pt>
                <c:pt idx="2064">
                  <c:v>39839</c:v>
                </c:pt>
                <c:pt idx="2065">
                  <c:v>39840</c:v>
                </c:pt>
                <c:pt idx="2066">
                  <c:v>39841</c:v>
                </c:pt>
                <c:pt idx="2067">
                  <c:v>39842</c:v>
                </c:pt>
                <c:pt idx="2068">
                  <c:v>39843</c:v>
                </c:pt>
                <c:pt idx="2069">
                  <c:v>39846</c:v>
                </c:pt>
                <c:pt idx="2070">
                  <c:v>39847</c:v>
                </c:pt>
                <c:pt idx="2071">
                  <c:v>39848</c:v>
                </c:pt>
                <c:pt idx="2072">
                  <c:v>39849</c:v>
                </c:pt>
                <c:pt idx="2073">
                  <c:v>39850</c:v>
                </c:pt>
                <c:pt idx="2074">
                  <c:v>39853</c:v>
                </c:pt>
                <c:pt idx="2075">
                  <c:v>39854</c:v>
                </c:pt>
                <c:pt idx="2076">
                  <c:v>39855</c:v>
                </c:pt>
                <c:pt idx="2077">
                  <c:v>39856</c:v>
                </c:pt>
                <c:pt idx="2078">
                  <c:v>39857</c:v>
                </c:pt>
                <c:pt idx="2079">
                  <c:v>39860</c:v>
                </c:pt>
                <c:pt idx="2080">
                  <c:v>39861</c:v>
                </c:pt>
                <c:pt idx="2081">
                  <c:v>39862</c:v>
                </c:pt>
                <c:pt idx="2082">
                  <c:v>39863</c:v>
                </c:pt>
                <c:pt idx="2083">
                  <c:v>39864</c:v>
                </c:pt>
                <c:pt idx="2084">
                  <c:v>39867</c:v>
                </c:pt>
                <c:pt idx="2085">
                  <c:v>39868</c:v>
                </c:pt>
                <c:pt idx="2086">
                  <c:v>39869</c:v>
                </c:pt>
                <c:pt idx="2087">
                  <c:v>39870</c:v>
                </c:pt>
                <c:pt idx="2088">
                  <c:v>39871</c:v>
                </c:pt>
                <c:pt idx="2089">
                  <c:v>39874</c:v>
                </c:pt>
                <c:pt idx="2090">
                  <c:v>39875</c:v>
                </c:pt>
                <c:pt idx="2091">
                  <c:v>39876</c:v>
                </c:pt>
                <c:pt idx="2092">
                  <c:v>39877</c:v>
                </c:pt>
                <c:pt idx="2093">
                  <c:v>39878</c:v>
                </c:pt>
                <c:pt idx="2094">
                  <c:v>39881</c:v>
                </c:pt>
                <c:pt idx="2095">
                  <c:v>39882</c:v>
                </c:pt>
                <c:pt idx="2096">
                  <c:v>39883</c:v>
                </c:pt>
                <c:pt idx="2097">
                  <c:v>39884</c:v>
                </c:pt>
                <c:pt idx="2098">
                  <c:v>39885</c:v>
                </c:pt>
                <c:pt idx="2099">
                  <c:v>39888</c:v>
                </c:pt>
                <c:pt idx="2100">
                  <c:v>39889</c:v>
                </c:pt>
                <c:pt idx="2101">
                  <c:v>39890</c:v>
                </c:pt>
                <c:pt idx="2102">
                  <c:v>39891</c:v>
                </c:pt>
                <c:pt idx="2103">
                  <c:v>39892</c:v>
                </c:pt>
                <c:pt idx="2104">
                  <c:v>39895</c:v>
                </c:pt>
                <c:pt idx="2105">
                  <c:v>39896</c:v>
                </c:pt>
                <c:pt idx="2106">
                  <c:v>39897</c:v>
                </c:pt>
                <c:pt idx="2107">
                  <c:v>39898</c:v>
                </c:pt>
                <c:pt idx="2108">
                  <c:v>39899</c:v>
                </c:pt>
                <c:pt idx="2109">
                  <c:v>39902</c:v>
                </c:pt>
                <c:pt idx="2110">
                  <c:v>39903</c:v>
                </c:pt>
                <c:pt idx="2111">
                  <c:v>39904</c:v>
                </c:pt>
                <c:pt idx="2112">
                  <c:v>39905</c:v>
                </c:pt>
                <c:pt idx="2113">
                  <c:v>39906</c:v>
                </c:pt>
                <c:pt idx="2114">
                  <c:v>39909</c:v>
                </c:pt>
                <c:pt idx="2115">
                  <c:v>39910</c:v>
                </c:pt>
                <c:pt idx="2116">
                  <c:v>39911</c:v>
                </c:pt>
                <c:pt idx="2117">
                  <c:v>39912</c:v>
                </c:pt>
                <c:pt idx="2118">
                  <c:v>39917</c:v>
                </c:pt>
                <c:pt idx="2119">
                  <c:v>39918</c:v>
                </c:pt>
                <c:pt idx="2120">
                  <c:v>39919</c:v>
                </c:pt>
                <c:pt idx="2121">
                  <c:v>39920</c:v>
                </c:pt>
                <c:pt idx="2122">
                  <c:v>39923</c:v>
                </c:pt>
                <c:pt idx="2123">
                  <c:v>39924</c:v>
                </c:pt>
                <c:pt idx="2124">
                  <c:v>39925</c:v>
                </c:pt>
                <c:pt idx="2125">
                  <c:v>39926</c:v>
                </c:pt>
                <c:pt idx="2126">
                  <c:v>39927</c:v>
                </c:pt>
                <c:pt idx="2127">
                  <c:v>39930</c:v>
                </c:pt>
                <c:pt idx="2128">
                  <c:v>39931</c:v>
                </c:pt>
                <c:pt idx="2129">
                  <c:v>39932</c:v>
                </c:pt>
                <c:pt idx="2130">
                  <c:v>39933</c:v>
                </c:pt>
                <c:pt idx="2131">
                  <c:v>39934</c:v>
                </c:pt>
                <c:pt idx="2132">
                  <c:v>39937</c:v>
                </c:pt>
                <c:pt idx="2133">
                  <c:v>39938</c:v>
                </c:pt>
                <c:pt idx="2134">
                  <c:v>39939</c:v>
                </c:pt>
                <c:pt idx="2135">
                  <c:v>39940</c:v>
                </c:pt>
                <c:pt idx="2136">
                  <c:v>39941</c:v>
                </c:pt>
                <c:pt idx="2137">
                  <c:v>39944</c:v>
                </c:pt>
                <c:pt idx="2138">
                  <c:v>39945</c:v>
                </c:pt>
                <c:pt idx="2139">
                  <c:v>39946</c:v>
                </c:pt>
                <c:pt idx="2140">
                  <c:v>39947</c:v>
                </c:pt>
                <c:pt idx="2141">
                  <c:v>39948</c:v>
                </c:pt>
                <c:pt idx="2142">
                  <c:v>39951</c:v>
                </c:pt>
                <c:pt idx="2143">
                  <c:v>39952</c:v>
                </c:pt>
                <c:pt idx="2144">
                  <c:v>39953</c:v>
                </c:pt>
                <c:pt idx="2145">
                  <c:v>39954</c:v>
                </c:pt>
                <c:pt idx="2146">
                  <c:v>39955</c:v>
                </c:pt>
                <c:pt idx="2147">
                  <c:v>39958</c:v>
                </c:pt>
                <c:pt idx="2148">
                  <c:v>39959</c:v>
                </c:pt>
                <c:pt idx="2149">
                  <c:v>39960</c:v>
                </c:pt>
                <c:pt idx="2150">
                  <c:v>39961</c:v>
                </c:pt>
                <c:pt idx="2151">
                  <c:v>39962</c:v>
                </c:pt>
                <c:pt idx="2152">
                  <c:v>39965</c:v>
                </c:pt>
                <c:pt idx="2153">
                  <c:v>39966</c:v>
                </c:pt>
                <c:pt idx="2154">
                  <c:v>39967</c:v>
                </c:pt>
                <c:pt idx="2155">
                  <c:v>39968</c:v>
                </c:pt>
                <c:pt idx="2156">
                  <c:v>39969</c:v>
                </c:pt>
                <c:pt idx="2157">
                  <c:v>39972</c:v>
                </c:pt>
                <c:pt idx="2158">
                  <c:v>39973</c:v>
                </c:pt>
                <c:pt idx="2159">
                  <c:v>39974</c:v>
                </c:pt>
                <c:pt idx="2160">
                  <c:v>39975</c:v>
                </c:pt>
                <c:pt idx="2161">
                  <c:v>39976</c:v>
                </c:pt>
                <c:pt idx="2162">
                  <c:v>39979</c:v>
                </c:pt>
                <c:pt idx="2163">
                  <c:v>39980</c:v>
                </c:pt>
                <c:pt idx="2164">
                  <c:v>39981</c:v>
                </c:pt>
                <c:pt idx="2165">
                  <c:v>39982</c:v>
                </c:pt>
                <c:pt idx="2166">
                  <c:v>39983</c:v>
                </c:pt>
                <c:pt idx="2167">
                  <c:v>39986</c:v>
                </c:pt>
                <c:pt idx="2168">
                  <c:v>39987</c:v>
                </c:pt>
                <c:pt idx="2169">
                  <c:v>39988</c:v>
                </c:pt>
                <c:pt idx="2170">
                  <c:v>39989</c:v>
                </c:pt>
                <c:pt idx="2171">
                  <c:v>39990</c:v>
                </c:pt>
                <c:pt idx="2172">
                  <c:v>39993</c:v>
                </c:pt>
                <c:pt idx="2173">
                  <c:v>39994</c:v>
                </c:pt>
                <c:pt idx="2174">
                  <c:v>39995</c:v>
                </c:pt>
                <c:pt idx="2175">
                  <c:v>39996</c:v>
                </c:pt>
                <c:pt idx="2176">
                  <c:v>39997</c:v>
                </c:pt>
                <c:pt idx="2177">
                  <c:v>40000</c:v>
                </c:pt>
                <c:pt idx="2178">
                  <c:v>40001</c:v>
                </c:pt>
                <c:pt idx="2179">
                  <c:v>40002</c:v>
                </c:pt>
                <c:pt idx="2180">
                  <c:v>40003</c:v>
                </c:pt>
                <c:pt idx="2181">
                  <c:v>40004</c:v>
                </c:pt>
                <c:pt idx="2182">
                  <c:v>40007</c:v>
                </c:pt>
                <c:pt idx="2183">
                  <c:v>40008</c:v>
                </c:pt>
                <c:pt idx="2184">
                  <c:v>40009</c:v>
                </c:pt>
                <c:pt idx="2185">
                  <c:v>40010</c:v>
                </c:pt>
                <c:pt idx="2186">
                  <c:v>40011</c:v>
                </c:pt>
                <c:pt idx="2187">
                  <c:v>40014</c:v>
                </c:pt>
                <c:pt idx="2188">
                  <c:v>40015</c:v>
                </c:pt>
                <c:pt idx="2189">
                  <c:v>40016</c:v>
                </c:pt>
                <c:pt idx="2190">
                  <c:v>40017</c:v>
                </c:pt>
                <c:pt idx="2191">
                  <c:v>40018</c:v>
                </c:pt>
                <c:pt idx="2192">
                  <c:v>40021</c:v>
                </c:pt>
                <c:pt idx="2193">
                  <c:v>40022</c:v>
                </c:pt>
                <c:pt idx="2194">
                  <c:v>40023</c:v>
                </c:pt>
                <c:pt idx="2195">
                  <c:v>40024</c:v>
                </c:pt>
                <c:pt idx="2196">
                  <c:v>40025</c:v>
                </c:pt>
                <c:pt idx="2197">
                  <c:v>40028</c:v>
                </c:pt>
                <c:pt idx="2198">
                  <c:v>40029</c:v>
                </c:pt>
                <c:pt idx="2199">
                  <c:v>40030</c:v>
                </c:pt>
                <c:pt idx="2200">
                  <c:v>40031</c:v>
                </c:pt>
                <c:pt idx="2201">
                  <c:v>40032</c:v>
                </c:pt>
                <c:pt idx="2202">
                  <c:v>40035</c:v>
                </c:pt>
                <c:pt idx="2203">
                  <c:v>40036</c:v>
                </c:pt>
                <c:pt idx="2204">
                  <c:v>40037</c:v>
                </c:pt>
                <c:pt idx="2205">
                  <c:v>40038</c:v>
                </c:pt>
                <c:pt idx="2206">
                  <c:v>40039</c:v>
                </c:pt>
                <c:pt idx="2207">
                  <c:v>40042</c:v>
                </c:pt>
                <c:pt idx="2208">
                  <c:v>40043</c:v>
                </c:pt>
                <c:pt idx="2209">
                  <c:v>40044</c:v>
                </c:pt>
                <c:pt idx="2210">
                  <c:v>40045</c:v>
                </c:pt>
                <c:pt idx="2211">
                  <c:v>40046</c:v>
                </c:pt>
                <c:pt idx="2212">
                  <c:v>40049</c:v>
                </c:pt>
                <c:pt idx="2213">
                  <c:v>40050</c:v>
                </c:pt>
                <c:pt idx="2214">
                  <c:v>40051</c:v>
                </c:pt>
                <c:pt idx="2215">
                  <c:v>40052</c:v>
                </c:pt>
                <c:pt idx="2216">
                  <c:v>40053</c:v>
                </c:pt>
                <c:pt idx="2217">
                  <c:v>40056</c:v>
                </c:pt>
                <c:pt idx="2218">
                  <c:v>40057</c:v>
                </c:pt>
                <c:pt idx="2219">
                  <c:v>40058</c:v>
                </c:pt>
                <c:pt idx="2220">
                  <c:v>40059</c:v>
                </c:pt>
                <c:pt idx="2221">
                  <c:v>40060</c:v>
                </c:pt>
                <c:pt idx="2222">
                  <c:v>40063</c:v>
                </c:pt>
                <c:pt idx="2223">
                  <c:v>40064</c:v>
                </c:pt>
                <c:pt idx="2224">
                  <c:v>40065</c:v>
                </c:pt>
                <c:pt idx="2225">
                  <c:v>40066</c:v>
                </c:pt>
                <c:pt idx="2226">
                  <c:v>40067</c:v>
                </c:pt>
                <c:pt idx="2227">
                  <c:v>40070</c:v>
                </c:pt>
                <c:pt idx="2228">
                  <c:v>40071</c:v>
                </c:pt>
                <c:pt idx="2229">
                  <c:v>40072</c:v>
                </c:pt>
                <c:pt idx="2230">
                  <c:v>40073</c:v>
                </c:pt>
                <c:pt idx="2231">
                  <c:v>40074</c:v>
                </c:pt>
                <c:pt idx="2232">
                  <c:v>40077</c:v>
                </c:pt>
                <c:pt idx="2233">
                  <c:v>40078</c:v>
                </c:pt>
                <c:pt idx="2234">
                  <c:v>40079</c:v>
                </c:pt>
                <c:pt idx="2235">
                  <c:v>40080</c:v>
                </c:pt>
                <c:pt idx="2236">
                  <c:v>40081</c:v>
                </c:pt>
                <c:pt idx="2237">
                  <c:v>40084</c:v>
                </c:pt>
                <c:pt idx="2238">
                  <c:v>40085</c:v>
                </c:pt>
                <c:pt idx="2239">
                  <c:v>40086</c:v>
                </c:pt>
                <c:pt idx="2240">
                  <c:v>40087</c:v>
                </c:pt>
                <c:pt idx="2241">
                  <c:v>40088</c:v>
                </c:pt>
                <c:pt idx="2242">
                  <c:v>40091</c:v>
                </c:pt>
                <c:pt idx="2243">
                  <c:v>40092</c:v>
                </c:pt>
                <c:pt idx="2244">
                  <c:v>40093</c:v>
                </c:pt>
                <c:pt idx="2245">
                  <c:v>40094</c:v>
                </c:pt>
                <c:pt idx="2246">
                  <c:v>40095</c:v>
                </c:pt>
                <c:pt idx="2247">
                  <c:v>40098</c:v>
                </c:pt>
                <c:pt idx="2248">
                  <c:v>40099</c:v>
                </c:pt>
                <c:pt idx="2249">
                  <c:v>40100</c:v>
                </c:pt>
                <c:pt idx="2250">
                  <c:v>40101</c:v>
                </c:pt>
                <c:pt idx="2251">
                  <c:v>40102</c:v>
                </c:pt>
                <c:pt idx="2252">
                  <c:v>40105</c:v>
                </c:pt>
                <c:pt idx="2253">
                  <c:v>40106</c:v>
                </c:pt>
                <c:pt idx="2254">
                  <c:v>40107</c:v>
                </c:pt>
                <c:pt idx="2255">
                  <c:v>40108</c:v>
                </c:pt>
                <c:pt idx="2256">
                  <c:v>40109</c:v>
                </c:pt>
                <c:pt idx="2257">
                  <c:v>40112</c:v>
                </c:pt>
                <c:pt idx="2258">
                  <c:v>40113</c:v>
                </c:pt>
                <c:pt idx="2259">
                  <c:v>40114</c:v>
                </c:pt>
                <c:pt idx="2260">
                  <c:v>40115</c:v>
                </c:pt>
                <c:pt idx="2261">
                  <c:v>40116</c:v>
                </c:pt>
                <c:pt idx="2262">
                  <c:v>40119</c:v>
                </c:pt>
                <c:pt idx="2263">
                  <c:v>40120</c:v>
                </c:pt>
                <c:pt idx="2264">
                  <c:v>40121</c:v>
                </c:pt>
                <c:pt idx="2265">
                  <c:v>40122</c:v>
                </c:pt>
                <c:pt idx="2266">
                  <c:v>40123</c:v>
                </c:pt>
                <c:pt idx="2267">
                  <c:v>40126</c:v>
                </c:pt>
                <c:pt idx="2268">
                  <c:v>40127</c:v>
                </c:pt>
                <c:pt idx="2269">
                  <c:v>40128</c:v>
                </c:pt>
                <c:pt idx="2270">
                  <c:v>40129</c:v>
                </c:pt>
                <c:pt idx="2271">
                  <c:v>40130</c:v>
                </c:pt>
                <c:pt idx="2272">
                  <c:v>40133</c:v>
                </c:pt>
                <c:pt idx="2273">
                  <c:v>40134</c:v>
                </c:pt>
                <c:pt idx="2274">
                  <c:v>40135</c:v>
                </c:pt>
                <c:pt idx="2275">
                  <c:v>40136</c:v>
                </c:pt>
                <c:pt idx="2276">
                  <c:v>40137</c:v>
                </c:pt>
                <c:pt idx="2277">
                  <c:v>40140</c:v>
                </c:pt>
                <c:pt idx="2278">
                  <c:v>40141</c:v>
                </c:pt>
                <c:pt idx="2279">
                  <c:v>40142</c:v>
                </c:pt>
                <c:pt idx="2280">
                  <c:v>40143</c:v>
                </c:pt>
                <c:pt idx="2281">
                  <c:v>40144</c:v>
                </c:pt>
                <c:pt idx="2282">
                  <c:v>40147</c:v>
                </c:pt>
                <c:pt idx="2283">
                  <c:v>40148</c:v>
                </c:pt>
                <c:pt idx="2284">
                  <c:v>40149</c:v>
                </c:pt>
                <c:pt idx="2285">
                  <c:v>40150</c:v>
                </c:pt>
                <c:pt idx="2286">
                  <c:v>40151</c:v>
                </c:pt>
                <c:pt idx="2287">
                  <c:v>40154</c:v>
                </c:pt>
                <c:pt idx="2288">
                  <c:v>40155</c:v>
                </c:pt>
                <c:pt idx="2289">
                  <c:v>40156</c:v>
                </c:pt>
                <c:pt idx="2290">
                  <c:v>40157</c:v>
                </c:pt>
                <c:pt idx="2291">
                  <c:v>40158</c:v>
                </c:pt>
                <c:pt idx="2292">
                  <c:v>40161</c:v>
                </c:pt>
                <c:pt idx="2293">
                  <c:v>40162</c:v>
                </c:pt>
                <c:pt idx="2294">
                  <c:v>40163</c:v>
                </c:pt>
                <c:pt idx="2295">
                  <c:v>40164</c:v>
                </c:pt>
                <c:pt idx="2296">
                  <c:v>40165</c:v>
                </c:pt>
                <c:pt idx="2297">
                  <c:v>40168</c:v>
                </c:pt>
                <c:pt idx="2298">
                  <c:v>40169</c:v>
                </c:pt>
                <c:pt idx="2299">
                  <c:v>40170</c:v>
                </c:pt>
                <c:pt idx="2300">
                  <c:v>40171</c:v>
                </c:pt>
                <c:pt idx="2301">
                  <c:v>40175</c:v>
                </c:pt>
                <c:pt idx="2302">
                  <c:v>40176</c:v>
                </c:pt>
                <c:pt idx="2303">
                  <c:v>40177</c:v>
                </c:pt>
                <c:pt idx="2304">
                  <c:v>40178</c:v>
                </c:pt>
                <c:pt idx="2305">
                  <c:v>40182</c:v>
                </c:pt>
                <c:pt idx="2306">
                  <c:v>40183</c:v>
                </c:pt>
                <c:pt idx="2307">
                  <c:v>40184</c:v>
                </c:pt>
                <c:pt idx="2308">
                  <c:v>40185</c:v>
                </c:pt>
                <c:pt idx="2309">
                  <c:v>40186</c:v>
                </c:pt>
                <c:pt idx="2310">
                  <c:v>40189</c:v>
                </c:pt>
                <c:pt idx="2311">
                  <c:v>40190</c:v>
                </c:pt>
                <c:pt idx="2312">
                  <c:v>40191</c:v>
                </c:pt>
                <c:pt idx="2313">
                  <c:v>40192</c:v>
                </c:pt>
                <c:pt idx="2314">
                  <c:v>40193</c:v>
                </c:pt>
                <c:pt idx="2315">
                  <c:v>40196</c:v>
                </c:pt>
                <c:pt idx="2316">
                  <c:v>40197</c:v>
                </c:pt>
                <c:pt idx="2317">
                  <c:v>40198</c:v>
                </c:pt>
                <c:pt idx="2318">
                  <c:v>40199</c:v>
                </c:pt>
                <c:pt idx="2319">
                  <c:v>40200</c:v>
                </c:pt>
                <c:pt idx="2320">
                  <c:v>40203</c:v>
                </c:pt>
                <c:pt idx="2321">
                  <c:v>40204</c:v>
                </c:pt>
                <c:pt idx="2322">
                  <c:v>40205</c:v>
                </c:pt>
                <c:pt idx="2323">
                  <c:v>40206</c:v>
                </c:pt>
                <c:pt idx="2324">
                  <c:v>40207</c:v>
                </c:pt>
                <c:pt idx="2325">
                  <c:v>40210</c:v>
                </c:pt>
                <c:pt idx="2326">
                  <c:v>40211</c:v>
                </c:pt>
                <c:pt idx="2327">
                  <c:v>40212</c:v>
                </c:pt>
                <c:pt idx="2328">
                  <c:v>40213</c:v>
                </c:pt>
                <c:pt idx="2329">
                  <c:v>40214</c:v>
                </c:pt>
                <c:pt idx="2330">
                  <c:v>40217</c:v>
                </c:pt>
                <c:pt idx="2331">
                  <c:v>40218</c:v>
                </c:pt>
                <c:pt idx="2332">
                  <c:v>40219</c:v>
                </c:pt>
                <c:pt idx="2333">
                  <c:v>40220</c:v>
                </c:pt>
                <c:pt idx="2334">
                  <c:v>40221</c:v>
                </c:pt>
                <c:pt idx="2335">
                  <c:v>40224</c:v>
                </c:pt>
                <c:pt idx="2336">
                  <c:v>40225</c:v>
                </c:pt>
                <c:pt idx="2337">
                  <c:v>40226</c:v>
                </c:pt>
                <c:pt idx="2338">
                  <c:v>40227</c:v>
                </c:pt>
                <c:pt idx="2339">
                  <c:v>40228</c:v>
                </c:pt>
                <c:pt idx="2340">
                  <c:v>40231</c:v>
                </c:pt>
                <c:pt idx="2341">
                  <c:v>40232</c:v>
                </c:pt>
                <c:pt idx="2342">
                  <c:v>40233</c:v>
                </c:pt>
                <c:pt idx="2343">
                  <c:v>40234</c:v>
                </c:pt>
                <c:pt idx="2344">
                  <c:v>40235</c:v>
                </c:pt>
                <c:pt idx="2345">
                  <c:v>40238</c:v>
                </c:pt>
                <c:pt idx="2346">
                  <c:v>40239</c:v>
                </c:pt>
                <c:pt idx="2347">
                  <c:v>40240</c:v>
                </c:pt>
                <c:pt idx="2348">
                  <c:v>40241</c:v>
                </c:pt>
                <c:pt idx="2349">
                  <c:v>40242</c:v>
                </c:pt>
                <c:pt idx="2350">
                  <c:v>40245</c:v>
                </c:pt>
                <c:pt idx="2351">
                  <c:v>40246</c:v>
                </c:pt>
                <c:pt idx="2352">
                  <c:v>40247</c:v>
                </c:pt>
                <c:pt idx="2353">
                  <c:v>40248</c:v>
                </c:pt>
                <c:pt idx="2354">
                  <c:v>40249</c:v>
                </c:pt>
                <c:pt idx="2355">
                  <c:v>40252</c:v>
                </c:pt>
                <c:pt idx="2356">
                  <c:v>40253</c:v>
                </c:pt>
                <c:pt idx="2357">
                  <c:v>40254</c:v>
                </c:pt>
                <c:pt idx="2358">
                  <c:v>40255</c:v>
                </c:pt>
                <c:pt idx="2359">
                  <c:v>40256</c:v>
                </c:pt>
                <c:pt idx="2360">
                  <c:v>40259</c:v>
                </c:pt>
                <c:pt idx="2361">
                  <c:v>40260</c:v>
                </c:pt>
                <c:pt idx="2362">
                  <c:v>40261</c:v>
                </c:pt>
                <c:pt idx="2363">
                  <c:v>40262</c:v>
                </c:pt>
                <c:pt idx="2364">
                  <c:v>40263</c:v>
                </c:pt>
                <c:pt idx="2365">
                  <c:v>40266</c:v>
                </c:pt>
                <c:pt idx="2366">
                  <c:v>40267</c:v>
                </c:pt>
                <c:pt idx="2367">
                  <c:v>40268</c:v>
                </c:pt>
                <c:pt idx="2368">
                  <c:v>40269</c:v>
                </c:pt>
                <c:pt idx="2369">
                  <c:v>40274</c:v>
                </c:pt>
                <c:pt idx="2370">
                  <c:v>40275</c:v>
                </c:pt>
                <c:pt idx="2371">
                  <c:v>40276</c:v>
                </c:pt>
                <c:pt idx="2372">
                  <c:v>40277</c:v>
                </c:pt>
                <c:pt idx="2373">
                  <c:v>40280</c:v>
                </c:pt>
                <c:pt idx="2374">
                  <c:v>40281</c:v>
                </c:pt>
                <c:pt idx="2375">
                  <c:v>40282</c:v>
                </c:pt>
                <c:pt idx="2376">
                  <c:v>40283</c:v>
                </c:pt>
                <c:pt idx="2377">
                  <c:v>40284</c:v>
                </c:pt>
                <c:pt idx="2378">
                  <c:v>40287</c:v>
                </c:pt>
                <c:pt idx="2379">
                  <c:v>40288</c:v>
                </c:pt>
                <c:pt idx="2380">
                  <c:v>40289</c:v>
                </c:pt>
                <c:pt idx="2381">
                  <c:v>40290</c:v>
                </c:pt>
                <c:pt idx="2382">
                  <c:v>40291</c:v>
                </c:pt>
                <c:pt idx="2383">
                  <c:v>40294</c:v>
                </c:pt>
                <c:pt idx="2384">
                  <c:v>40295</c:v>
                </c:pt>
                <c:pt idx="2385">
                  <c:v>40296</c:v>
                </c:pt>
                <c:pt idx="2386">
                  <c:v>40297</c:v>
                </c:pt>
                <c:pt idx="2387">
                  <c:v>40298</c:v>
                </c:pt>
                <c:pt idx="2388">
                  <c:v>40301</c:v>
                </c:pt>
                <c:pt idx="2389">
                  <c:v>40302</c:v>
                </c:pt>
                <c:pt idx="2390">
                  <c:v>40303</c:v>
                </c:pt>
                <c:pt idx="2391">
                  <c:v>40304</c:v>
                </c:pt>
                <c:pt idx="2392">
                  <c:v>40305</c:v>
                </c:pt>
                <c:pt idx="2393">
                  <c:v>40308</c:v>
                </c:pt>
                <c:pt idx="2394">
                  <c:v>40309</c:v>
                </c:pt>
                <c:pt idx="2395">
                  <c:v>40310</c:v>
                </c:pt>
                <c:pt idx="2396">
                  <c:v>40311</c:v>
                </c:pt>
                <c:pt idx="2397">
                  <c:v>40312</c:v>
                </c:pt>
                <c:pt idx="2398">
                  <c:v>40315</c:v>
                </c:pt>
                <c:pt idx="2399">
                  <c:v>40316</c:v>
                </c:pt>
                <c:pt idx="2400">
                  <c:v>40317</c:v>
                </c:pt>
                <c:pt idx="2401">
                  <c:v>40318</c:v>
                </c:pt>
                <c:pt idx="2402">
                  <c:v>40319</c:v>
                </c:pt>
                <c:pt idx="2403">
                  <c:v>40322</c:v>
                </c:pt>
                <c:pt idx="2404">
                  <c:v>40323</c:v>
                </c:pt>
                <c:pt idx="2405">
                  <c:v>40324</c:v>
                </c:pt>
                <c:pt idx="2406">
                  <c:v>40325</c:v>
                </c:pt>
                <c:pt idx="2407">
                  <c:v>40326</c:v>
                </c:pt>
                <c:pt idx="2408">
                  <c:v>40329</c:v>
                </c:pt>
                <c:pt idx="2409">
                  <c:v>40330</c:v>
                </c:pt>
                <c:pt idx="2410">
                  <c:v>40331</c:v>
                </c:pt>
                <c:pt idx="2411">
                  <c:v>40332</c:v>
                </c:pt>
                <c:pt idx="2412">
                  <c:v>40333</c:v>
                </c:pt>
                <c:pt idx="2413">
                  <c:v>40336</c:v>
                </c:pt>
                <c:pt idx="2414">
                  <c:v>40337</c:v>
                </c:pt>
                <c:pt idx="2415">
                  <c:v>40338</c:v>
                </c:pt>
                <c:pt idx="2416">
                  <c:v>40339</c:v>
                </c:pt>
                <c:pt idx="2417">
                  <c:v>40340</c:v>
                </c:pt>
                <c:pt idx="2418">
                  <c:v>40343</c:v>
                </c:pt>
                <c:pt idx="2419">
                  <c:v>40344</c:v>
                </c:pt>
                <c:pt idx="2420">
                  <c:v>40345</c:v>
                </c:pt>
                <c:pt idx="2421">
                  <c:v>40346</c:v>
                </c:pt>
                <c:pt idx="2422">
                  <c:v>40347</c:v>
                </c:pt>
                <c:pt idx="2423">
                  <c:v>40350</c:v>
                </c:pt>
                <c:pt idx="2424">
                  <c:v>40351</c:v>
                </c:pt>
                <c:pt idx="2425">
                  <c:v>40352</c:v>
                </c:pt>
                <c:pt idx="2426">
                  <c:v>40353</c:v>
                </c:pt>
                <c:pt idx="2427">
                  <c:v>40354</c:v>
                </c:pt>
                <c:pt idx="2428">
                  <c:v>40357</c:v>
                </c:pt>
                <c:pt idx="2429">
                  <c:v>40358</c:v>
                </c:pt>
                <c:pt idx="2430">
                  <c:v>40359</c:v>
                </c:pt>
                <c:pt idx="2431">
                  <c:v>40360</c:v>
                </c:pt>
                <c:pt idx="2432">
                  <c:v>40361</c:v>
                </c:pt>
                <c:pt idx="2433">
                  <c:v>40364</c:v>
                </c:pt>
                <c:pt idx="2434">
                  <c:v>40365</c:v>
                </c:pt>
                <c:pt idx="2435">
                  <c:v>40366</c:v>
                </c:pt>
                <c:pt idx="2436">
                  <c:v>40367</c:v>
                </c:pt>
                <c:pt idx="2437">
                  <c:v>40368</c:v>
                </c:pt>
                <c:pt idx="2438">
                  <c:v>40371</c:v>
                </c:pt>
                <c:pt idx="2439">
                  <c:v>40372</c:v>
                </c:pt>
                <c:pt idx="2440">
                  <c:v>40373</c:v>
                </c:pt>
                <c:pt idx="2441">
                  <c:v>40374</c:v>
                </c:pt>
                <c:pt idx="2442">
                  <c:v>40375</c:v>
                </c:pt>
                <c:pt idx="2443">
                  <c:v>40378</c:v>
                </c:pt>
                <c:pt idx="2444">
                  <c:v>40379</c:v>
                </c:pt>
                <c:pt idx="2445">
                  <c:v>40380</c:v>
                </c:pt>
                <c:pt idx="2446">
                  <c:v>40381</c:v>
                </c:pt>
                <c:pt idx="2447">
                  <c:v>40382</c:v>
                </c:pt>
                <c:pt idx="2448">
                  <c:v>40385</c:v>
                </c:pt>
                <c:pt idx="2449">
                  <c:v>40386</c:v>
                </c:pt>
                <c:pt idx="2450">
                  <c:v>40387</c:v>
                </c:pt>
                <c:pt idx="2451">
                  <c:v>40388</c:v>
                </c:pt>
                <c:pt idx="2452">
                  <c:v>40389</c:v>
                </c:pt>
                <c:pt idx="2453">
                  <c:v>40392</c:v>
                </c:pt>
                <c:pt idx="2454">
                  <c:v>40393</c:v>
                </c:pt>
                <c:pt idx="2455">
                  <c:v>40394</c:v>
                </c:pt>
                <c:pt idx="2456">
                  <c:v>40395</c:v>
                </c:pt>
                <c:pt idx="2457">
                  <c:v>40396</c:v>
                </c:pt>
                <c:pt idx="2458">
                  <c:v>40399</c:v>
                </c:pt>
                <c:pt idx="2459">
                  <c:v>40400</c:v>
                </c:pt>
                <c:pt idx="2460">
                  <c:v>40401</c:v>
                </c:pt>
                <c:pt idx="2461">
                  <c:v>40402</c:v>
                </c:pt>
                <c:pt idx="2462">
                  <c:v>40403</c:v>
                </c:pt>
                <c:pt idx="2463">
                  <c:v>40406</c:v>
                </c:pt>
                <c:pt idx="2464">
                  <c:v>40407</c:v>
                </c:pt>
                <c:pt idx="2465">
                  <c:v>40408</c:v>
                </c:pt>
                <c:pt idx="2466">
                  <c:v>40409</c:v>
                </c:pt>
                <c:pt idx="2467">
                  <c:v>40410</c:v>
                </c:pt>
                <c:pt idx="2468">
                  <c:v>40413</c:v>
                </c:pt>
                <c:pt idx="2469">
                  <c:v>40414</c:v>
                </c:pt>
                <c:pt idx="2470">
                  <c:v>40415</c:v>
                </c:pt>
                <c:pt idx="2471">
                  <c:v>40416</c:v>
                </c:pt>
                <c:pt idx="2472">
                  <c:v>40417</c:v>
                </c:pt>
                <c:pt idx="2473">
                  <c:v>40420</c:v>
                </c:pt>
                <c:pt idx="2474">
                  <c:v>40421</c:v>
                </c:pt>
                <c:pt idx="2475">
                  <c:v>40422</c:v>
                </c:pt>
                <c:pt idx="2476">
                  <c:v>40423</c:v>
                </c:pt>
                <c:pt idx="2477">
                  <c:v>40424</c:v>
                </c:pt>
                <c:pt idx="2478">
                  <c:v>40427</c:v>
                </c:pt>
                <c:pt idx="2479">
                  <c:v>40428</c:v>
                </c:pt>
                <c:pt idx="2480">
                  <c:v>40429</c:v>
                </c:pt>
                <c:pt idx="2481">
                  <c:v>40430</c:v>
                </c:pt>
                <c:pt idx="2482">
                  <c:v>40431</c:v>
                </c:pt>
                <c:pt idx="2483">
                  <c:v>40434</c:v>
                </c:pt>
                <c:pt idx="2484">
                  <c:v>40435</c:v>
                </c:pt>
                <c:pt idx="2485">
                  <c:v>40436</c:v>
                </c:pt>
                <c:pt idx="2486">
                  <c:v>40437</c:v>
                </c:pt>
                <c:pt idx="2487">
                  <c:v>40438</c:v>
                </c:pt>
                <c:pt idx="2488">
                  <c:v>40441</c:v>
                </c:pt>
                <c:pt idx="2489">
                  <c:v>40442</c:v>
                </c:pt>
                <c:pt idx="2490">
                  <c:v>40443</c:v>
                </c:pt>
                <c:pt idx="2491">
                  <c:v>40444</c:v>
                </c:pt>
                <c:pt idx="2492">
                  <c:v>40445</c:v>
                </c:pt>
                <c:pt idx="2493">
                  <c:v>40448</c:v>
                </c:pt>
                <c:pt idx="2494">
                  <c:v>40449</c:v>
                </c:pt>
                <c:pt idx="2495">
                  <c:v>40450</c:v>
                </c:pt>
                <c:pt idx="2496">
                  <c:v>40451</c:v>
                </c:pt>
                <c:pt idx="2497">
                  <c:v>40452</c:v>
                </c:pt>
                <c:pt idx="2498">
                  <c:v>40455</c:v>
                </c:pt>
                <c:pt idx="2499">
                  <c:v>40456</c:v>
                </c:pt>
                <c:pt idx="2500">
                  <c:v>40457</c:v>
                </c:pt>
                <c:pt idx="2501">
                  <c:v>40458</c:v>
                </c:pt>
                <c:pt idx="2502">
                  <c:v>40459</c:v>
                </c:pt>
                <c:pt idx="2503">
                  <c:v>40462</c:v>
                </c:pt>
                <c:pt idx="2504">
                  <c:v>40463</c:v>
                </c:pt>
                <c:pt idx="2505">
                  <c:v>40464</c:v>
                </c:pt>
                <c:pt idx="2506">
                  <c:v>40465</c:v>
                </c:pt>
                <c:pt idx="2507">
                  <c:v>40466</c:v>
                </c:pt>
                <c:pt idx="2508">
                  <c:v>40469</c:v>
                </c:pt>
                <c:pt idx="2509">
                  <c:v>40470</c:v>
                </c:pt>
                <c:pt idx="2510">
                  <c:v>40471</c:v>
                </c:pt>
                <c:pt idx="2511">
                  <c:v>40472</c:v>
                </c:pt>
                <c:pt idx="2512">
                  <c:v>40473</c:v>
                </c:pt>
                <c:pt idx="2513">
                  <c:v>40476</c:v>
                </c:pt>
                <c:pt idx="2514">
                  <c:v>40477</c:v>
                </c:pt>
                <c:pt idx="2515">
                  <c:v>40478</c:v>
                </c:pt>
                <c:pt idx="2516">
                  <c:v>40479</c:v>
                </c:pt>
                <c:pt idx="2517">
                  <c:v>40480</c:v>
                </c:pt>
                <c:pt idx="2518">
                  <c:v>40483</c:v>
                </c:pt>
                <c:pt idx="2519">
                  <c:v>40484</c:v>
                </c:pt>
                <c:pt idx="2520">
                  <c:v>40485</c:v>
                </c:pt>
                <c:pt idx="2521">
                  <c:v>40486</c:v>
                </c:pt>
                <c:pt idx="2522">
                  <c:v>40487</c:v>
                </c:pt>
                <c:pt idx="2523">
                  <c:v>40490</c:v>
                </c:pt>
                <c:pt idx="2524">
                  <c:v>40491</c:v>
                </c:pt>
                <c:pt idx="2525">
                  <c:v>40492</c:v>
                </c:pt>
                <c:pt idx="2526">
                  <c:v>40493</c:v>
                </c:pt>
                <c:pt idx="2527">
                  <c:v>40494</c:v>
                </c:pt>
                <c:pt idx="2528">
                  <c:v>40497</c:v>
                </c:pt>
                <c:pt idx="2529">
                  <c:v>40498</c:v>
                </c:pt>
                <c:pt idx="2530">
                  <c:v>40499</c:v>
                </c:pt>
                <c:pt idx="2531">
                  <c:v>40500</c:v>
                </c:pt>
                <c:pt idx="2532">
                  <c:v>40501</c:v>
                </c:pt>
                <c:pt idx="2533">
                  <c:v>40504</c:v>
                </c:pt>
                <c:pt idx="2534">
                  <c:v>40505</c:v>
                </c:pt>
                <c:pt idx="2535">
                  <c:v>40506</c:v>
                </c:pt>
                <c:pt idx="2536">
                  <c:v>40507</c:v>
                </c:pt>
                <c:pt idx="2537">
                  <c:v>40508</c:v>
                </c:pt>
                <c:pt idx="2538">
                  <c:v>40511</c:v>
                </c:pt>
                <c:pt idx="2539">
                  <c:v>40512</c:v>
                </c:pt>
                <c:pt idx="2540">
                  <c:v>40513</c:v>
                </c:pt>
                <c:pt idx="2541">
                  <c:v>40514</c:v>
                </c:pt>
                <c:pt idx="2542">
                  <c:v>40515</c:v>
                </c:pt>
                <c:pt idx="2543">
                  <c:v>40518</c:v>
                </c:pt>
                <c:pt idx="2544">
                  <c:v>40519</c:v>
                </c:pt>
                <c:pt idx="2545">
                  <c:v>40520</c:v>
                </c:pt>
                <c:pt idx="2546">
                  <c:v>40521</c:v>
                </c:pt>
                <c:pt idx="2547">
                  <c:v>40522</c:v>
                </c:pt>
                <c:pt idx="2548">
                  <c:v>40525</c:v>
                </c:pt>
                <c:pt idx="2549">
                  <c:v>40526</c:v>
                </c:pt>
                <c:pt idx="2550">
                  <c:v>40527</c:v>
                </c:pt>
                <c:pt idx="2551">
                  <c:v>40528</c:v>
                </c:pt>
                <c:pt idx="2552">
                  <c:v>40529</c:v>
                </c:pt>
                <c:pt idx="2553">
                  <c:v>40532</c:v>
                </c:pt>
                <c:pt idx="2554">
                  <c:v>40533</c:v>
                </c:pt>
                <c:pt idx="2555">
                  <c:v>40534</c:v>
                </c:pt>
                <c:pt idx="2556">
                  <c:v>40535</c:v>
                </c:pt>
                <c:pt idx="2557">
                  <c:v>40536</c:v>
                </c:pt>
                <c:pt idx="2558">
                  <c:v>40539</c:v>
                </c:pt>
                <c:pt idx="2559">
                  <c:v>40540</c:v>
                </c:pt>
                <c:pt idx="2560">
                  <c:v>40541</c:v>
                </c:pt>
                <c:pt idx="2561">
                  <c:v>40542</c:v>
                </c:pt>
                <c:pt idx="2562">
                  <c:v>40543</c:v>
                </c:pt>
                <c:pt idx="2563">
                  <c:v>40546</c:v>
                </c:pt>
                <c:pt idx="2564">
                  <c:v>40547</c:v>
                </c:pt>
                <c:pt idx="2565">
                  <c:v>40548</c:v>
                </c:pt>
                <c:pt idx="2566">
                  <c:v>40549</c:v>
                </c:pt>
                <c:pt idx="2567">
                  <c:v>40550</c:v>
                </c:pt>
                <c:pt idx="2568">
                  <c:v>40553</c:v>
                </c:pt>
                <c:pt idx="2569">
                  <c:v>40554</c:v>
                </c:pt>
                <c:pt idx="2570">
                  <c:v>40555</c:v>
                </c:pt>
                <c:pt idx="2571">
                  <c:v>40556</c:v>
                </c:pt>
                <c:pt idx="2572">
                  <c:v>40557</c:v>
                </c:pt>
                <c:pt idx="2573">
                  <c:v>40560</c:v>
                </c:pt>
                <c:pt idx="2574">
                  <c:v>40561</c:v>
                </c:pt>
                <c:pt idx="2575">
                  <c:v>40562</c:v>
                </c:pt>
                <c:pt idx="2576">
                  <c:v>40563</c:v>
                </c:pt>
                <c:pt idx="2577">
                  <c:v>40564</c:v>
                </c:pt>
                <c:pt idx="2578">
                  <c:v>40567</c:v>
                </c:pt>
                <c:pt idx="2579">
                  <c:v>40568</c:v>
                </c:pt>
                <c:pt idx="2580">
                  <c:v>40569</c:v>
                </c:pt>
                <c:pt idx="2581">
                  <c:v>40570</c:v>
                </c:pt>
                <c:pt idx="2582">
                  <c:v>40571</c:v>
                </c:pt>
                <c:pt idx="2583">
                  <c:v>40574</c:v>
                </c:pt>
                <c:pt idx="2584">
                  <c:v>40575</c:v>
                </c:pt>
                <c:pt idx="2585">
                  <c:v>40576</c:v>
                </c:pt>
                <c:pt idx="2586">
                  <c:v>40577</c:v>
                </c:pt>
                <c:pt idx="2587">
                  <c:v>40578</c:v>
                </c:pt>
                <c:pt idx="2588">
                  <c:v>40581</c:v>
                </c:pt>
                <c:pt idx="2589">
                  <c:v>40582</c:v>
                </c:pt>
                <c:pt idx="2590">
                  <c:v>40583</c:v>
                </c:pt>
                <c:pt idx="2591">
                  <c:v>40584</c:v>
                </c:pt>
                <c:pt idx="2592">
                  <c:v>40585</c:v>
                </c:pt>
                <c:pt idx="2593">
                  <c:v>40588</c:v>
                </c:pt>
                <c:pt idx="2594">
                  <c:v>40589</c:v>
                </c:pt>
                <c:pt idx="2595">
                  <c:v>40590</c:v>
                </c:pt>
                <c:pt idx="2596">
                  <c:v>40591</c:v>
                </c:pt>
                <c:pt idx="2597">
                  <c:v>40592</c:v>
                </c:pt>
                <c:pt idx="2598">
                  <c:v>40595</c:v>
                </c:pt>
                <c:pt idx="2599">
                  <c:v>40596</c:v>
                </c:pt>
                <c:pt idx="2600">
                  <c:v>40597</c:v>
                </c:pt>
                <c:pt idx="2601">
                  <c:v>40598</c:v>
                </c:pt>
                <c:pt idx="2602">
                  <c:v>40599</c:v>
                </c:pt>
                <c:pt idx="2603">
                  <c:v>40602</c:v>
                </c:pt>
                <c:pt idx="2604">
                  <c:v>40603</c:v>
                </c:pt>
                <c:pt idx="2605">
                  <c:v>40604</c:v>
                </c:pt>
                <c:pt idx="2606">
                  <c:v>40605</c:v>
                </c:pt>
                <c:pt idx="2607">
                  <c:v>40606</c:v>
                </c:pt>
                <c:pt idx="2608">
                  <c:v>40609</c:v>
                </c:pt>
                <c:pt idx="2609">
                  <c:v>40610</c:v>
                </c:pt>
                <c:pt idx="2610">
                  <c:v>40611</c:v>
                </c:pt>
                <c:pt idx="2611">
                  <c:v>40612</c:v>
                </c:pt>
                <c:pt idx="2612">
                  <c:v>40613</c:v>
                </c:pt>
                <c:pt idx="2613">
                  <c:v>40616</c:v>
                </c:pt>
                <c:pt idx="2614">
                  <c:v>40617</c:v>
                </c:pt>
                <c:pt idx="2615">
                  <c:v>40618</c:v>
                </c:pt>
                <c:pt idx="2616">
                  <c:v>40619</c:v>
                </c:pt>
                <c:pt idx="2617">
                  <c:v>40620</c:v>
                </c:pt>
                <c:pt idx="2618">
                  <c:v>40623</c:v>
                </c:pt>
                <c:pt idx="2619">
                  <c:v>40624</c:v>
                </c:pt>
                <c:pt idx="2620">
                  <c:v>40625</c:v>
                </c:pt>
                <c:pt idx="2621">
                  <c:v>40626</c:v>
                </c:pt>
                <c:pt idx="2622">
                  <c:v>40627</c:v>
                </c:pt>
                <c:pt idx="2623">
                  <c:v>40630</c:v>
                </c:pt>
                <c:pt idx="2624">
                  <c:v>40631</c:v>
                </c:pt>
                <c:pt idx="2625">
                  <c:v>40632</c:v>
                </c:pt>
                <c:pt idx="2626">
                  <c:v>40633</c:v>
                </c:pt>
                <c:pt idx="2627">
                  <c:v>40634</c:v>
                </c:pt>
                <c:pt idx="2628">
                  <c:v>40637</c:v>
                </c:pt>
                <c:pt idx="2629">
                  <c:v>40638</c:v>
                </c:pt>
                <c:pt idx="2630">
                  <c:v>40639</c:v>
                </c:pt>
                <c:pt idx="2631">
                  <c:v>40640</c:v>
                </c:pt>
                <c:pt idx="2632">
                  <c:v>40641</c:v>
                </c:pt>
                <c:pt idx="2633">
                  <c:v>40644</c:v>
                </c:pt>
                <c:pt idx="2634">
                  <c:v>40645</c:v>
                </c:pt>
                <c:pt idx="2635">
                  <c:v>40646</c:v>
                </c:pt>
                <c:pt idx="2636">
                  <c:v>40647</c:v>
                </c:pt>
                <c:pt idx="2637">
                  <c:v>40648</c:v>
                </c:pt>
                <c:pt idx="2638">
                  <c:v>40651</c:v>
                </c:pt>
                <c:pt idx="2639">
                  <c:v>40652</c:v>
                </c:pt>
                <c:pt idx="2640">
                  <c:v>40653</c:v>
                </c:pt>
                <c:pt idx="2641">
                  <c:v>40654</c:v>
                </c:pt>
                <c:pt idx="2642">
                  <c:v>40659</c:v>
                </c:pt>
                <c:pt idx="2643">
                  <c:v>40660</c:v>
                </c:pt>
                <c:pt idx="2644">
                  <c:v>40661</c:v>
                </c:pt>
                <c:pt idx="2645">
                  <c:v>40662</c:v>
                </c:pt>
                <c:pt idx="2646">
                  <c:v>40665</c:v>
                </c:pt>
                <c:pt idx="2647">
                  <c:v>40666</c:v>
                </c:pt>
                <c:pt idx="2648">
                  <c:v>40667</c:v>
                </c:pt>
                <c:pt idx="2649">
                  <c:v>40668</c:v>
                </c:pt>
                <c:pt idx="2650">
                  <c:v>40669</c:v>
                </c:pt>
                <c:pt idx="2651">
                  <c:v>40672</c:v>
                </c:pt>
                <c:pt idx="2652">
                  <c:v>40673</c:v>
                </c:pt>
                <c:pt idx="2653">
                  <c:v>40674</c:v>
                </c:pt>
                <c:pt idx="2654">
                  <c:v>40675</c:v>
                </c:pt>
                <c:pt idx="2655">
                  <c:v>40676</c:v>
                </c:pt>
                <c:pt idx="2656">
                  <c:v>40679</c:v>
                </c:pt>
                <c:pt idx="2657">
                  <c:v>40680</c:v>
                </c:pt>
                <c:pt idx="2658">
                  <c:v>40681</c:v>
                </c:pt>
                <c:pt idx="2659">
                  <c:v>40682</c:v>
                </c:pt>
                <c:pt idx="2660">
                  <c:v>40683</c:v>
                </c:pt>
                <c:pt idx="2661">
                  <c:v>40686</c:v>
                </c:pt>
                <c:pt idx="2662">
                  <c:v>40687</c:v>
                </c:pt>
                <c:pt idx="2663">
                  <c:v>40688</c:v>
                </c:pt>
                <c:pt idx="2664">
                  <c:v>40689</c:v>
                </c:pt>
                <c:pt idx="2665">
                  <c:v>40690</c:v>
                </c:pt>
                <c:pt idx="2666">
                  <c:v>40693</c:v>
                </c:pt>
                <c:pt idx="2667">
                  <c:v>40694</c:v>
                </c:pt>
                <c:pt idx="2668">
                  <c:v>40695</c:v>
                </c:pt>
                <c:pt idx="2669">
                  <c:v>40696</c:v>
                </c:pt>
                <c:pt idx="2670">
                  <c:v>40697</c:v>
                </c:pt>
                <c:pt idx="2671">
                  <c:v>40700</c:v>
                </c:pt>
                <c:pt idx="2672">
                  <c:v>40701</c:v>
                </c:pt>
                <c:pt idx="2673">
                  <c:v>40702</c:v>
                </c:pt>
                <c:pt idx="2674">
                  <c:v>40703</c:v>
                </c:pt>
                <c:pt idx="2675">
                  <c:v>40704</c:v>
                </c:pt>
                <c:pt idx="2676">
                  <c:v>40707</c:v>
                </c:pt>
                <c:pt idx="2677">
                  <c:v>40708</c:v>
                </c:pt>
                <c:pt idx="2678">
                  <c:v>40709</c:v>
                </c:pt>
                <c:pt idx="2679">
                  <c:v>40710</c:v>
                </c:pt>
                <c:pt idx="2680">
                  <c:v>40711</c:v>
                </c:pt>
                <c:pt idx="2681">
                  <c:v>40714</c:v>
                </c:pt>
                <c:pt idx="2682">
                  <c:v>40715</c:v>
                </c:pt>
                <c:pt idx="2683">
                  <c:v>40716</c:v>
                </c:pt>
                <c:pt idx="2684">
                  <c:v>40717</c:v>
                </c:pt>
                <c:pt idx="2685">
                  <c:v>40718</c:v>
                </c:pt>
                <c:pt idx="2686">
                  <c:v>40721</c:v>
                </c:pt>
                <c:pt idx="2687">
                  <c:v>40722</c:v>
                </c:pt>
                <c:pt idx="2688">
                  <c:v>40723</c:v>
                </c:pt>
                <c:pt idx="2689">
                  <c:v>40724</c:v>
                </c:pt>
                <c:pt idx="2690">
                  <c:v>40725</c:v>
                </c:pt>
                <c:pt idx="2691">
                  <c:v>40728</c:v>
                </c:pt>
                <c:pt idx="2692">
                  <c:v>40729</c:v>
                </c:pt>
                <c:pt idx="2693">
                  <c:v>40730</c:v>
                </c:pt>
                <c:pt idx="2694">
                  <c:v>40731</c:v>
                </c:pt>
                <c:pt idx="2695">
                  <c:v>40732</c:v>
                </c:pt>
                <c:pt idx="2696">
                  <c:v>40735</c:v>
                </c:pt>
                <c:pt idx="2697">
                  <c:v>40736</c:v>
                </c:pt>
                <c:pt idx="2698">
                  <c:v>40737</c:v>
                </c:pt>
                <c:pt idx="2699">
                  <c:v>40738</c:v>
                </c:pt>
                <c:pt idx="2700">
                  <c:v>40739</c:v>
                </c:pt>
                <c:pt idx="2701">
                  <c:v>40742</c:v>
                </c:pt>
                <c:pt idx="2702">
                  <c:v>40743</c:v>
                </c:pt>
                <c:pt idx="2703">
                  <c:v>40744</c:v>
                </c:pt>
                <c:pt idx="2704">
                  <c:v>40745</c:v>
                </c:pt>
                <c:pt idx="2705">
                  <c:v>40746</c:v>
                </c:pt>
                <c:pt idx="2706">
                  <c:v>40749</c:v>
                </c:pt>
                <c:pt idx="2707">
                  <c:v>40750</c:v>
                </c:pt>
                <c:pt idx="2708">
                  <c:v>40751</c:v>
                </c:pt>
                <c:pt idx="2709">
                  <c:v>40752</c:v>
                </c:pt>
                <c:pt idx="2710">
                  <c:v>40753</c:v>
                </c:pt>
                <c:pt idx="2711">
                  <c:v>40756</c:v>
                </c:pt>
                <c:pt idx="2712">
                  <c:v>40757</c:v>
                </c:pt>
                <c:pt idx="2713">
                  <c:v>40758</c:v>
                </c:pt>
                <c:pt idx="2714">
                  <c:v>40759</c:v>
                </c:pt>
                <c:pt idx="2715">
                  <c:v>40760</c:v>
                </c:pt>
                <c:pt idx="2716">
                  <c:v>40763</c:v>
                </c:pt>
                <c:pt idx="2717">
                  <c:v>40764</c:v>
                </c:pt>
                <c:pt idx="2718">
                  <c:v>40765</c:v>
                </c:pt>
                <c:pt idx="2719">
                  <c:v>40766</c:v>
                </c:pt>
                <c:pt idx="2720">
                  <c:v>40767</c:v>
                </c:pt>
                <c:pt idx="2721">
                  <c:v>40770</c:v>
                </c:pt>
                <c:pt idx="2722">
                  <c:v>40771</c:v>
                </c:pt>
                <c:pt idx="2723">
                  <c:v>40772</c:v>
                </c:pt>
                <c:pt idx="2724">
                  <c:v>40773</c:v>
                </c:pt>
                <c:pt idx="2725">
                  <c:v>40774</c:v>
                </c:pt>
                <c:pt idx="2726">
                  <c:v>40777</c:v>
                </c:pt>
                <c:pt idx="2727">
                  <c:v>40778</c:v>
                </c:pt>
                <c:pt idx="2728">
                  <c:v>40779</c:v>
                </c:pt>
                <c:pt idx="2729">
                  <c:v>40780</c:v>
                </c:pt>
                <c:pt idx="2730">
                  <c:v>40781</c:v>
                </c:pt>
                <c:pt idx="2731">
                  <c:v>40784</c:v>
                </c:pt>
                <c:pt idx="2732">
                  <c:v>40785</c:v>
                </c:pt>
                <c:pt idx="2733">
                  <c:v>40786</c:v>
                </c:pt>
                <c:pt idx="2734">
                  <c:v>40787</c:v>
                </c:pt>
                <c:pt idx="2735">
                  <c:v>40788</c:v>
                </c:pt>
                <c:pt idx="2736">
                  <c:v>40791</c:v>
                </c:pt>
                <c:pt idx="2737">
                  <c:v>40792</c:v>
                </c:pt>
                <c:pt idx="2738">
                  <c:v>40793</c:v>
                </c:pt>
                <c:pt idx="2739">
                  <c:v>40794</c:v>
                </c:pt>
                <c:pt idx="2740">
                  <c:v>40795</c:v>
                </c:pt>
                <c:pt idx="2741">
                  <c:v>40798</c:v>
                </c:pt>
                <c:pt idx="2742">
                  <c:v>40799</c:v>
                </c:pt>
                <c:pt idx="2743">
                  <c:v>40800</c:v>
                </c:pt>
                <c:pt idx="2744">
                  <c:v>40801</c:v>
                </c:pt>
                <c:pt idx="2745">
                  <c:v>40802</c:v>
                </c:pt>
                <c:pt idx="2746">
                  <c:v>40805</c:v>
                </c:pt>
                <c:pt idx="2747">
                  <c:v>40806</c:v>
                </c:pt>
                <c:pt idx="2748">
                  <c:v>40807</c:v>
                </c:pt>
                <c:pt idx="2749">
                  <c:v>40808</c:v>
                </c:pt>
                <c:pt idx="2750">
                  <c:v>40809</c:v>
                </c:pt>
                <c:pt idx="2751">
                  <c:v>40812</c:v>
                </c:pt>
                <c:pt idx="2752">
                  <c:v>40813</c:v>
                </c:pt>
                <c:pt idx="2753">
                  <c:v>40814</c:v>
                </c:pt>
                <c:pt idx="2754">
                  <c:v>40815</c:v>
                </c:pt>
                <c:pt idx="2755">
                  <c:v>40816</c:v>
                </c:pt>
                <c:pt idx="2756">
                  <c:v>40819</c:v>
                </c:pt>
                <c:pt idx="2757">
                  <c:v>40820</c:v>
                </c:pt>
                <c:pt idx="2758">
                  <c:v>40821</c:v>
                </c:pt>
                <c:pt idx="2759">
                  <c:v>40822</c:v>
                </c:pt>
                <c:pt idx="2760">
                  <c:v>40823</c:v>
                </c:pt>
                <c:pt idx="2761">
                  <c:v>40826</c:v>
                </c:pt>
                <c:pt idx="2762">
                  <c:v>40827</c:v>
                </c:pt>
                <c:pt idx="2763">
                  <c:v>40828</c:v>
                </c:pt>
                <c:pt idx="2764">
                  <c:v>40829</c:v>
                </c:pt>
                <c:pt idx="2765">
                  <c:v>40830</c:v>
                </c:pt>
                <c:pt idx="2766">
                  <c:v>40833</c:v>
                </c:pt>
                <c:pt idx="2767">
                  <c:v>40834</c:v>
                </c:pt>
                <c:pt idx="2768">
                  <c:v>40835</c:v>
                </c:pt>
                <c:pt idx="2769">
                  <c:v>40836</c:v>
                </c:pt>
                <c:pt idx="2770">
                  <c:v>40837</c:v>
                </c:pt>
                <c:pt idx="2771">
                  <c:v>40840</c:v>
                </c:pt>
                <c:pt idx="2772">
                  <c:v>40841</c:v>
                </c:pt>
                <c:pt idx="2773">
                  <c:v>40842</c:v>
                </c:pt>
                <c:pt idx="2774">
                  <c:v>40843</c:v>
                </c:pt>
                <c:pt idx="2775">
                  <c:v>40844</c:v>
                </c:pt>
                <c:pt idx="2776">
                  <c:v>40847</c:v>
                </c:pt>
                <c:pt idx="2777">
                  <c:v>40848</c:v>
                </c:pt>
                <c:pt idx="2778">
                  <c:v>40849</c:v>
                </c:pt>
                <c:pt idx="2779">
                  <c:v>40850</c:v>
                </c:pt>
                <c:pt idx="2780">
                  <c:v>40851</c:v>
                </c:pt>
                <c:pt idx="2781">
                  <c:v>40854</c:v>
                </c:pt>
                <c:pt idx="2782">
                  <c:v>40855</c:v>
                </c:pt>
                <c:pt idx="2783">
                  <c:v>40856</c:v>
                </c:pt>
                <c:pt idx="2784">
                  <c:v>40857</c:v>
                </c:pt>
                <c:pt idx="2785">
                  <c:v>40858</c:v>
                </c:pt>
                <c:pt idx="2786">
                  <c:v>40861</c:v>
                </c:pt>
                <c:pt idx="2787">
                  <c:v>40862</c:v>
                </c:pt>
                <c:pt idx="2788">
                  <c:v>40863</c:v>
                </c:pt>
                <c:pt idx="2789">
                  <c:v>40864</c:v>
                </c:pt>
                <c:pt idx="2790">
                  <c:v>40865</c:v>
                </c:pt>
                <c:pt idx="2791">
                  <c:v>40868</c:v>
                </c:pt>
                <c:pt idx="2792">
                  <c:v>40869</c:v>
                </c:pt>
                <c:pt idx="2793">
                  <c:v>40870</c:v>
                </c:pt>
                <c:pt idx="2794">
                  <c:v>40871</c:v>
                </c:pt>
                <c:pt idx="2795">
                  <c:v>40872</c:v>
                </c:pt>
                <c:pt idx="2796">
                  <c:v>40875</c:v>
                </c:pt>
                <c:pt idx="2797">
                  <c:v>40876</c:v>
                </c:pt>
                <c:pt idx="2798">
                  <c:v>40877</c:v>
                </c:pt>
                <c:pt idx="2799">
                  <c:v>40878</c:v>
                </c:pt>
                <c:pt idx="2800">
                  <c:v>40879</c:v>
                </c:pt>
                <c:pt idx="2801">
                  <c:v>40882</c:v>
                </c:pt>
                <c:pt idx="2802">
                  <c:v>40883</c:v>
                </c:pt>
                <c:pt idx="2803">
                  <c:v>40884</c:v>
                </c:pt>
                <c:pt idx="2804">
                  <c:v>40885</c:v>
                </c:pt>
                <c:pt idx="2805">
                  <c:v>40886</c:v>
                </c:pt>
                <c:pt idx="2806">
                  <c:v>40889</c:v>
                </c:pt>
                <c:pt idx="2807">
                  <c:v>40890</c:v>
                </c:pt>
                <c:pt idx="2808">
                  <c:v>40891</c:v>
                </c:pt>
                <c:pt idx="2809">
                  <c:v>40892</c:v>
                </c:pt>
                <c:pt idx="2810">
                  <c:v>40893</c:v>
                </c:pt>
                <c:pt idx="2811">
                  <c:v>40896</c:v>
                </c:pt>
                <c:pt idx="2812">
                  <c:v>40897</c:v>
                </c:pt>
                <c:pt idx="2813">
                  <c:v>40898</c:v>
                </c:pt>
                <c:pt idx="2814">
                  <c:v>40899</c:v>
                </c:pt>
                <c:pt idx="2815">
                  <c:v>40900</c:v>
                </c:pt>
                <c:pt idx="2816">
                  <c:v>40904</c:v>
                </c:pt>
                <c:pt idx="2817">
                  <c:v>40905</c:v>
                </c:pt>
                <c:pt idx="2818">
                  <c:v>40906</c:v>
                </c:pt>
                <c:pt idx="2819">
                  <c:v>40907</c:v>
                </c:pt>
                <c:pt idx="2820">
                  <c:v>40910</c:v>
                </c:pt>
                <c:pt idx="2821">
                  <c:v>40911</c:v>
                </c:pt>
                <c:pt idx="2822">
                  <c:v>40912</c:v>
                </c:pt>
                <c:pt idx="2823">
                  <c:v>40913</c:v>
                </c:pt>
                <c:pt idx="2824">
                  <c:v>40914</c:v>
                </c:pt>
                <c:pt idx="2825">
                  <c:v>40917</c:v>
                </c:pt>
                <c:pt idx="2826">
                  <c:v>40918</c:v>
                </c:pt>
                <c:pt idx="2827">
                  <c:v>40919</c:v>
                </c:pt>
                <c:pt idx="2828">
                  <c:v>40920</c:v>
                </c:pt>
                <c:pt idx="2829">
                  <c:v>40921</c:v>
                </c:pt>
                <c:pt idx="2830">
                  <c:v>40924</c:v>
                </c:pt>
                <c:pt idx="2831">
                  <c:v>40925</c:v>
                </c:pt>
                <c:pt idx="2832">
                  <c:v>40926</c:v>
                </c:pt>
                <c:pt idx="2833">
                  <c:v>40927</c:v>
                </c:pt>
                <c:pt idx="2834">
                  <c:v>40928</c:v>
                </c:pt>
                <c:pt idx="2835">
                  <c:v>40931</c:v>
                </c:pt>
                <c:pt idx="2836">
                  <c:v>40932</c:v>
                </c:pt>
                <c:pt idx="2837">
                  <c:v>40933</c:v>
                </c:pt>
                <c:pt idx="2838">
                  <c:v>40934</c:v>
                </c:pt>
                <c:pt idx="2839">
                  <c:v>40935</c:v>
                </c:pt>
                <c:pt idx="2840">
                  <c:v>40938</c:v>
                </c:pt>
                <c:pt idx="2841">
                  <c:v>40939</c:v>
                </c:pt>
                <c:pt idx="2842">
                  <c:v>40940</c:v>
                </c:pt>
                <c:pt idx="2843">
                  <c:v>40941</c:v>
                </c:pt>
                <c:pt idx="2844">
                  <c:v>40942</c:v>
                </c:pt>
                <c:pt idx="2845">
                  <c:v>40945</c:v>
                </c:pt>
                <c:pt idx="2846">
                  <c:v>40946</c:v>
                </c:pt>
                <c:pt idx="2847">
                  <c:v>40947</c:v>
                </c:pt>
                <c:pt idx="2848">
                  <c:v>40948</c:v>
                </c:pt>
                <c:pt idx="2849">
                  <c:v>40949</c:v>
                </c:pt>
                <c:pt idx="2850">
                  <c:v>40952</c:v>
                </c:pt>
                <c:pt idx="2851">
                  <c:v>40953</c:v>
                </c:pt>
                <c:pt idx="2852">
                  <c:v>40954</c:v>
                </c:pt>
                <c:pt idx="2853">
                  <c:v>40955</c:v>
                </c:pt>
                <c:pt idx="2854">
                  <c:v>40956</c:v>
                </c:pt>
                <c:pt idx="2855">
                  <c:v>40959</c:v>
                </c:pt>
                <c:pt idx="2856">
                  <c:v>40960</c:v>
                </c:pt>
                <c:pt idx="2857">
                  <c:v>40961</c:v>
                </c:pt>
                <c:pt idx="2858">
                  <c:v>40962</c:v>
                </c:pt>
                <c:pt idx="2859">
                  <c:v>40963</c:v>
                </c:pt>
                <c:pt idx="2860">
                  <c:v>40966</c:v>
                </c:pt>
                <c:pt idx="2861">
                  <c:v>40967</c:v>
                </c:pt>
                <c:pt idx="2862">
                  <c:v>40968</c:v>
                </c:pt>
                <c:pt idx="2863">
                  <c:v>40969</c:v>
                </c:pt>
                <c:pt idx="2864">
                  <c:v>40970</c:v>
                </c:pt>
                <c:pt idx="2865">
                  <c:v>40973</c:v>
                </c:pt>
                <c:pt idx="2866">
                  <c:v>40974</c:v>
                </c:pt>
                <c:pt idx="2867">
                  <c:v>40975</c:v>
                </c:pt>
                <c:pt idx="2868">
                  <c:v>40976</c:v>
                </c:pt>
                <c:pt idx="2869">
                  <c:v>40977</c:v>
                </c:pt>
                <c:pt idx="2870">
                  <c:v>40980</c:v>
                </c:pt>
                <c:pt idx="2871">
                  <c:v>40981</c:v>
                </c:pt>
                <c:pt idx="2872">
                  <c:v>40982</c:v>
                </c:pt>
                <c:pt idx="2873">
                  <c:v>40983</c:v>
                </c:pt>
                <c:pt idx="2874">
                  <c:v>40984</c:v>
                </c:pt>
                <c:pt idx="2875">
                  <c:v>40987</c:v>
                </c:pt>
                <c:pt idx="2876">
                  <c:v>40988</c:v>
                </c:pt>
                <c:pt idx="2877">
                  <c:v>40989</c:v>
                </c:pt>
                <c:pt idx="2878">
                  <c:v>40990</c:v>
                </c:pt>
                <c:pt idx="2879">
                  <c:v>40991</c:v>
                </c:pt>
                <c:pt idx="2880">
                  <c:v>40994</c:v>
                </c:pt>
                <c:pt idx="2881">
                  <c:v>40995</c:v>
                </c:pt>
                <c:pt idx="2882">
                  <c:v>40996</c:v>
                </c:pt>
                <c:pt idx="2883">
                  <c:v>40997</c:v>
                </c:pt>
                <c:pt idx="2884">
                  <c:v>40998</c:v>
                </c:pt>
                <c:pt idx="2885">
                  <c:v>41001</c:v>
                </c:pt>
                <c:pt idx="2886">
                  <c:v>41002</c:v>
                </c:pt>
                <c:pt idx="2887">
                  <c:v>41003</c:v>
                </c:pt>
                <c:pt idx="2888">
                  <c:v>41004</c:v>
                </c:pt>
                <c:pt idx="2889">
                  <c:v>41009</c:v>
                </c:pt>
                <c:pt idx="2890">
                  <c:v>41010</c:v>
                </c:pt>
                <c:pt idx="2891">
                  <c:v>41011</c:v>
                </c:pt>
                <c:pt idx="2892">
                  <c:v>41012</c:v>
                </c:pt>
                <c:pt idx="2893">
                  <c:v>41015</c:v>
                </c:pt>
                <c:pt idx="2894">
                  <c:v>41016</c:v>
                </c:pt>
                <c:pt idx="2895">
                  <c:v>41017</c:v>
                </c:pt>
                <c:pt idx="2896">
                  <c:v>41018</c:v>
                </c:pt>
                <c:pt idx="2897">
                  <c:v>41019</c:v>
                </c:pt>
                <c:pt idx="2898">
                  <c:v>41022</c:v>
                </c:pt>
                <c:pt idx="2899">
                  <c:v>41023</c:v>
                </c:pt>
                <c:pt idx="2900">
                  <c:v>41024</c:v>
                </c:pt>
                <c:pt idx="2901">
                  <c:v>41025</c:v>
                </c:pt>
                <c:pt idx="2902">
                  <c:v>41026</c:v>
                </c:pt>
                <c:pt idx="2903">
                  <c:v>41029</c:v>
                </c:pt>
                <c:pt idx="2904">
                  <c:v>41030</c:v>
                </c:pt>
                <c:pt idx="2905">
                  <c:v>41031</c:v>
                </c:pt>
                <c:pt idx="2906">
                  <c:v>41032</c:v>
                </c:pt>
                <c:pt idx="2907">
                  <c:v>41033</c:v>
                </c:pt>
                <c:pt idx="2908">
                  <c:v>41036</c:v>
                </c:pt>
                <c:pt idx="2909">
                  <c:v>41037</c:v>
                </c:pt>
                <c:pt idx="2910">
                  <c:v>41038</c:v>
                </c:pt>
                <c:pt idx="2911">
                  <c:v>41039</c:v>
                </c:pt>
                <c:pt idx="2912">
                  <c:v>41040</c:v>
                </c:pt>
                <c:pt idx="2913">
                  <c:v>41043</c:v>
                </c:pt>
                <c:pt idx="2914">
                  <c:v>41044</c:v>
                </c:pt>
                <c:pt idx="2915">
                  <c:v>41045</c:v>
                </c:pt>
                <c:pt idx="2916">
                  <c:v>41046</c:v>
                </c:pt>
                <c:pt idx="2917">
                  <c:v>41047</c:v>
                </c:pt>
                <c:pt idx="2918">
                  <c:v>41050</c:v>
                </c:pt>
                <c:pt idx="2919">
                  <c:v>41051</c:v>
                </c:pt>
                <c:pt idx="2920">
                  <c:v>41052</c:v>
                </c:pt>
                <c:pt idx="2921">
                  <c:v>41053</c:v>
                </c:pt>
                <c:pt idx="2922">
                  <c:v>41054</c:v>
                </c:pt>
                <c:pt idx="2923">
                  <c:v>41057</c:v>
                </c:pt>
                <c:pt idx="2924">
                  <c:v>41058</c:v>
                </c:pt>
                <c:pt idx="2925">
                  <c:v>41059</c:v>
                </c:pt>
                <c:pt idx="2926">
                  <c:v>41060</c:v>
                </c:pt>
                <c:pt idx="2927">
                  <c:v>41061</c:v>
                </c:pt>
                <c:pt idx="2928">
                  <c:v>41064</c:v>
                </c:pt>
                <c:pt idx="2929">
                  <c:v>41065</c:v>
                </c:pt>
                <c:pt idx="2930">
                  <c:v>41066</c:v>
                </c:pt>
                <c:pt idx="2931">
                  <c:v>41067</c:v>
                </c:pt>
                <c:pt idx="2932">
                  <c:v>41068</c:v>
                </c:pt>
                <c:pt idx="2933">
                  <c:v>41071</c:v>
                </c:pt>
                <c:pt idx="2934">
                  <c:v>41072</c:v>
                </c:pt>
                <c:pt idx="2935">
                  <c:v>41073</c:v>
                </c:pt>
                <c:pt idx="2936">
                  <c:v>41074</c:v>
                </c:pt>
                <c:pt idx="2937">
                  <c:v>41075</c:v>
                </c:pt>
                <c:pt idx="2938">
                  <c:v>41078</c:v>
                </c:pt>
                <c:pt idx="2939">
                  <c:v>41079</c:v>
                </c:pt>
                <c:pt idx="2940">
                  <c:v>41080</c:v>
                </c:pt>
                <c:pt idx="2941">
                  <c:v>41081</c:v>
                </c:pt>
                <c:pt idx="2942">
                  <c:v>41082</c:v>
                </c:pt>
                <c:pt idx="2943">
                  <c:v>41085</c:v>
                </c:pt>
                <c:pt idx="2944">
                  <c:v>41086</c:v>
                </c:pt>
                <c:pt idx="2945">
                  <c:v>41087</c:v>
                </c:pt>
                <c:pt idx="2946">
                  <c:v>41088</c:v>
                </c:pt>
                <c:pt idx="2947">
                  <c:v>41089</c:v>
                </c:pt>
                <c:pt idx="2948">
                  <c:v>41092</c:v>
                </c:pt>
                <c:pt idx="2949">
                  <c:v>41093</c:v>
                </c:pt>
                <c:pt idx="2950">
                  <c:v>41094</c:v>
                </c:pt>
                <c:pt idx="2951">
                  <c:v>41095</c:v>
                </c:pt>
                <c:pt idx="2952">
                  <c:v>41096</c:v>
                </c:pt>
                <c:pt idx="2953">
                  <c:v>41099</c:v>
                </c:pt>
                <c:pt idx="2954">
                  <c:v>41100</c:v>
                </c:pt>
                <c:pt idx="2955">
                  <c:v>41101</c:v>
                </c:pt>
                <c:pt idx="2956">
                  <c:v>41102</c:v>
                </c:pt>
                <c:pt idx="2957">
                  <c:v>41103</c:v>
                </c:pt>
                <c:pt idx="2958">
                  <c:v>41106</c:v>
                </c:pt>
                <c:pt idx="2959">
                  <c:v>41107</c:v>
                </c:pt>
                <c:pt idx="2960">
                  <c:v>41108</c:v>
                </c:pt>
                <c:pt idx="2961">
                  <c:v>41109</c:v>
                </c:pt>
                <c:pt idx="2962">
                  <c:v>41110</c:v>
                </c:pt>
                <c:pt idx="2963">
                  <c:v>41113</c:v>
                </c:pt>
                <c:pt idx="2964">
                  <c:v>41114</c:v>
                </c:pt>
                <c:pt idx="2965">
                  <c:v>41115</c:v>
                </c:pt>
                <c:pt idx="2966">
                  <c:v>41116</c:v>
                </c:pt>
                <c:pt idx="2967">
                  <c:v>41117</c:v>
                </c:pt>
                <c:pt idx="2968">
                  <c:v>41120</c:v>
                </c:pt>
                <c:pt idx="2969">
                  <c:v>41121</c:v>
                </c:pt>
                <c:pt idx="2970">
                  <c:v>41122</c:v>
                </c:pt>
                <c:pt idx="2971">
                  <c:v>41123</c:v>
                </c:pt>
                <c:pt idx="2972">
                  <c:v>41124</c:v>
                </c:pt>
                <c:pt idx="2973">
                  <c:v>41127</c:v>
                </c:pt>
                <c:pt idx="2974">
                  <c:v>41128</c:v>
                </c:pt>
                <c:pt idx="2975">
                  <c:v>41129</c:v>
                </c:pt>
                <c:pt idx="2976">
                  <c:v>41130</c:v>
                </c:pt>
                <c:pt idx="2977">
                  <c:v>41131</c:v>
                </c:pt>
                <c:pt idx="2978">
                  <c:v>41134</c:v>
                </c:pt>
                <c:pt idx="2979">
                  <c:v>41135</c:v>
                </c:pt>
                <c:pt idx="2980">
                  <c:v>41136</c:v>
                </c:pt>
                <c:pt idx="2981">
                  <c:v>41137</c:v>
                </c:pt>
                <c:pt idx="2982">
                  <c:v>41138</c:v>
                </c:pt>
                <c:pt idx="2983">
                  <c:v>41141</c:v>
                </c:pt>
                <c:pt idx="2984">
                  <c:v>41142</c:v>
                </c:pt>
                <c:pt idx="2985">
                  <c:v>41143</c:v>
                </c:pt>
                <c:pt idx="2986">
                  <c:v>41144</c:v>
                </c:pt>
                <c:pt idx="2987">
                  <c:v>41145</c:v>
                </c:pt>
                <c:pt idx="2988">
                  <c:v>41148</c:v>
                </c:pt>
                <c:pt idx="2989">
                  <c:v>41149</c:v>
                </c:pt>
                <c:pt idx="2990">
                  <c:v>41150</c:v>
                </c:pt>
                <c:pt idx="2991">
                  <c:v>41151</c:v>
                </c:pt>
                <c:pt idx="2992">
                  <c:v>41152</c:v>
                </c:pt>
                <c:pt idx="2993">
                  <c:v>41155</c:v>
                </c:pt>
                <c:pt idx="2994">
                  <c:v>41156</c:v>
                </c:pt>
                <c:pt idx="2995">
                  <c:v>41157</c:v>
                </c:pt>
                <c:pt idx="2996">
                  <c:v>41158</c:v>
                </c:pt>
                <c:pt idx="2997">
                  <c:v>41159</c:v>
                </c:pt>
                <c:pt idx="2998">
                  <c:v>41162</c:v>
                </c:pt>
                <c:pt idx="2999">
                  <c:v>41163</c:v>
                </c:pt>
                <c:pt idx="3000">
                  <c:v>41164</c:v>
                </c:pt>
                <c:pt idx="3001">
                  <c:v>41165</c:v>
                </c:pt>
                <c:pt idx="3002">
                  <c:v>41166</c:v>
                </c:pt>
                <c:pt idx="3003">
                  <c:v>41169</c:v>
                </c:pt>
                <c:pt idx="3004">
                  <c:v>41170</c:v>
                </c:pt>
                <c:pt idx="3005">
                  <c:v>41171</c:v>
                </c:pt>
                <c:pt idx="3006">
                  <c:v>41172</c:v>
                </c:pt>
                <c:pt idx="3007">
                  <c:v>41173</c:v>
                </c:pt>
                <c:pt idx="3008">
                  <c:v>41176</c:v>
                </c:pt>
                <c:pt idx="3009">
                  <c:v>41177</c:v>
                </c:pt>
                <c:pt idx="3010">
                  <c:v>41178</c:v>
                </c:pt>
                <c:pt idx="3011">
                  <c:v>41179</c:v>
                </c:pt>
                <c:pt idx="3012">
                  <c:v>41180</c:v>
                </c:pt>
                <c:pt idx="3013">
                  <c:v>41183</c:v>
                </c:pt>
                <c:pt idx="3014">
                  <c:v>41184</c:v>
                </c:pt>
                <c:pt idx="3015">
                  <c:v>41185</c:v>
                </c:pt>
                <c:pt idx="3016">
                  <c:v>41186</c:v>
                </c:pt>
                <c:pt idx="3017">
                  <c:v>41187</c:v>
                </c:pt>
                <c:pt idx="3018">
                  <c:v>41190</c:v>
                </c:pt>
                <c:pt idx="3019">
                  <c:v>41191</c:v>
                </c:pt>
                <c:pt idx="3020">
                  <c:v>41192</c:v>
                </c:pt>
                <c:pt idx="3021">
                  <c:v>41193</c:v>
                </c:pt>
                <c:pt idx="3022">
                  <c:v>41194</c:v>
                </c:pt>
                <c:pt idx="3023">
                  <c:v>41197</c:v>
                </c:pt>
                <c:pt idx="3024">
                  <c:v>41198</c:v>
                </c:pt>
                <c:pt idx="3025">
                  <c:v>41199</c:v>
                </c:pt>
                <c:pt idx="3026">
                  <c:v>41200</c:v>
                </c:pt>
                <c:pt idx="3027">
                  <c:v>41201</c:v>
                </c:pt>
                <c:pt idx="3028">
                  <c:v>41204</c:v>
                </c:pt>
                <c:pt idx="3029">
                  <c:v>41205</c:v>
                </c:pt>
                <c:pt idx="3030">
                  <c:v>41206</c:v>
                </c:pt>
                <c:pt idx="3031">
                  <c:v>41207</c:v>
                </c:pt>
                <c:pt idx="3032">
                  <c:v>41208</c:v>
                </c:pt>
                <c:pt idx="3033">
                  <c:v>41211</c:v>
                </c:pt>
                <c:pt idx="3034">
                  <c:v>41212</c:v>
                </c:pt>
                <c:pt idx="3035">
                  <c:v>41213</c:v>
                </c:pt>
                <c:pt idx="3036">
                  <c:v>41214</c:v>
                </c:pt>
                <c:pt idx="3037">
                  <c:v>41215</c:v>
                </c:pt>
                <c:pt idx="3038">
                  <c:v>41218</c:v>
                </c:pt>
                <c:pt idx="3039">
                  <c:v>41219</c:v>
                </c:pt>
                <c:pt idx="3040">
                  <c:v>41220</c:v>
                </c:pt>
                <c:pt idx="3041">
                  <c:v>41221</c:v>
                </c:pt>
                <c:pt idx="3042">
                  <c:v>41222</c:v>
                </c:pt>
                <c:pt idx="3043">
                  <c:v>41225</c:v>
                </c:pt>
                <c:pt idx="3044">
                  <c:v>41226</c:v>
                </c:pt>
                <c:pt idx="3045">
                  <c:v>41227</c:v>
                </c:pt>
                <c:pt idx="3046">
                  <c:v>41228</c:v>
                </c:pt>
                <c:pt idx="3047">
                  <c:v>41229</c:v>
                </c:pt>
                <c:pt idx="3048">
                  <c:v>41232</c:v>
                </c:pt>
                <c:pt idx="3049">
                  <c:v>41233</c:v>
                </c:pt>
                <c:pt idx="3050">
                  <c:v>41234</c:v>
                </c:pt>
                <c:pt idx="3051">
                  <c:v>41235</c:v>
                </c:pt>
                <c:pt idx="3052">
                  <c:v>41236</c:v>
                </c:pt>
                <c:pt idx="3053">
                  <c:v>41239</c:v>
                </c:pt>
                <c:pt idx="3054">
                  <c:v>41240</c:v>
                </c:pt>
                <c:pt idx="3055">
                  <c:v>41241</c:v>
                </c:pt>
                <c:pt idx="3056">
                  <c:v>41242</c:v>
                </c:pt>
                <c:pt idx="3057">
                  <c:v>41243</c:v>
                </c:pt>
                <c:pt idx="3058">
                  <c:v>41246</c:v>
                </c:pt>
                <c:pt idx="3059">
                  <c:v>41247</c:v>
                </c:pt>
                <c:pt idx="3060">
                  <c:v>41248</c:v>
                </c:pt>
                <c:pt idx="3061">
                  <c:v>41249</c:v>
                </c:pt>
                <c:pt idx="3062">
                  <c:v>41250</c:v>
                </c:pt>
                <c:pt idx="3063">
                  <c:v>41253</c:v>
                </c:pt>
                <c:pt idx="3064">
                  <c:v>41254</c:v>
                </c:pt>
                <c:pt idx="3065">
                  <c:v>41255</c:v>
                </c:pt>
                <c:pt idx="3066">
                  <c:v>41256</c:v>
                </c:pt>
                <c:pt idx="3067">
                  <c:v>41257</c:v>
                </c:pt>
                <c:pt idx="3068">
                  <c:v>41260</c:v>
                </c:pt>
                <c:pt idx="3069">
                  <c:v>41261</c:v>
                </c:pt>
                <c:pt idx="3070">
                  <c:v>41262</c:v>
                </c:pt>
                <c:pt idx="3071">
                  <c:v>41263</c:v>
                </c:pt>
                <c:pt idx="3072">
                  <c:v>41264</c:v>
                </c:pt>
                <c:pt idx="3073">
                  <c:v>41267</c:v>
                </c:pt>
                <c:pt idx="3074">
                  <c:v>41270</c:v>
                </c:pt>
                <c:pt idx="3075">
                  <c:v>41271</c:v>
                </c:pt>
                <c:pt idx="3076">
                  <c:v>41274</c:v>
                </c:pt>
                <c:pt idx="3077">
                  <c:v>41276</c:v>
                </c:pt>
                <c:pt idx="3078">
                  <c:v>41277</c:v>
                </c:pt>
                <c:pt idx="3079">
                  <c:v>41278</c:v>
                </c:pt>
                <c:pt idx="3080">
                  <c:v>41281</c:v>
                </c:pt>
                <c:pt idx="3081">
                  <c:v>41282</c:v>
                </c:pt>
                <c:pt idx="3082">
                  <c:v>41283</c:v>
                </c:pt>
                <c:pt idx="3083">
                  <c:v>41284</c:v>
                </c:pt>
                <c:pt idx="3084">
                  <c:v>41285</c:v>
                </c:pt>
                <c:pt idx="3085">
                  <c:v>41288</c:v>
                </c:pt>
                <c:pt idx="3086">
                  <c:v>41289</c:v>
                </c:pt>
                <c:pt idx="3087">
                  <c:v>41290</c:v>
                </c:pt>
                <c:pt idx="3088">
                  <c:v>41291</c:v>
                </c:pt>
                <c:pt idx="3089">
                  <c:v>41292</c:v>
                </c:pt>
                <c:pt idx="3090">
                  <c:v>41295</c:v>
                </c:pt>
                <c:pt idx="3091">
                  <c:v>41296</c:v>
                </c:pt>
                <c:pt idx="3092">
                  <c:v>41297</c:v>
                </c:pt>
                <c:pt idx="3093">
                  <c:v>41298</c:v>
                </c:pt>
                <c:pt idx="3094">
                  <c:v>41299</c:v>
                </c:pt>
                <c:pt idx="3095">
                  <c:v>41302</c:v>
                </c:pt>
                <c:pt idx="3096">
                  <c:v>41303</c:v>
                </c:pt>
                <c:pt idx="3097">
                  <c:v>41304</c:v>
                </c:pt>
                <c:pt idx="3098">
                  <c:v>41305</c:v>
                </c:pt>
                <c:pt idx="3099">
                  <c:v>41306</c:v>
                </c:pt>
                <c:pt idx="3100">
                  <c:v>41309</c:v>
                </c:pt>
                <c:pt idx="3101">
                  <c:v>41310</c:v>
                </c:pt>
                <c:pt idx="3102">
                  <c:v>41311</c:v>
                </c:pt>
                <c:pt idx="3103">
                  <c:v>41312</c:v>
                </c:pt>
                <c:pt idx="3104">
                  <c:v>41313</c:v>
                </c:pt>
                <c:pt idx="3105">
                  <c:v>41316</c:v>
                </c:pt>
                <c:pt idx="3106">
                  <c:v>41317</c:v>
                </c:pt>
                <c:pt idx="3107">
                  <c:v>41318</c:v>
                </c:pt>
                <c:pt idx="3108">
                  <c:v>41319</c:v>
                </c:pt>
                <c:pt idx="3109">
                  <c:v>41320</c:v>
                </c:pt>
                <c:pt idx="3110">
                  <c:v>41323</c:v>
                </c:pt>
                <c:pt idx="3111">
                  <c:v>41324</c:v>
                </c:pt>
                <c:pt idx="3112">
                  <c:v>41325</c:v>
                </c:pt>
                <c:pt idx="3113">
                  <c:v>41326</c:v>
                </c:pt>
                <c:pt idx="3114">
                  <c:v>41327</c:v>
                </c:pt>
                <c:pt idx="3115">
                  <c:v>41330</c:v>
                </c:pt>
                <c:pt idx="3116">
                  <c:v>41331</c:v>
                </c:pt>
                <c:pt idx="3117">
                  <c:v>41332</c:v>
                </c:pt>
                <c:pt idx="3118">
                  <c:v>41333</c:v>
                </c:pt>
                <c:pt idx="3119">
                  <c:v>41334</c:v>
                </c:pt>
                <c:pt idx="3120">
                  <c:v>41337</c:v>
                </c:pt>
                <c:pt idx="3121">
                  <c:v>41338</c:v>
                </c:pt>
                <c:pt idx="3122">
                  <c:v>41339</c:v>
                </c:pt>
                <c:pt idx="3123">
                  <c:v>41340</c:v>
                </c:pt>
                <c:pt idx="3124">
                  <c:v>41341</c:v>
                </c:pt>
                <c:pt idx="3125">
                  <c:v>41344</c:v>
                </c:pt>
                <c:pt idx="3126">
                  <c:v>41345</c:v>
                </c:pt>
                <c:pt idx="3127">
                  <c:v>41346</c:v>
                </c:pt>
                <c:pt idx="3128">
                  <c:v>41347</c:v>
                </c:pt>
                <c:pt idx="3129">
                  <c:v>41348</c:v>
                </c:pt>
                <c:pt idx="3130">
                  <c:v>41351</c:v>
                </c:pt>
                <c:pt idx="3131">
                  <c:v>41352</c:v>
                </c:pt>
                <c:pt idx="3132">
                  <c:v>41353</c:v>
                </c:pt>
                <c:pt idx="3133">
                  <c:v>41354</c:v>
                </c:pt>
                <c:pt idx="3134">
                  <c:v>41355</c:v>
                </c:pt>
                <c:pt idx="3135">
                  <c:v>41358</c:v>
                </c:pt>
                <c:pt idx="3136">
                  <c:v>41359</c:v>
                </c:pt>
                <c:pt idx="3137">
                  <c:v>41360</c:v>
                </c:pt>
                <c:pt idx="3138">
                  <c:v>41361</c:v>
                </c:pt>
                <c:pt idx="3139">
                  <c:v>41366</c:v>
                </c:pt>
                <c:pt idx="3140">
                  <c:v>41367</c:v>
                </c:pt>
                <c:pt idx="3141">
                  <c:v>41368</c:v>
                </c:pt>
                <c:pt idx="3142">
                  <c:v>41369</c:v>
                </c:pt>
                <c:pt idx="3143">
                  <c:v>41372</c:v>
                </c:pt>
                <c:pt idx="3144">
                  <c:v>41373</c:v>
                </c:pt>
                <c:pt idx="3145">
                  <c:v>41374</c:v>
                </c:pt>
                <c:pt idx="3146">
                  <c:v>41375</c:v>
                </c:pt>
                <c:pt idx="3147">
                  <c:v>41376</c:v>
                </c:pt>
                <c:pt idx="3148">
                  <c:v>41379</c:v>
                </c:pt>
                <c:pt idx="3149">
                  <c:v>41380</c:v>
                </c:pt>
                <c:pt idx="3150">
                  <c:v>41381</c:v>
                </c:pt>
                <c:pt idx="3151">
                  <c:v>41382</c:v>
                </c:pt>
                <c:pt idx="3152">
                  <c:v>41383</c:v>
                </c:pt>
                <c:pt idx="3153">
                  <c:v>41386</c:v>
                </c:pt>
                <c:pt idx="3154">
                  <c:v>41387</c:v>
                </c:pt>
                <c:pt idx="3155">
                  <c:v>41388</c:v>
                </c:pt>
                <c:pt idx="3156">
                  <c:v>41389</c:v>
                </c:pt>
                <c:pt idx="3157">
                  <c:v>41390</c:v>
                </c:pt>
                <c:pt idx="3158">
                  <c:v>41393</c:v>
                </c:pt>
                <c:pt idx="3159">
                  <c:v>41394</c:v>
                </c:pt>
                <c:pt idx="3160">
                  <c:v>41395</c:v>
                </c:pt>
                <c:pt idx="3161">
                  <c:v>41396</c:v>
                </c:pt>
                <c:pt idx="3162">
                  <c:v>41397</c:v>
                </c:pt>
                <c:pt idx="3163">
                  <c:v>41400</c:v>
                </c:pt>
                <c:pt idx="3164">
                  <c:v>41401</c:v>
                </c:pt>
                <c:pt idx="3165">
                  <c:v>41402</c:v>
                </c:pt>
                <c:pt idx="3166">
                  <c:v>41403</c:v>
                </c:pt>
                <c:pt idx="3167">
                  <c:v>41404</c:v>
                </c:pt>
                <c:pt idx="3168">
                  <c:v>41407</c:v>
                </c:pt>
                <c:pt idx="3169">
                  <c:v>41408</c:v>
                </c:pt>
                <c:pt idx="3170">
                  <c:v>41409</c:v>
                </c:pt>
                <c:pt idx="3171">
                  <c:v>41410</c:v>
                </c:pt>
                <c:pt idx="3172">
                  <c:v>41411</c:v>
                </c:pt>
                <c:pt idx="3173">
                  <c:v>41414</c:v>
                </c:pt>
                <c:pt idx="3174">
                  <c:v>41415</c:v>
                </c:pt>
                <c:pt idx="3175">
                  <c:v>41416</c:v>
                </c:pt>
                <c:pt idx="3176">
                  <c:v>41417</c:v>
                </c:pt>
                <c:pt idx="3177">
                  <c:v>41418</c:v>
                </c:pt>
                <c:pt idx="3178">
                  <c:v>41421</c:v>
                </c:pt>
                <c:pt idx="3179">
                  <c:v>41422</c:v>
                </c:pt>
                <c:pt idx="3180">
                  <c:v>41423</c:v>
                </c:pt>
                <c:pt idx="3181">
                  <c:v>41424</c:v>
                </c:pt>
                <c:pt idx="3182">
                  <c:v>41425</c:v>
                </c:pt>
                <c:pt idx="3183">
                  <c:v>41428</c:v>
                </c:pt>
                <c:pt idx="3184">
                  <c:v>41429</c:v>
                </c:pt>
                <c:pt idx="3185">
                  <c:v>41430</c:v>
                </c:pt>
                <c:pt idx="3186">
                  <c:v>41431</c:v>
                </c:pt>
                <c:pt idx="3187">
                  <c:v>41432</c:v>
                </c:pt>
                <c:pt idx="3188">
                  <c:v>41435</c:v>
                </c:pt>
                <c:pt idx="3189">
                  <c:v>41436</c:v>
                </c:pt>
                <c:pt idx="3190">
                  <c:v>41437</c:v>
                </c:pt>
                <c:pt idx="3191">
                  <c:v>41438</c:v>
                </c:pt>
                <c:pt idx="3192">
                  <c:v>41439</c:v>
                </c:pt>
                <c:pt idx="3193">
                  <c:v>41442</c:v>
                </c:pt>
                <c:pt idx="3194">
                  <c:v>41443</c:v>
                </c:pt>
                <c:pt idx="3195">
                  <c:v>41444</c:v>
                </c:pt>
                <c:pt idx="3196">
                  <c:v>41445</c:v>
                </c:pt>
                <c:pt idx="3197">
                  <c:v>41446</c:v>
                </c:pt>
                <c:pt idx="3198">
                  <c:v>41449</c:v>
                </c:pt>
                <c:pt idx="3199">
                  <c:v>41450</c:v>
                </c:pt>
                <c:pt idx="3200">
                  <c:v>41451</c:v>
                </c:pt>
                <c:pt idx="3201">
                  <c:v>41452</c:v>
                </c:pt>
                <c:pt idx="3202">
                  <c:v>41453</c:v>
                </c:pt>
                <c:pt idx="3203">
                  <c:v>41456</c:v>
                </c:pt>
                <c:pt idx="3204">
                  <c:v>41457</c:v>
                </c:pt>
                <c:pt idx="3205">
                  <c:v>41458</c:v>
                </c:pt>
                <c:pt idx="3206">
                  <c:v>41459</c:v>
                </c:pt>
                <c:pt idx="3207">
                  <c:v>41460</c:v>
                </c:pt>
              </c:numCache>
            </c:numRef>
          </c:cat>
          <c:val>
            <c:numRef>
              <c:f>Sheet2!$G$2:$G$3209</c:f>
              <c:numCache>
                <c:formatCode>General</c:formatCode>
                <c:ptCount val="3208"/>
                <c:pt idx="0">
                  <c:v>100</c:v>
                </c:pt>
                <c:pt idx="1">
                  <c:v>98.693515853688538</c:v>
                </c:pt>
                <c:pt idx="2">
                  <c:v>100.43170245738322</c:v>
                </c:pt>
                <c:pt idx="3">
                  <c:v>100.61004107937914</c:v>
                </c:pt>
                <c:pt idx="4">
                  <c:v>99.986470863158942</c:v>
                </c:pt>
                <c:pt idx="5">
                  <c:v>98.260275994391563</c:v>
                </c:pt>
                <c:pt idx="6">
                  <c:v>97.725260128403818</c:v>
                </c:pt>
                <c:pt idx="7">
                  <c:v>99.679912921555612</c:v>
                </c:pt>
                <c:pt idx="8">
                  <c:v>100.21738863060537</c:v>
                </c:pt>
                <c:pt idx="9">
                  <c:v>99.885309817233662</c:v>
                </c:pt>
                <c:pt idx="10">
                  <c:v>98.467517772366136</c:v>
                </c:pt>
                <c:pt idx="11">
                  <c:v>99.72542001820284</c:v>
                </c:pt>
                <c:pt idx="12">
                  <c:v>100.70966472339066</c:v>
                </c:pt>
                <c:pt idx="13">
                  <c:v>99.555075886158477</c:v>
                </c:pt>
                <c:pt idx="14">
                  <c:v>99.623951491894829</c:v>
                </c:pt>
                <c:pt idx="15">
                  <c:v>99.880082650726891</c:v>
                </c:pt>
                <c:pt idx="16">
                  <c:v>99.175645093843016</c:v>
                </c:pt>
                <c:pt idx="17">
                  <c:v>99.262047081396219</c:v>
                </c:pt>
                <c:pt idx="18">
                  <c:v>99.279573463213055</c:v>
                </c:pt>
                <c:pt idx="19">
                  <c:v>99.128293114899279</c:v>
                </c:pt>
                <c:pt idx="20">
                  <c:v>99.629486138784358</c:v>
                </c:pt>
                <c:pt idx="21">
                  <c:v>100.49381349469904</c:v>
                </c:pt>
                <c:pt idx="22">
                  <c:v>100.53778318943252</c:v>
                </c:pt>
                <c:pt idx="23">
                  <c:v>99.302019531153917</c:v>
                </c:pt>
                <c:pt idx="24">
                  <c:v>99.812436966521545</c:v>
                </c:pt>
                <c:pt idx="25">
                  <c:v>99.516948318697274</c:v>
                </c:pt>
                <c:pt idx="26">
                  <c:v>98.410633901557091</c:v>
                </c:pt>
                <c:pt idx="27">
                  <c:v>97.076476520797982</c:v>
                </c:pt>
                <c:pt idx="28">
                  <c:v>96.286866897891926</c:v>
                </c:pt>
                <c:pt idx="29">
                  <c:v>97.609954984871976</c:v>
                </c:pt>
                <c:pt idx="30">
                  <c:v>96.827724891151945</c:v>
                </c:pt>
                <c:pt idx="31">
                  <c:v>95.496642314220352</c:v>
                </c:pt>
                <c:pt idx="32">
                  <c:v>95.177477676924212</c:v>
                </c:pt>
                <c:pt idx="33">
                  <c:v>94.335288908567634</c:v>
                </c:pt>
                <c:pt idx="34">
                  <c:v>94.543453127690455</c:v>
                </c:pt>
                <c:pt idx="35">
                  <c:v>92.748997613952241</c:v>
                </c:pt>
                <c:pt idx="36">
                  <c:v>92.257951442697959</c:v>
                </c:pt>
                <c:pt idx="37">
                  <c:v>91.452045359506073</c:v>
                </c:pt>
                <c:pt idx="38">
                  <c:v>90.013652128994181</c:v>
                </c:pt>
                <c:pt idx="39">
                  <c:v>90.757447174870251</c:v>
                </c:pt>
                <c:pt idx="40">
                  <c:v>91.787198976705298</c:v>
                </c:pt>
                <c:pt idx="41">
                  <c:v>91.671586352790698</c:v>
                </c:pt>
                <c:pt idx="42">
                  <c:v>91.794885986274082</c:v>
                </c:pt>
                <c:pt idx="43">
                  <c:v>92.323752244606794</c:v>
                </c:pt>
                <c:pt idx="44">
                  <c:v>92.797886994809744</c:v>
                </c:pt>
                <c:pt idx="45">
                  <c:v>94.123742405234552</c:v>
                </c:pt>
                <c:pt idx="46">
                  <c:v>93.86023171721645</c:v>
                </c:pt>
                <c:pt idx="47">
                  <c:v>93.764297837797955</c:v>
                </c:pt>
                <c:pt idx="48">
                  <c:v>92.728703908690633</c:v>
                </c:pt>
                <c:pt idx="49">
                  <c:v>90.390008117482111</c:v>
                </c:pt>
                <c:pt idx="50">
                  <c:v>88.377549012373024</c:v>
                </c:pt>
                <c:pt idx="51">
                  <c:v>86.620298624947736</c:v>
                </c:pt>
                <c:pt idx="52">
                  <c:v>87.600853565542522</c:v>
                </c:pt>
                <c:pt idx="53">
                  <c:v>84.496839101665316</c:v>
                </c:pt>
                <c:pt idx="54">
                  <c:v>84.027624037586406</c:v>
                </c:pt>
                <c:pt idx="55">
                  <c:v>85.740904730278217</c:v>
                </c:pt>
                <c:pt idx="56">
                  <c:v>83.690010577325168</c:v>
                </c:pt>
                <c:pt idx="57">
                  <c:v>79.082724522175496</c:v>
                </c:pt>
                <c:pt idx="58">
                  <c:v>81.66371485499225</c:v>
                </c:pt>
                <c:pt idx="59">
                  <c:v>84.605072196393877</c:v>
                </c:pt>
                <c:pt idx="60">
                  <c:v>86.66888052542248</c:v>
                </c:pt>
                <c:pt idx="61">
                  <c:v>84.718224977246464</c:v>
                </c:pt>
                <c:pt idx="62">
                  <c:v>84.304356382062835</c:v>
                </c:pt>
                <c:pt idx="63">
                  <c:v>84.833837601161051</c:v>
                </c:pt>
                <c:pt idx="64">
                  <c:v>84.345866233734299</c:v>
                </c:pt>
                <c:pt idx="65">
                  <c:v>82.190736231028467</c:v>
                </c:pt>
                <c:pt idx="66">
                  <c:v>83.906784247165035</c:v>
                </c:pt>
                <c:pt idx="67">
                  <c:v>85.297210537967686</c:v>
                </c:pt>
                <c:pt idx="68">
                  <c:v>85.463249944653541</c:v>
                </c:pt>
                <c:pt idx="69">
                  <c:v>86.74913290532065</c:v>
                </c:pt>
                <c:pt idx="70">
                  <c:v>87.7121614640986</c:v>
                </c:pt>
                <c:pt idx="71">
                  <c:v>87.458797628711295</c:v>
                </c:pt>
                <c:pt idx="72">
                  <c:v>88.128182421961483</c:v>
                </c:pt>
                <c:pt idx="73">
                  <c:v>86.810628981870963</c:v>
                </c:pt>
                <c:pt idx="74">
                  <c:v>88.362789954000945</c:v>
                </c:pt>
                <c:pt idx="75">
                  <c:v>89.572725260128408</c:v>
                </c:pt>
                <c:pt idx="76">
                  <c:v>89.94108675866481</c:v>
                </c:pt>
                <c:pt idx="77">
                  <c:v>88.878742036258089</c:v>
                </c:pt>
                <c:pt idx="78">
                  <c:v>88.94423535778418</c:v>
                </c:pt>
                <c:pt idx="79">
                  <c:v>89.081986569256884</c:v>
                </c:pt>
                <c:pt idx="80">
                  <c:v>90.017956854352704</c:v>
                </c:pt>
                <c:pt idx="81">
                  <c:v>90.523762083979051</c:v>
                </c:pt>
                <c:pt idx="82">
                  <c:v>90.862605465771296</c:v>
                </c:pt>
                <c:pt idx="83">
                  <c:v>90.664588099279271</c:v>
                </c:pt>
                <c:pt idx="84">
                  <c:v>89.069072393181315</c:v>
                </c:pt>
                <c:pt idx="85">
                  <c:v>89.84822768307383</c:v>
                </c:pt>
                <c:pt idx="86">
                  <c:v>90.084065136644284</c:v>
                </c:pt>
                <c:pt idx="87">
                  <c:v>89.502927213243808</c:v>
                </c:pt>
                <c:pt idx="88">
                  <c:v>88.883969202764874</c:v>
                </c:pt>
                <c:pt idx="89">
                  <c:v>90.407227018916203</c:v>
                </c:pt>
                <c:pt idx="90">
                  <c:v>89.34180749268198</c:v>
                </c:pt>
                <c:pt idx="91">
                  <c:v>87.650357907165528</c:v>
                </c:pt>
                <c:pt idx="92">
                  <c:v>89.04232159988193</c:v>
                </c:pt>
                <c:pt idx="93">
                  <c:v>89.647135512754289</c:v>
                </c:pt>
                <c:pt idx="94">
                  <c:v>90.234423043809812</c:v>
                </c:pt>
                <c:pt idx="95">
                  <c:v>90.409379381595457</c:v>
                </c:pt>
                <c:pt idx="96">
                  <c:v>90.777740880131859</c:v>
                </c:pt>
                <c:pt idx="97">
                  <c:v>90.600017218901442</c:v>
                </c:pt>
                <c:pt idx="98">
                  <c:v>89.339655130002711</c:v>
                </c:pt>
                <c:pt idx="99">
                  <c:v>89.126571224755864</c:v>
                </c:pt>
                <c:pt idx="100">
                  <c:v>88.591555358768119</c:v>
                </c:pt>
                <c:pt idx="101">
                  <c:v>88.949155043908206</c:v>
                </c:pt>
                <c:pt idx="102">
                  <c:v>87.906796546380349</c:v>
                </c:pt>
                <c:pt idx="103">
                  <c:v>87.056305807689469</c:v>
                </c:pt>
                <c:pt idx="104">
                  <c:v>86.432735591469267</c:v>
                </c:pt>
                <c:pt idx="105">
                  <c:v>86.158155609672107</c:v>
                </c:pt>
                <c:pt idx="106">
                  <c:v>86.582171057486534</c:v>
                </c:pt>
                <c:pt idx="107">
                  <c:v>87.58363466410843</c:v>
                </c:pt>
                <c:pt idx="108">
                  <c:v>86.861363245024975</c:v>
                </c:pt>
                <c:pt idx="109">
                  <c:v>86.952377438319445</c:v>
                </c:pt>
                <c:pt idx="110">
                  <c:v>86.636902565616325</c:v>
                </c:pt>
                <c:pt idx="111">
                  <c:v>85.225260128403818</c:v>
                </c:pt>
                <c:pt idx="112">
                  <c:v>84.202272894989306</c:v>
                </c:pt>
                <c:pt idx="113">
                  <c:v>85.14777507195042</c:v>
                </c:pt>
                <c:pt idx="114">
                  <c:v>84.78033601456228</c:v>
                </c:pt>
                <c:pt idx="115">
                  <c:v>84.380304036602467</c:v>
                </c:pt>
                <c:pt idx="116">
                  <c:v>83.572860551496817</c:v>
                </c:pt>
                <c:pt idx="117">
                  <c:v>83.514746759156765</c:v>
                </c:pt>
                <c:pt idx="118">
                  <c:v>82.710685558261389</c:v>
                </c:pt>
                <c:pt idx="119">
                  <c:v>82.874572602267975</c:v>
                </c:pt>
                <c:pt idx="120">
                  <c:v>83.267840011807252</c:v>
                </c:pt>
                <c:pt idx="121">
                  <c:v>83.79086414286769</c:v>
                </c:pt>
                <c:pt idx="122">
                  <c:v>82.540956386982515</c:v>
                </c:pt>
                <c:pt idx="123">
                  <c:v>82.422883920005916</c:v>
                </c:pt>
                <c:pt idx="124">
                  <c:v>82.542801269279025</c:v>
                </c:pt>
                <c:pt idx="125">
                  <c:v>83.165449044350979</c:v>
                </c:pt>
                <c:pt idx="126">
                  <c:v>84.344021351437789</c:v>
                </c:pt>
                <c:pt idx="127">
                  <c:v>83.333640813716087</c:v>
                </c:pt>
                <c:pt idx="128">
                  <c:v>82.702383587927102</c:v>
                </c:pt>
                <c:pt idx="129">
                  <c:v>81.351929746882149</c:v>
                </c:pt>
                <c:pt idx="130">
                  <c:v>80.306188965144031</c:v>
                </c:pt>
                <c:pt idx="131">
                  <c:v>80.645647307701779</c:v>
                </c:pt>
                <c:pt idx="132">
                  <c:v>80.710833148845111</c:v>
                </c:pt>
                <c:pt idx="133">
                  <c:v>80.108171598652007</c:v>
                </c:pt>
                <c:pt idx="134">
                  <c:v>80.399970481883273</c:v>
                </c:pt>
                <c:pt idx="135">
                  <c:v>80.829828056969973</c:v>
                </c:pt>
                <c:pt idx="136">
                  <c:v>80.692076845497269</c:v>
                </c:pt>
                <c:pt idx="137">
                  <c:v>79.680466386244561</c:v>
                </c:pt>
                <c:pt idx="138">
                  <c:v>80.387978746955952</c:v>
                </c:pt>
                <c:pt idx="139">
                  <c:v>81.517046712419756</c:v>
                </c:pt>
                <c:pt idx="140">
                  <c:v>81.136385998573303</c:v>
                </c:pt>
                <c:pt idx="141">
                  <c:v>81.034917472265278</c:v>
                </c:pt>
                <c:pt idx="142">
                  <c:v>80.425491353651637</c:v>
                </c:pt>
                <c:pt idx="143">
                  <c:v>79.774862863749291</c:v>
                </c:pt>
                <c:pt idx="144">
                  <c:v>80.22132437950458</c:v>
                </c:pt>
                <c:pt idx="145">
                  <c:v>81.442636459793874</c:v>
                </c:pt>
                <c:pt idx="146">
                  <c:v>82.47853786928394</c:v>
                </c:pt>
                <c:pt idx="147">
                  <c:v>83.372075861560035</c:v>
                </c:pt>
                <c:pt idx="148">
                  <c:v>83.984269303618433</c:v>
                </c:pt>
                <c:pt idx="149">
                  <c:v>84.294517009814783</c:v>
                </c:pt>
                <c:pt idx="150">
                  <c:v>83.841290925638944</c:v>
                </c:pt>
                <c:pt idx="151">
                  <c:v>83.384990037635603</c:v>
                </c:pt>
                <c:pt idx="152">
                  <c:v>83.245393943866389</c:v>
                </c:pt>
                <c:pt idx="153">
                  <c:v>82.206725210931552</c:v>
                </c:pt>
                <c:pt idx="154">
                  <c:v>81.695077854032917</c:v>
                </c:pt>
                <c:pt idx="155">
                  <c:v>81.644343590878904</c:v>
                </c:pt>
                <c:pt idx="156">
                  <c:v>82.333099648242452</c:v>
                </c:pt>
                <c:pt idx="157">
                  <c:v>83.257385678793696</c:v>
                </c:pt>
                <c:pt idx="158">
                  <c:v>83.918775982092342</c:v>
                </c:pt>
                <c:pt idx="159">
                  <c:v>83.168523848178495</c:v>
                </c:pt>
                <c:pt idx="160">
                  <c:v>82.172594888446127</c:v>
                </c:pt>
                <c:pt idx="161">
                  <c:v>81.888175534400915</c:v>
                </c:pt>
                <c:pt idx="162">
                  <c:v>82.791552898925048</c:v>
                </c:pt>
                <c:pt idx="163">
                  <c:v>83.247853786928403</c:v>
                </c:pt>
                <c:pt idx="164">
                  <c:v>82.798624947728342</c:v>
                </c:pt>
                <c:pt idx="165">
                  <c:v>84.036540968686197</c:v>
                </c:pt>
                <c:pt idx="166">
                  <c:v>83.840675964873441</c:v>
                </c:pt>
                <c:pt idx="167">
                  <c:v>82.86534819078544</c:v>
                </c:pt>
                <c:pt idx="168">
                  <c:v>82.78878557548029</c:v>
                </c:pt>
                <c:pt idx="169">
                  <c:v>81.108712764125656</c:v>
                </c:pt>
                <c:pt idx="170">
                  <c:v>81.201571839716635</c:v>
                </c:pt>
                <c:pt idx="171">
                  <c:v>80.177969645536621</c:v>
                </c:pt>
                <c:pt idx="172">
                  <c:v>79.940594790052401</c:v>
                </c:pt>
                <c:pt idx="173">
                  <c:v>78.671623250436625</c:v>
                </c:pt>
                <c:pt idx="174">
                  <c:v>77.116694954861885</c:v>
                </c:pt>
                <c:pt idx="175">
                  <c:v>76.253597520478195</c:v>
                </c:pt>
                <c:pt idx="176">
                  <c:v>75.244139423904755</c:v>
                </c:pt>
                <c:pt idx="177">
                  <c:v>71.265958231864801</c:v>
                </c:pt>
                <c:pt idx="178">
                  <c:v>72.355053747570906</c:v>
                </c:pt>
                <c:pt idx="179">
                  <c:v>73.305783091038791</c:v>
                </c:pt>
                <c:pt idx="180">
                  <c:v>70.516321058716457</c:v>
                </c:pt>
                <c:pt idx="181">
                  <c:v>72.245590731311353</c:v>
                </c:pt>
                <c:pt idx="182">
                  <c:v>71.647233906476771</c:v>
                </c:pt>
                <c:pt idx="183">
                  <c:v>70.587963987897581</c:v>
                </c:pt>
                <c:pt idx="184">
                  <c:v>67.677354684771132</c:v>
                </c:pt>
                <c:pt idx="185">
                  <c:v>65.18184389835929</c:v>
                </c:pt>
                <c:pt idx="186">
                  <c:v>68.529382825375734</c:v>
                </c:pt>
                <c:pt idx="187">
                  <c:v>69.919809116178399</c:v>
                </c:pt>
                <c:pt idx="188">
                  <c:v>70.793975844341134</c:v>
                </c:pt>
                <c:pt idx="189">
                  <c:v>71.635242171549464</c:v>
                </c:pt>
                <c:pt idx="190">
                  <c:v>73.098233832681487</c:v>
                </c:pt>
                <c:pt idx="191">
                  <c:v>71.959326494969631</c:v>
                </c:pt>
                <c:pt idx="192">
                  <c:v>72.548766388704408</c:v>
                </c:pt>
                <c:pt idx="193">
                  <c:v>73.124984625980858</c:v>
                </c:pt>
                <c:pt idx="194">
                  <c:v>75.066415762674353</c:v>
                </c:pt>
                <c:pt idx="195">
                  <c:v>75.068875605736352</c:v>
                </c:pt>
                <c:pt idx="196">
                  <c:v>75.050426782771268</c:v>
                </c:pt>
                <c:pt idx="197">
                  <c:v>74.810284603842291</c:v>
                </c:pt>
                <c:pt idx="198">
                  <c:v>76.06603448699974</c:v>
                </c:pt>
                <c:pt idx="199">
                  <c:v>76.32677785157307</c:v>
                </c:pt>
                <c:pt idx="200">
                  <c:v>76.231151452537318</c:v>
                </c:pt>
                <c:pt idx="201">
                  <c:v>74.815511770349048</c:v>
                </c:pt>
                <c:pt idx="202">
                  <c:v>75.607888716699875</c:v>
                </c:pt>
                <c:pt idx="203">
                  <c:v>77.0524315548668</c:v>
                </c:pt>
                <c:pt idx="204">
                  <c:v>75.638636754975025</c:v>
                </c:pt>
                <c:pt idx="205">
                  <c:v>74.08709074361056</c:v>
                </c:pt>
                <c:pt idx="206">
                  <c:v>74.715888126337546</c:v>
                </c:pt>
                <c:pt idx="207">
                  <c:v>76.197021130051908</c:v>
                </c:pt>
                <c:pt idx="208">
                  <c:v>76.645635008486451</c:v>
                </c:pt>
                <c:pt idx="209">
                  <c:v>75.588209972203785</c:v>
                </c:pt>
                <c:pt idx="210">
                  <c:v>77.041054780704997</c:v>
                </c:pt>
                <c:pt idx="211">
                  <c:v>76.369210144392795</c:v>
                </c:pt>
                <c:pt idx="212">
                  <c:v>74.882542493788904</c:v>
                </c:pt>
                <c:pt idx="213">
                  <c:v>75.422170565517931</c:v>
                </c:pt>
                <c:pt idx="214">
                  <c:v>76.315401077411266</c:v>
                </c:pt>
                <c:pt idx="215">
                  <c:v>76.440238112808402</c:v>
                </c:pt>
                <c:pt idx="216">
                  <c:v>77.636029321329303</c:v>
                </c:pt>
                <c:pt idx="217">
                  <c:v>77.640641527070585</c:v>
                </c:pt>
                <c:pt idx="218">
                  <c:v>78.500664157626758</c:v>
                </c:pt>
                <c:pt idx="219">
                  <c:v>79.346850170959101</c:v>
                </c:pt>
                <c:pt idx="220">
                  <c:v>78.584606302117933</c:v>
                </c:pt>
                <c:pt idx="221">
                  <c:v>76.976176419944409</c:v>
                </c:pt>
                <c:pt idx="222">
                  <c:v>78.300494428455465</c:v>
                </c:pt>
                <c:pt idx="223">
                  <c:v>78.391201141367176</c:v>
                </c:pt>
                <c:pt idx="224">
                  <c:v>78.383206651415648</c:v>
                </c:pt>
                <c:pt idx="225">
                  <c:v>79.204179273362371</c:v>
                </c:pt>
                <c:pt idx="226">
                  <c:v>79.559319115440445</c:v>
                </c:pt>
                <c:pt idx="227">
                  <c:v>78.885014636066231</c:v>
                </c:pt>
                <c:pt idx="228">
                  <c:v>78.301724349986472</c:v>
                </c:pt>
                <c:pt idx="229">
                  <c:v>79.179888323124985</c:v>
                </c:pt>
                <c:pt idx="230">
                  <c:v>78.562160234177071</c:v>
                </c:pt>
                <c:pt idx="231">
                  <c:v>78.692531916463736</c:v>
                </c:pt>
                <c:pt idx="232">
                  <c:v>77.999163653358906</c:v>
                </c:pt>
                <c:pt idx="233">
                  <c:v>77.444161562492312</c:v>
                </c:pt>
                <c:pt idx="234">
                  <c:v>77.497048188325593</c:v>
                </c:pt>
                <c:pt idx="235">
                  <c:v>78.449622414089987</c:v>
                </c:pt>
                <c:pt idx="236">
                  <c:v>77.667699800752715</c:v>
                </c:pt>
                <c:pt idx="237">
                  <c:v>78.724202395887161</c:v>
                </c:pt>
                <c:pt idx="238">
                  <c:v>80.740966226354757</c:v>
                </c:pt>
                <c:pt idx="239">
                  <c:v>81.294430915307615</c:v>
                </c:pt>
                <c:pt idx="240">
                  <c:v>80.46884608761961</c:v>
                </c:pt>
                <c:pt idx="241">
                  <c:v>79.072270189161941</c:v>
                </c:pt>
                <c:pt idx="242">
                  <c:v>79.123926893464215</c:v>
                </c:pt>
                <c:pt idx="243">
                  <c:v>78.912687870513864</c:v>
                </c:pt>
                <c:pt idx="244">
                  <c:v>77.812830541411458</c:v>
                </c:pt>
                <c:pt idx="245">
                  <c:v>77.543170245738324</c:v>
                </c:pt>
                <c:pt idx="246">
                  <c:v>79.512274616879438</c:v>
                </c:pt>
                <c:pt idx="247">
                  <c:v>79.338855681007558</c:v>
                </c:pt>
                <c:pt idx="248">
                  <c:v>78.393660984429204</c:v>
                </c:pt>
                <c:pt idx="249">
                  <c:v>77.843271099303863</c:v>
                </c:pt>
                <c:pt idx="250">
                  <c:v>78.383514131798393</c:v>
                </c:pt>
                <c:pt idx="251">
                  <c:v>77.907534499298947</c:v>
                </c:pt>
                <c:pt idx="252">
                  <c:v>79.751186874277423</c:v>
                </c:pt>
                <c:pt idx="253">
                  <c:v>79.915381398666767</c:v>
                </c:pt>
                <c:pt idx="254">
                  <c:v>80.55617051632106</c:v>
                </c:pt>
                <c:pt idx="255">
                  <c:v>81.727055813839087</c:v>
                </c:pt>
                <c:pt idx="256">
                  <c:v>81.457702998548697</c:v>
                </c:pt>
                <c:pt idx="257">
                  <c:v>80.526652399576918</c:v>
                </c:pt>
                <c:pt idx="258">
                  <c:v>79.762871128821985</c:v>
                </c:pt>
                <c:pt idx="259">
                  <c:v>79.621737633139006</c:v>
                </c:pt>
                <c:pt idx="260">
                  <c:v>79.138070991070791</c:v>
                </c:pt>
                <c:pt idx="261">
                  <c:v>79.397891914495858</c:v>
                </c:pt>
                <c:pt idx="262">
                  <c:v>78.007773104075966</c:v>
                </c:pt>
                <c:pt idx="263">
                  <c:v>78.391201141367176</c:v>
                </c:pt>
                <c:pt idx="264">
                  <c:v>76.96510712616535</c:v>
                </c:pt>
                <c:pt idx="265">
                  <c:v>77.667084839987211</c:v>
                </c:pt>
                <c:pt idx="266">
                  <c:v>77.581297813199527</c:v>
                </c:pt>
                <c:pt idx="267">
                  <c:v>77.176653629498432</c:v>
                </c:pt>
                <c:pt idx="268">
                  <c:v>77.197254815142799</c:v>
                </c:pt>
                <c:pt idx="269">
                  <c:v>77.729195877303027</c:v>
                </c:pt>
                <c:pt idx="270">
                  <c:v>78.339544437064916</c:v>
                </c:pt>
                <c:pt idx="271">
                  <c:v>76.936511450569455</c:v>
                </c:pt>
                <c:pt idx="272">
                  <c:v>77.249833960593321</c:v>
                </c:pt>
                <c:pt idx="273">
                  <c:v>76.229306570240823</c:v>
                </c:pt>
                <c:pt idx="274">
                  <c:v>75.354832361695316</c:v>
                </c:pt>
                <c:pt idx="275">
                  <c:v>76.254827442009201</c:v>
                </c:pt>
                <c:pt idx="276">
                  <c:v>76.457149533859749</c:v>
                </c:pt>
                <c:pt idx="277">
                  <c:v>76.043895899441623</c:v>
                </c:pt>
                <c:pt idx="278">
                  <c:v>74.983396059331426</c:v>
                </c:pt>
                <c:pt idx="279">
                  <c:v>74.252207709148166</c:v>
                </c:pt>
                <c:pt idx="280">
                  <c:v>74.972019285169608</c:v>
                </c:pt>
                <c:pt idx="281">
                  <c:v>75.171574053575398</c:v>
                </c:pt>
                <c:pt idx="282">
                  <c:v>76.234841217130352</c:v>
                </c:pt>
                <c:pt idx="283">
                  <c:v>76.03221164489706</c:v>
                </c:pt>
                <c:pt idx="284">
                  <c:v>76.332005018079855</c:v>
                </c:pt>
                <c:pt idx="285">
                  <c:v>76.982018547216697</c:v>
                </c:pt>
                <c:pt idx="286">
                  <c:v>76.568457432415812</c:v>
                </c:pt>
                <c:pt idx="287">
                  <c:v>75.895690354955363</c:v>
                </c:pt>
                <c:pt idx="288">
                  <c:v>74.792143261259938</c:v>
                </c:pt>
                <c:pt idx="289">
                  <c:v>74.159656113939931</c:v>
                </c:pt>
                <c:pt idx="290">
                  <c:v>74.804442476570003</c:v>
                </c:pt>
                <c:pt idx="291">
                  <c:v>74.557535729220476</c:v>
                </c:pt>
                <c:pt idx="292">
                  <c:v>75.206011856443567</c:v>
                </c:pt>
                <c:pt idx="293">
                  <c:v>75.533170983691249</c:v>
                </c:pt>
                <c:pt idx="294">
                  <c:v>76.275121147270809</c:v>
                </c:pt>
                <c:pt idx="295">
                  <c:v>76.241913265933647</c:v>
                </c:pt>
                <c:pt idx="296">
                  <c:v>76.946043342434749</c:v>
                </c:pt>
                <c:pt idx="297">
                  <c:v>78.865643371952871</c:v>
                </c:pt>
                <c:pt idx="298">
                  <c:v>78.52495510786413</c:v>
                </c:pt>
                <c:pt idx="299">
                  <c:v>79.192802499200553</c:v>
                </c:pt>
                <c:pt idx="300">
                  <c:v>80.116473568986308</c:v>
                </c:pt>
                <c:pt idx="301">
                  <c:v>80.220709418739077</c:v>
                </c:pt>
                <c:pt idx="302">
                  <c:v>79.782857353700834</c:v>
                </c:pt>
                <c:pt idx="303">
                  <c:v>78.873945342287172</c:v>
                </c:pt>
                <c:pt idx="304">
                  <c:v>79.108245393943875</c:v>
                </c:pt>
                <c:pt idx="305">
                  <c:v>79.778552628342311</c:v>
                </c:pt>
                <c:pt idx="306">
                  <c:v>80.537106732590473</c:v>
                </c:pt>
                <c:pt idx="307">
                  <c:v>80.787088283767503</c:v>
                </c:pt>
                <c:pt idx="308">
                  <c:v>81.133618675128531</c:v>
                </c:pt>
                <c:pt idx="309">
                  <c:v>80.538951614886983</c:v>
                </c:pt>
                <c:pt idx="310">
                  <c:v>80.173049959412594</c:v>
                </c:pt>
                <c:pt idx="311">
                  <c:v>80.317873219688593</c:v>
                </c:pt>
                <c:pt idx="312">
                  <c:v>79.587607310653581</c:v>
                </c:pt>
                <c:pt idx="313">
                  <c:v>79.749341991980913</c:v>
                </c:pt>
                <c:pt idx="314">
                  <c:v>79.524266351806773</c:v>
                </c:pt>
                <c:pt idx="315">
                  <c:v>80.373834649349362</c:v>
                </c:pt>
                <c:pt idx="316">
                  <c:v>80.737583942144497</c:v>
                </c:pt>
                <c:pt idx="317">
                  <c:v>80.564779967038106</c:v>
                </c:pt>
                <c:pt idx="318">
                  <c:v>79.918148722111539</c:v>
                </c:pt>
                <c:pt idx="319">
                  <c:v>79.72751088480554</c:v>
                </c:pt>
                <c:pt idx="320">
                  <c:v>78.29311489926944</c:v>
                </c:pt>
                <c:pt idx="321">
                  <c:v>78.575996851400888</c:v>
                </c:pt>
                <c:pt idx="322">
                  <c:v>79.449856099180877</c:v>
                </c:pt>
                <c:pt idx="323">
                  <c:v>78.515730696381581</c:v>
                </c:pt>
                <c:pt idx="324">
                  <c:v>78.602440164317528</c:v>
                </c:pt>
                <c:pt idx="325">
                  <c:v>79.267827712591938</c:v>
                </c:pt>
                <c:pt idx="326">
                  <c:v>80.696996531621295</c:v>
                </c:pt>
                <c:pt idx="327">
                  <c:v>81.183430497134282</c:v>
                </c:pt>
                <c:pt idx="328">
                  <c:v>80.844894595724796</c:v>
                </c:pt>
                <c:pt idx="329">
                  <c:v>80.875642633999959</c:v>
                </c:pt>
                <c:pt idx="330">
                  <c:v>80.263449191941561</c:v>
                </c:pt>
                <c:pt idx="331">
                  <c:v>80.028226699136596</c:v>
                </c:pt>
                <c:pt idx="332">
                  <c:v>79.97656999483435</c:v>
                </c:pt>
                <c:pt idx="333">
                  <c:v>79.725051041743541</c:v>
                </c:pt>
                <c:pt idx="334">
                  <c:v>79.384670258037545</c:v>
                </c:pt>
                <c:pt idx="335">
                  <c:v>79.402196639854381</c:v>
                </c:pt>
                <c:pt idx="336">
                  <c:v>79.760411285759972</c:v>
                </c:pt>
                <c:pt idx="337">
                  <c:v>79.664477406341476</c:v>
                </c:pt>
                <c:pt idx="338">
                  <c:v>79.963348338376022</c:v>
                </c:pt>
                <c:pt idx="339">
                  <c:v>79.956583769955486</c:v>
                </c:pt>
                <c:pt idx="340">
                  <c:v>78.782623668609943</c:v>
                </c:pt>
                <c:pt idx="341">
                  <c:v>80.163825547930045</c:v>
                </c:pt>
                <c:pt idx="342">
                  <c:v>79.892935330725905</c:v>
                </c:pt>
                <c:pt idx="343">
                  <c:v>79.376368287703258</c:v>
                </c:pt>
                <c:pt idx="344">
                  <c:v>79.939979829286898</c:v>
                </c:pt>
                <c:pt idx="345">
                  <c:v>80.098332226403954</c:v>
                </c:pt>
                <c:pt idx="346">
                  <c:v>80.946978082798324</c:v>
                </c:pt>
                <c:pt idx="347">
                  <c:v>80.861191056010625</c:v>
                </c:pt>
                <c:pt idx="348">
                  <c:v>81.339323051189339</c:v>
                </c:pt>
                <c:pt idx="349">
                  <c:v>80.92729933830222</c:v>
                </c:pt>
                <c:pt idx="350">
                  <c:v>80.515890586180618</c:v>
                </c:pt>
                <c:pt idx="351">
                  <c:v>80.123853098172347</c:v>
                </c:pt>
                <c:pt idx="352">
                  <c:v>79.824982166137801</c:v>
                </c:pt>
                <c:pt idx="353">
                  <c:v>79.975955034068846</c:v>
                </c:pt>
                <c:pt idx="354">
                  <c:v>79.831439254175592</c:v>
                </c:pt>
                <c:pt idx="355">
                  <c:v>79.808378225469227</c:v>
                </c:pt>
                <c:pt idx="356">
                  <c:v>79.836358940299604</c:v>
                </c:pt>
                <c:pt idx="357">
                  <c:v>79.169741470494188</c:v>
                </c:pt>
                <c:pt idx="358">
                  <c:v>79.515964381472472</c:v>
                </c:pt>
                <c:pt idx="359">
                  <c:v>79.18327060733526</c:v>
                </c:pt>
                <c:pt idx="360">
                  <c:v>78.151366442820958</c:v>
                </c:pt>
                <c:pt idx="361">
                  <c:v>77.228310333800707</c:v>
                </c:pt>
                <c:pt idx="362">
                  <c:v>77.495203306029083</c:v>
                </c:pt>
                <c:pt idx="363">
                  <c:v>76.491587336727918</c:v>
                </c:pt>
                <c:pt idx="364">
                  <c:v>76.595823186480715</c:v>
                </c:pt>
                <c:pt idx="365">
                  <c:v>77.217241040021648</c:v>
                </c:pt>
                <c:pt idx="366">
                  <c:v>75.847108454480605</c:v>
                </c:pt>
                <c:pt idx="367">
                  <c:v>74.900991316754002</c:v>
                </c:pt>
                <c:pt idx="368">
                  <c:v>73.199394878606753</c:v>
                </c:pt>
                <c:pt idx="369">
                  <c:v>75.281344550217696</c:v>
                </c:pt>
                <c:pt idx="370">
                  <c:v>75.234915012422221</c:v>
                </c:pt>
                <c:pt idx="371">
                  <c:v>74.558458170368738</c:v>
                </c:pt>
                <c:pt idx="372">
                  <c:v>73.61603079723514</c:v>
                </c:pt>
                <c:pt idx="373">
                  <c:v>73.790679654638041</c:v>
                </c:pt>
                <c:pt idx="374">
                  <c:v>72.547228986790643</c:v>
                </c:pt>
                <c:pt idx="375">
                  <c:v>73.794676899613805</c:v>
                </c:pt>
                <c:pt idx="376">
                  <c:v>73.708582392443361</c:v>
                </c:pt>
                <c:pt idx="377">
                  <c:v>74.141514771357606</c:v>
                </c:pt>
                <c:pt idx="378">
                  <c:v>76.755712985511536</c:v>
                </c:pt>
                <c:pt idx="379">
                  <c:v>76.95957247927582</c:v>
                </c:pt>
                <c:pt idx="380">
                  <c:v>74.580904238309614</c:v>
                </c:pt>
                <c:pt idx="381">
                  <c:v>72.188091899736804</c:v>
                </c:pt>
                <c:pt idx="382">
                  <c:v>73.537930780016239</c:v>
                </c:pt>
                <c:pt idx="383">
                  <c:v>75.898150198017376</c:v>
                </c:pt>
                <c:pt idx="384">
                  <c:v>76.573992079305341</c:v>
                </c:pt>
                <c:pt idx="385">
                  <c:v>76.179494748235072</c:v>
                </c:pt>
                <c:pt idx="386">
                  <c:v>73.477972105379678</c:v>
                </c:pt>
                <c:pt idx="387">
                  <c:v>70.886834919932113</c:v>
                </c:pt>
                <c:pt idx="388">
                  <c:v>71.00183258308121</c:v>
                </c:pt>
                <c:pt idx="389">
                  <c:v>68.457739896194624</c:v>
                </c:pt>
                <c:pt idx="390">
                  <c:v>68.689580104789314</c:v>
                </c:pt>
                <c:pt idx="391">
                  <c:v>70.78444395247584</c:v>
                </c:pt>
                <c:pt idx="392">
                  <c:v>71.829569773448469</c:v>
                </c:pt>
                <c:pt idx="393">
                  <c:v>68.908198656925691</c:v>
                </c:pt>
                <c:pt idx="394">
                  <c:v>65.166469879221708</c:v>
                </c:pt>
                <c:pt idx="395">
                  <c:v>63.127874941578739</c:v>
                </c:pt>
                <c:pt idx="396">
                  <c:v>62.349642092834479</c:v>
                </c:pt>
                <c:pt idx="397">
                  <c:v>65.092674587361316</c:v>
                </c:pt>
                <c:pt idx="398">
                  <c:v>65.060389147172415</c:v>
                </c:pt>
                <c:pt idx="399">
                  <c:v>68.037106732590459</c:v>
                </c:pt>
                <c:pt idx="400">
                  <c:v>68.253572922047582</c:v>
                </c:pt>
                <c:pt idx="401">
                  <c:v>68.215137874203634</c:v>
                </c:pt>
                <c:pt idx="402">
                  <c:v>65.605551865790972</c:v>
                </c:pt>
                <c:pt idx="403">
                  <c:v>65.750375126066956</c:v>
                </c:pt>
                <c:pt idx="404">
                  <c:v>63.81048139128724</c:v>
                </c:pt>
                <c:pt idx="405">
                  <c:v>65.02656630506975</c:v>
                </c:pt>
                <c:pt idx="406">
                  <c:v>64.684648119449975</c:v>
                </c:pt>
                <c:pt idx="407">
                  <c:v>66.957235628366917</c:v>
                </c:pt>
                <c:pt idx="408">
                  <c:v>68.132118170860707</c:v>
                </c:pt>
                <c:pt idx="409">
                  <c:v>67.019039185299988</c:v>
                </c:pt>
                <c:pt idx="410">
                  <c:v>67.721631859887339</c:v>
                </c:pt>
                <c:pt idx="411">
                  <c:v>66.769672594888462</c:v>
                </c:pt>
                <c:pt idx="412">
                  <c:v>68.33628514500775</c:v>
                </c:pt>
                <c:pt idx="413">
                  <c:v>68.888519912429587</c:v>
                </c:pt>
                <c:pt idx="414">
                  <c:v>70.297087545814577</c:v>
                </c:pt>
                <c:pt idx="415">
                  <c:v>69.194155412884669</c:v>
                </c:pt>
                <c:pt idx="416">
                  <c:v>70.159336334341873</c:v>
                </c:pt>
                <c:pt idx="417">
                  <c:v>70.965549897916503</c:v>
                </c:pt>
                <c:pt idx="418">
                  <c:v>70.065247337219887</c:v>
                </c:pt>
                <c:pt idx="419">
                  <c:v>69.531768873145893</c:v>
                </c:pt>
                <c:pt idx="420">
                  <c:v>71.280409809854135</c:v>
                </c:pt>
                <c:pt idx="421">
                  <c:v>68.731397436843537</c:v>
                </c:pt>
                <c:pt idx="422">
                  <c:v>67.811416131650802</c:v>
                </c:pt>
                <c:pt idx="423">
                  <c:v>68.20253117851081</c:v>
                </c:pt>
                <c:pt idx="424">
                  <c:v>67.260103805377227</c:v>
                </c:pt>
                <c:pt idx="425">
                  <c:v>65.373404176813523</c:v>
                </c:pt>
                <c:pt idx="426">
                  <c:v>65.501930976803692</c:v>
                </c:pt>
                <c:pt idx="427">
                  <c:v>65.063156470617187</c:v>
                </c:pt>
                <c:pt idx="428">
                  <c:v>66.576267434137691</c:v>
                </c:pt>
                <c:pt idx="429">
                  <c:v>65.487171918431613</c:v>
                </c:pt>
                <c:pt idx="430">
                  <c:v>66.64760288293607</c:v>
                </c:pt>
                <c:pt idx="431">
                  <c:v>67.754839741224529</c:v>
                </c:pt>
                <c:pt idx="432">
                  <c:v>65.696873539468186</c:v>
                </c:pt>
                <c:pt idx="433">
                  <c:v>64.596401249600277</c:v>
                </c:pt>
                <c:pt idx="434">
                  <c:v>64.071224755860584</c:v>
                </c:pt>
                <c:pt idx="435">
                  <c:v>63.333886798022291</c:v>
                </c:pt>
                <c:pt idx="436">
                  <c:v>61.596930115858612</c:v>
                </c:pt>
                <c:pt idx="437">
                  <c:v>60.809472855631817</c:v>
                </c:pt>
                <c:pt idx="438">
                  <c:v>61.011179986716854</c:v>
                </c:pt>
                <c:pt idx="439">
                  <c:v>59.045150419403249</c:v>
                </c:pt>
                <c:pt idx="440">
                  <c:v>58.007711607999411</c:v>
                </c:pt>
                <c:pt idx="441">
                  <c:v>58.775182643347357</c:v>
                </c:pt>
                <c:pt idx="442">
                  <c:v>61.266388704400661</c:v>
                </c:pt>
                <c:pt idx="443">
                  <c:v>61.233180823063492</c:v>
                </c:pt>
                <c:pt idx="444">
                  <c:v>59.23056109020245</c:v>
                </c:pt>
                <c:pt idx="445">
                  <c:v>59.877192335129024</c:v>
                </c:pt>
                <c:pt idx="446">
                  <c:v>61.560339950311175</c:v>
                </c:pt>
                <c:pt idx="447">
                  <c:v>60.905406735050306</c:v>
                </c:pt>
                <c:pt idx="448">
                  <c:v>59.367389860526899</c:v>
                </c:pt>
                <c:pt idx="449">
                  <c:v>58.630051902688614</c:v>
                </c:pt>
                <c:pt idx="450">
                  <c:v>57.492681966890515</c:v>
                </c:pt>
                <c:pt idx="451">
                  <c:v>57.503443780286823</c:v>
                </c:pt>
                <c:pt idx="452">
                  <c:v>58.701079871104227</c:v>
                </c:pt>
                <c:pt idx="453">
                  <c:v>61.569256881410972</c:v>
                </c:pt>
                <c:pt idx="454">
                  <c:v>61.050229995326305</c:v>
                </c:pt>
                <c:pt idx="455">
                  <c:v>64.304909846751784</c:v>
                </c:pt>
                <c:pt idx="456">
                  <c:v>63.293914348264579</c:v>
                </c:pt>
                <c:pt idx="457">
                  <c:v>64.714166236194131</c:v>
                </c:pt>
                <c:pt idx="458">
                  <c:v>64.354106707992031</c:v>
                </c:pt>
                <c:pt idx="459">
                  <c:v>64.577952426635179</c:v>
                </c:pt>
                <c:pt idx="460">
                  <c:v>64.195446830492216</c:v>
                </c:pt>
                <c:pt idx="461">
                  <c:v>62.250633409588474</c:v>
                </c:pt>
                <c:pt idx="462">
                  <c:v>63.690564042014124</c:v>
                </c:pt>
                <c:pt idx="463">
                  <c:v>63.567571888913491</c:v>
                </c:pt>
                <c:pt idx="464">
                  <c:v>64.578874867783455</c:v>
                </c:pt>
                <c:pt idx="465">
                  <c:v>62.178375519641854</c:v>
                </c:pt>
                <c:pt idx="466">
                  <c:v>63.620151034364014</c:v>
                </c:pt>
                <c:pt idx="467">
                  <c:v>64.955538336654129</c:v>
                </c:pt>
                <c:pt idx="468">
                  <c:v>64.564115809411376</c:v>
                </c:pt>
                <c:pt idx="469">
                  <c:v>66.658979657097888</c:v>
                </c:pt>
                <c:pt idx="470">
                  <c:v>67.21982387523677</c:v>
                </c:pt>
                <c:pt idx="471">
                  <c:v>66.348424470518779</c:v>
                </c:pt>
                <c:pt idx="472">
                  <c:v>65.811563722234524</c:v>
                </c:pt>
                <c:pt idx="473">
                  <c:v>65.372481735665275</c:v>
                </c:pt>
                <c:pt idx="474">
                  <c:v>64.865139104125177</c:v>
                </c:pt>
                <c:pt idx="475">
                  <c:v>65.708557794012748</c:v>
                </c:pt>
                <c:pt idx="476">
                  <c:v>65.096671832337108</c:v>
                </c:pt>
                <c:pt idx="477">
                  <c:v>66.037869283939685</c:v>
                </c:pt>
                <c:pt idx="478">
                  <c:v>66.577189875285967</c:v>
                </c:pt>
                <c:pt idx="479">
                  <c:v>67.317295156569031</c:v>
                </c:pt>
                <c:pt idx="480">
                  <c:v>67.150948269500404</c:v>
                </c:pt>
                <c:pt idx="481">
                  <c:v>66.564275699210398</c:v>
                </c:pt>
                <c:pt idx="482">
                  <c:v>68.417152485671423</c:v>
                </c:pt>
                <c:pt idx="483">
                  <c:v>68.438983592846796</c:v>
                </c:pt>
                <c:pt idx="484">
                  <c:v>67.51961724841955</c:v>
                </c:pt>
                <c:pt idx="485">
                  <c:v>66.320751236071146</c:v>
                </c:pt>
                <c:pt idx="486">
                  <c:v>67.525766856074583</c:v>
                </c:pt>
                <c:pt idx="487">
                  <c:v>68.341512311514535</c:v>
                </c:pt>
                <c:pt idx="488">
                  <c:v>68.145032346936262</c:v>
                </c:pt>
                <c:pt idx="489">
                  <c:v>68.130273288564197</c:v>
                </c:pt>
                <c:pt idx="490">
                  <c:v>66.848080092490108</c:v>
                </c:pt>
                <c:pt idx="491">
                  <c:v>66.727547782451481</c:v>
                </c:pt>
                <c:pt idx="492">
                  <c:v>66.016345657147085</c:v>
                </c:pt>
                <c:pt idx="493">
                  <c:v>66.186382308808703</c:v>
                </c:pt>
                <c:pt idx="494">
                  <c:v>64.777199714658209</c:v>
                </c:pt>
                <c:pt idx="495">
                  <c:v>65.061004107937919</c:v>
                </c:pt>
                <c:pt idx="496">
                  <c:v>65.704253068654225</c:v>
                </c:pt>
                <c:pt idx="497">
                  <c:v>65.192913192138349</c:v>
                </c:pt>
                <c:pt idx="498">
                  <c:v>64.726772931886956</c:v>
                </c:pt>
                <c:pt idx="499">
                  <c:v>66.357648882001328</c:v>
                </c:pt>
                <c:pt idx="500">
                  <c:v>65.988672422699437</c:v>
                </c:pt>
                <c:pt idx="501">
                  <c:v>64.618847317541139</c:v>
                </c:pt>
                <c:pt idx="502">
                  <c:v>64.344267335743979</c:v>
                </c:pt>
                <c:pt idx="503">
                  <c:v>65.066538754827448</c:v>
                </c:pt>
                <c:pt idx="504">
                  <c:v>65.219049024672231</c:v>
                </c:pt>
                <c:pt idx="505">
                  <c:v>64.018645610410061</c:v>
                </c:pt>
                <c:pt idx="506">
                  <c:v>64.988746217991292</c:v>
                </c:pt>
                <c:pt idx="507">
                  <c:v>66.891127346075322</c:v>
                </c:pt>
                <c:pt idx="508">
                  <c:v>67.495633778564937</c:v>
                </c:pt>
                <c:pt idx="509">
                  <c:v>68.157639042629086</c:v>
                </c:pt>
                <c:pt idx="510">
                  <c:v>67.33420657762035</c:v>
                </c:pt>
                <c:pt idx="511">
                  <c:v>66.138415369099462</c:v>
                </c:pt>
                <c:pt idx="512">
                  <c:v>67.074385654195268</c:v>
                </c:pt>
                <c:pt idx="513">
                  <c:v>67.576501119228595</c:v>
                </c:pt>
                <c:pt idx="514">
                  <c:v>67.641379479989183</c:v>
                </c:pt>
                <c:pt idx="515">
                  <c:v>68.113054387130092</c:v>
                </c:pt>
                <c:pt idx="516">
                  <c:v>67.128502201559542</c:v>
                </c:pt>
                <c:pt idx="517">
                  <c:v>67.034720684820314</c:v>
                </c:pt>
                <c:pt idx="518">
                  <c:v>66.028029911691632</c:v>
                </c:pt>
                <c:pt idx="519">
                  <c:v>65.202137603620898</c:v>
                </c:pt>
                <c:pt idx="520">
                  <c:v>64.572725260128408</c:v>
                </c:pt>
                <c:pt idx="521">
                  <c:v>63.554657712837916</c:v>
                </c:pt>
                <c:pt idx="522">
                  <c:v>63.399072639165624</c:v>
                </c:pt>
                <c:pt idx="523">
                  <c:v>63.14632376454383</c:v>
                </c:pt>
                <c:pt idx="524">
                  <c:v>61.088665043170252</c:v>
                </c:pt>
                <c:pt idx="525">
                  <c:v>61.21780680392591</c:v>
                </c:pt>
                <c:pt idx="526">
                  <c:v>61.65627382972967</c:v>
                </c:pt>
                <c:pt idx="527">
                  <c:v>62.583634664108438</c:v>
                </c:pt>
                <c:pt idx="528">
                  <c:v>62.567030723439849</c:v>
                </c:pt>
                <c:pt idx="529">
                  <c:v>63.639214818094601</c:v>
                </c:pt>
                <c:pt idx="530">
                  <c:v>62.337957838289924</c:v>
                </c:pt>
                <c:pt idx="531">
                  <c:v>63.275158044916736</c:v>
                </c:pt>
                <c:pt idx="532">
                  <c:v>61.906870341672203</c:v>
                </c:pt>
                <c:pt idx="533">
                  <c:v>61.2534745283251</c:v>
                </c:pt>
                <c:pt idx="534">
                  <c:v>60.632056674784153</c:v>
                </c:pt>
                <c:pt idx="535">
                  <c:v>61.733758886183068</c:v>
                </c:pt>
                <c:pt idx="536">
                  <c:v>60.68555826138293</c:v>
                </c:pt>
                <c:pt idx="537">
                  <c:v>60.875581137923405</c:v>
                </c:pt>
                <c:pt idx="538">
                  <c:v>61.601849801982638</c:v>
                </c:pt>
                <c:pt idx="539">
                  <c:v>62.410215728236544</c:v>
                </c:pt>
                <c:pt idx="540">
                  <c:v>62.718618552136377</c:v>
                </c:pt>
                <c:pt idx="541">
                  <c:v>61.594777753179351</c:v>
                </c:pt>
                <c:pt idx="542">
                  <c:v>61.649816741691886</c:v>
                </c:pt>
                <c:pt idx="543">
                  <c:v>62.148549922514945</c:v>
                </c:pt>
                <c:pt idx="544">
                  <c:v>61.168917423068415</c:v>
                </c:pt>
                <c:pt idx="545">
                  <c:v>59.322497724645174</c:v>
                </c:pt>
                <c:pt idx="546">
                  <c:v>59.145389024180261</c:v>
                </c:pt>
                <c:pt idx="547">
                  <c:v>59.33049221459671</c:v>
                </c:pt>
                <c:pt idx="548">
                  <c:v>60.525053501586605</c:v>
                </c:pt>
                <c:pt idx="549">
                  <c:v>61.116338277617892</c:v>
                </c:pt>
                <c:pt idx="550">
                  <c:v>60.058298280569701</c:v>
                </c:pt>
                <c:pt idx="551">
                  <c:v>59.863663198287952</c:v>
                </c:pt>
                <c:pt idx="552">
                  <c:v>59.394448134209043</c:v>
                </c:pt>
                <c:pt idx="553">
                  <c:v>58.493838093129661</c:v>
                </c:pt>
                <c:pt idx="554">
                  <c:v>57.213489779352081</c:v>
                </c:pt>
                <c:pt idx="555">
                  <c:v>57.259611836764819</c:v>
                </c:pt>
                <c:pt idx="556">
                  <c:v>55.260681868496796</c:v>
                </c:pt>
                <c:pt idx="557">
                  <c:v>57.692544215679042</c:v>
                </c:pt>
                <c:pt idx="558">
                  <c:v>59.419046564829166</c:v>
                </c:pt>
                <c:pt idx="559">
                  <c:v>60.901409490074535</c:v>
                </c:pt>
                <c:pt idx="560">
                  <c:v>60.803630728359536</c:v>
                </c:pt>
                <c:pt idx="561">
                  <c:v>61.401065112045856</c:v>
                </c:pt>
                <c:pt idx="562">
                  <c:v>61.265773743635158</c:v>
                </c:pt>
                <c:pt idx="563">
                  <c:v>62.864979214326134</c:v>
                </c:pt>
                <c:pt idx="564">
                  <c:v>60.910326421174332</c:v>
                </c:pt>
                <c:pt idx="565">
                  <c:v>61.744520699579368</c:v>
                </c:pt>
                <c:pt idx="566">
                  <c:v>61.754360071827421</c:v>
                </c:pt>
                <c:pt idx="567">
                  <c:v>60.899872088160777</c:v>
                </c:pt>
                <c:pt idx="568">
                  <c:v>60.844833099648248</c:v>
                </c:pt>
                <c:pt idx="569">
                  <c:v>59.622291097827961</c:v>
                </c:pt>
                <c:pt idx="570">
                  <c:v>60.355016849924979</c:v>
                </c:pt>
                <c:pt idx="571">
                  <c:v>61.728839200059042</c:v>
                </c:pt>
                <c:pt idx="572">
                  <c:v>62.03631958281062</c:v>
                </c:pt>
                <c:pt idx="573">
                  <c:v>62.582404742577431</c:v>
                </c:pt>
                <c:pt idx="574">
                  <c:v>64.242491329053223</c:v>
                </c:pt>
                <c:pt idx="575">
                  <c:v>63.49562147934963</c:v>
                </c:pt>
                <c:pt idx="576">
                  <c:v>63.591555358768112</c:v>
                </c:pt>
                <c:pt idx="577">
                  <c:v>63.138329274592287</c:v>
                </c:pt>
                <c:pt idx="578">
                  <c:v>63.306213563574651</c:v>
                </c:pt>
                <c:pt idx="579">
                  <c:v>64.112734607532047</c:v>
                </c:pt>
                <c:pt idx="580">
                  <c:v>65.215359260079211</c:v>
                </c:pt>
                <c:pt idx="581">
                  <c:v>64.906033995031123</c:v>
                </c:pt>
                <c:pt idx="582">
                  <c:v>65.669815265786042</c:v>
                </c:pt>
                <c:pt idx="583">
                  <c:v>66.273706737510153</c:v>
                </c:pt>
                <c:pt idx="584">
                  <c:v>67.109745898211713</c:v>
                </c:pt>
                <c:pt idx="585">
                  <c:v>66.527070572897458</c:v>
                </c:pt>
                <c:pt idx="586">
                  <c:v>65.746992841856695</c:v>
                </c:pt>
                <c:pt idx="587">
                  <c:v>67.102981329791163</c:v>
                </c:pt>
                <c:pt idx="588">
                  <c:v>66.936634442722564</c:v>
                </c:pt>
                <c:pt idx="589">
                  <c:v>67.663518067547301</c:v>
                </c:pt>
                <c:pt idx="590">
                  <c:v>67.962388999581833</c:v>
                </c:pt>
                <c:pt idx="591">
                  <c:v>68.164403611049622</c:v>
                </c:pt>
                <c:pt idx="592">
                  <c:v>68.953705753572933</c:v>
                </c:pt>
                <c:pt idx="593">
                  <c:v>70.315843849162434</c:v>
                </c:pt>
                <c:pt idx="594">
                  <c:v>69.563439352569304</c:v>
                </c:pt>
                <c:pt idx="595">
                  <c:v>68.526922982313735</c:v>
                </c:pt>
                <c:pt idx="596">
                  <c:v>69.27410031240008</c:v>
                </c:pt>
                <c:pt idx="597">
                  <c:v>69.674439770742637</c:v>
                </c:pt>
                <c:pt idx="598">
                  <c:v>69.701805524807526</c:v>
                </c:pt>
                <c:pt idx="599">
                  <c:v>69.759611836764819</c:v>
                </c:pt>
                <c:pt idx="600">
                  <c:v>70.397018670208851</c:v>
                </c:pt>
                <c:pt idx="601">
                  <c:v>71.130051902688621</c:v>
                </c:pt>
                <c:pt idx="602">
                  <c:v>69.654761026246533</c:v>
                </c:pt>
                <c:pt idx="603">
                  <c:v>69.786055149681459</c:v>
                </c:pt>
                <c:pt idx="604">
                  <c:v>69.447519248271959</c:v>
                </c:pt>
                <c:pt idx="605">
                  <c:v>70.275256438639218</c:v>
                </c:pt>
                <c:pt idx="606">
                  <c:v>70.42253954197723</c:v>
                </c:pt>
                <c:pt idx="607">
                  <c:v>70.551988783115647</c:v>
                </c:pt>
                <c:pt idx="608">
                  <c:v>71.007674710353484</c:v>
                </c:pt>
                <c:pt idx="609">
                  <c:v>71.810813470100612</c:v>
                </c:pt>
                <c:pt idx="610">
                  <c:v>72.521093154256761</c:v>
                </c:pt>
                <c:pt idx="611">
                  <c:v>72.052493050943369</c:v>
                </c:pt>
                <c:pt idx="612">
                  <c:v>73.235370083388688</c:v>
                </c:pt>
                <c:pt idx="613">
                  <c:v>72.725260128403804</c:v>
                </c:pt>
                <c:pt idx="614">
                  <c:v>73.227068113054386</c:v>
                </c:pt>
                <c:pt idx="615">
                  <c:v>73.744865077608054</c:v>
                </c:pt>
                <c:pt idx="616">
                  <c:v>74.591051090940397</c:v>
                </c:pt>
                <c:pt idx="617">
                  <c:v>74.027132068973998</c:v>
                </c:pt>
                <c:pt idx="618">
                  <c:v>73.854020613484863</c:v>
                </c:pt>
                <c:pt idx="619">
                  <c:v>75.356984724374584</c:v>
                </c:pt>
                <c:pt idx="620">
                  <c:v>75.761936388458423</c:v>
                </c:pt>
                <c:pt idx="621">
                  <c:v>75.137136250707215</c:v>
                </c:pt>
                <c:pt idx="622">
                  <c:v>76.630260989348869</c:v>
                </c:pt>
                <c:pt idx="623">
                  <c:v>77.228310333800707</c:v>
                </c:pt>
                <c:pt idx="624">
                  <c:v>76.883624824736188</c:v>
                </c:pt>
                <c:pt idx="625">
                  <c:v>75.67399699899147</c:v>
                </c:pt>
                <c:pt idx="626">
                  <c:v>75.785612377930292</c:v>
                </c:pt>
                <c:pt idx="627">
                  <c:v>74.015755294812195</c:v>
                </c:pt>
                <c:pt idx="628">
                  <c:v>73.557917004895103</c:v>
                </c:pt>
                <c:pt idx="629">
                  <c:v>74.118146262268468</c:v>
                </c:pt>
                <c:pt idx="630">
                  <c:v>73.268885445108609</c:v>
                </c:pt>
                <c:pt idx="631">
                  <c:v>73.265195680515603</c:v>
                </c:pt>
                <c:pt idx="632">
                  <c:v>72.747091235579177</c:v>
                </c:pt>
                <c:pt idx="633">
                  <c:v>72.037426512188532</c:v>
                </c:pt>
                <c:pt idx="634">
                  <c:v>72.973396797284337</c:v>
                </c:pt>
                <c:pt idx="635">
                  <c:v>73.438307136004724</c:v>
                </c:pt>
                <c:pt idx="636">
                  <c:v>73.063181069047801</c:v>
                </c:pt>
                <c:pt idx="637">
                  <c:v>73.852790691953857</c:v>
                </c:pt>
                <c:pt idx="638">
                  <c:v>73.479816987676188</c:v>
                </c:pt>
                <c:pt idx="639">
                  <c:v>73.065333431727069</c:v>
                </c:pt>
                <c:pt idx="640">
                  <c:v>72.514636066218984</c:v>
                </c:pt>
                <c:pt idx="641">
                  <c:v>73.073020441295853</c:v>
                </c:pt>
                <c:pt idx="642">
                  <c:v>74.013295451750182</c:v>
                </c:pt>
                <c:pt idx="643">
                  <c:v>73.135746439377186</c:v>
                </c:pt>
                <c:pt idx="644">
                  <c:v>72.570290015497022</c:v>
                </c:pt>
                <c:pt idx="645">
                  <c:v>71.724104002164665</c:v>
                </c:pt>
                <c:pt idx="646">
                  <c:v>72.036196590657525</c:v>
                </c:pt>
                <c:pt idx="647">
                  <c:v>71.989152092096532</c:v>
                </c:pt>
                <c:pt idx="648">
                  <c:v>72.532777408801323</c:v>
                </c:pt>
                <c:pt idx="649">
                  <c:v>73.044424765699958</c:v>
                </c:pt>
                <c:pt idx="650">
                  <c:v>74.468058937839771</c:v>
                </c:pt>
                <c:pt idx="651">
                  <c:v>74.283570708188819</c:v>
                </c:pt>
                <c:pt idx="652">
                  <c:v>74.870243278478839</c:v>
                </c:pt>
                <c:pt idx="653">
                  <c:v>74.631331021080854</c:v>
                </c:pt>
                <c:pt idx="654">
                  <c:v>74.294640001967863</c:v>
                </c:pt>
                <c:pt idx="655">
                  <c:v>74.224841955083264</c:v>
                </c:pt>
                <c:pt idx="656">
                  <c:v>73.447531547487273</c:v>
                </c:pt>
                <c:pt idx="657">
                  <c:v>73.494268565665521</c:v>
                </c:pt>
                <c:pt idx="658">
                  <c:v>74.014832853663947</c:v>
                </c:pt>
                <c:pt idx="659">
                  <c:v>73.189862986741446</c:v>
                </c:pt>
                <c:pt idx="660">
                  <c:v>73.490578801072502</c:v>
                </c:pt>
                <c:pt idx="661">
                  <c:v>73.711042235505388</c:v>
                </c:pt>
                <c:pt idx="662">
                  <c:v>73.957334022089398</c:v>
                </c:pt>
                <c:pt idx="663">
                  <c:v>74.219614788576507</c:v>
                </c:pt>
                <c:pt idx="664">
                  <c:v>74.497884534966673</c:v>
                </c:pt>
                <c:pt idx="665">
                  <c:v>75.19094531768873</c:v>
                </c:pt>
                <c:pt idx="666">
                  <c:v>75.305635500455082</c:v>
                </c:pt>
                <c:pt idx="667">
                  <c:v>75.402184340639081</c:v>
                </c:pt>
                <c:pt idx="668">
                  <c:v>75.079637419132666</c:v>
                </c:pt>
                <c:pt idx="669">
                  <c:v>75.048581900474758</c:v>
                </c:pt>
                <c:pt idx="670">
                  <c:v>74.730032223944121</c:v>
                </c:pt>
                <c:pt idx="671">
                  <c:v>74.339224657466858</c:v>
                </c:pt>
                <c:pt idx="672">
                  <c:v>74.034819078542796</c:v>
                </c:pt>
                <c:pt idx="673">
                  <c:v>73.204929525496283</c:v>
                </c:pt>
                <c:pt idx="674">
                  <c:v>73.83218950630949</c:v>
                </c:pt>
                <c:pt idx="675">
                  <c:v>74.178104936905015</c:v>
                </c:pt>
                <c:pt idx="676">
                  <c:v>74.084630900548547</c:v>
                </c:pt>
                <c:pt idx="677">
                  <c:v>74.931431874646393</c:v>
                </c:pt>
                <c:pt idx="678">
                  <c:v>74.452992399084948</c:v>
                </c:pt>
                <c:pt idx="679">
                  <c:v>75.473519789437432</c:v>
                </c:pt>
                <c:pt idx="680">
                  <c:v>75.796066710943862</c:v>
                </c:pt>
                <c:pt idx="681">
                  <c:v>76.284345558753344</c:v>
                </c:pt>
                <c:pt idx="682">
                  <c:v>77.110237866824107</c:v>
                </c:pt>
                <c:pt idx="683">
                  <c:v>76.758172828573535</c:v>
                </c:pt>
                <c:pt idx="684">
                  <c:v>76.177957346321307</c:v>
                </c:pt>
                <c:pt idx="685">
                  <c:v>76.272353823826052</c:v>
                </c:pt>
                <c:pt idx="686">
                  <c:v>76.563230265909041</c:v>
                </c:pt>
                <c:pt idx="687">
                  <c:v>76.814749218999822</c:v>
                </c:pt>
                <c:pt idx="688">
                  <c:v>76.884547265884436</c:v>
                </c:pt>
                <c:pt idx="689">
                  <c:v>77.486286374929279</c:v>
                </c:pt>
                <c:pt idx="690">
                  <c:v>78.206405431333479</c:v>
                </c:pt>
                <c:pt idx="691">
                  <c:v>78.09540501316016</c:v>
                </c:pt>
                <c:pt idx="692">
                  <c:v>77.57514820554448</c:v>
                </c:pt>
                <c:pt idx="693">
                  <c:v>77.346075320394561</c:v>
                </c:pt>
                <c:pt idx="694">
                  <c:v>77.283656802695987</c:v>
                </c:pt>
                <c:pt idx="695">
                  <c:v>77.016148869702121</c:v>
                </c:pt>
                <c:pt idx="696">
                  <c:v>76.204400659237947</c:v>
                </c:pt>
                <c:pt idx="697">
                  <c:v>76.222542001820287</c:v>
                </c:pt>
                <c:pt idx="698">
                  <c:v>75.59189973679679</c:v>
                </c:pt>
                <c:pt idx="699">
                  <c:v>77.089636681179741</c:v>
                </c:pt>
                <c:pt idx="700">
                  <c:v>77.347305241925568</c:v>
                </c:pt>
                <c:pt idx="701">
                  <c:v>78.798920128895787</c:v>
                </c:pt>
                <c:pt idx="702">
                  <c:v>78.789080756647735</c:v>
                </c:pt>
                <c:pt idx="703">
                  <c:v>78.840429980567251</c:v>
                </c:pt>
                <c:pt idx="704">
                  <c:v>78.978796152805458</c:v>
                </c:pt>
                <c:pt idx="705">
                  <c:v>79.903389663739461</c:v>
                </c:pt>
                <c:pt idx="706">
                  <c:v>80.004858190047472</c:v>
                </c:pt>
                <c:pt idx="707">
                  <c:v>80.530649644552696</c:v>
                </c:pt>
                <c:pt idx="708">
                  <c:v>80.362765355570318</c:v>
                </c:pt>
                <c:pt idx="709">
                  <c:v>80.756340245492339</c:v>
                </c:pt>
                <c:pt idx="710">
                  <c:v>80.833517821562992</c:v>
                </c:pt>
                <c:pt idx="711">
                  <c:v>80.273596044572358</c:v>
                </c:pt>
                <c:pt idx="712">
                  <c:v>80.522655154601139</c:v>
                </c:pt>
                <c:pt idx="713">
                  <c:v>80.738506383292744</c:v>
                </c:pt>
                <c:pt idx="714">
                  <c:v>80.078346001525105</c:v>
                </c:pt>
                <c:pt idx="715">
                  <c:v>79.455698226453151</c:v>
                </c:pt>
                <c:pt idx="716">
                  <c:v>79.63249944653532</c:v>
                </c:pt>
                <c:pt idx="717">
                  <c:v>79.970727867562061</c:v>
                </c:pt>
                <c:pt idx="718">
                  <c:v>80.218864536442581</c:v>
                </c:pt>
                <c:pt idx="719">
                  <c:v>80.529419723021689</c:v>
                </c:pt>
                <c:pt idx="720">
                  <c:v>81.073967480874728</c:v>
                </c:pt>
                <c:pt idx="721">
                  <c:v>80.648722111529295</c:v>
                </c:pt>
                <c:pt idx="722">
                  <c:v>80.941443435908795</c:v>
                </c:pt>
                <c:pt idx="723">
                  <c:v>80.779708754581463</c:v>
                </c:pt>
                <c:pt idx="724">
                  <c:v>80.216712173763312</c:v>
                </c:pt>
                <c:pt idx="725">
                  <c:v>80.22132437950458</c:v>
                </c:pt>
                <c:pt idx="726">
                  <c:v>81.325486433965523</c:v>
                </c:pt>
                <c:pt idx="727">
                  <c:v>80.858731212948612</c:v>
                </c:pt>
                <c:pt idx="728">
                  <c:v>80.627198484736681</c:v>
                </c:pt>
                <c:pt idx="729">
                  <c:v>81.689850687526146</c:v>
                </c:pt>
                <c:pt idx="730">
                  <c:v>82.404435097040817</c:v>
                </c:pt>
                <c:pt idx="731">
                  <c:v>83.220795513246259</c:v>
                </c:pt>
                <c:pt idx="732">
                  <c:v>81.829139300912601</c:v>
                </c:pt>
                <c:pt idx="733">
                  <c:v>82.515742995596881</c:v>
                </c:pt>
                <c:pt idx="734">
                  <c:v>82.217179543945107</c:v>
                </c:pt>
                <c:pt idx="735">
                  <c:v>82.011782648267044</c:v>
                </c:pt>
                <c:pt idx="736">
                  <c:v>82.339864216662988</c:v>
                </c:pt>
                <c:pt idx="737">
                  <c:v>82.837982436720537</c:v>
                </c:pt>
                <c:pt idx="738">
                  <c:v>83.020010823309477</c:v>
                </c:pt>
                <c:pt idx="739">
                  <c:v>83.615600324699287</c:v>
                </c:pt>
                <c:pt idx="740">
                  <c:v>83.840368484490696</c:v>
                </c:pt>
                <c:pt idx="741">
                  <c:v>84.081125624185177</c:v>
                </c:pt>
                <c:pt idx="742">
                  <c:v>85.234177059503608</c:v>
                </c:pt>
                <c:pt idx="743">
                  <c:v>85.665879516886832</c:v>
                </c:pt>
                <c:pt idx="744">
                  <c:v>86.283915086217505</c:v>
                </c:pt>
                <c:pt idx="745">
                  <c:v>85.84145081543798</c:v>
                </c:pt>
                <c:pt idx="746">
                  <c:v>85.80947285563181</c:v>
                </c:pt>
                <c:pt idx="747">
                  <c:v>85.958293360883587</c:v>
                </c:pt>
                <c:pt idx="748">
                  <c:v>86.474860403906234</c:v>
                </c:pt>
                <c:pt idx="749">
                  <c:v>86.045310309202279</c:v>
                </c:pt>
                <c:pt idx="750">
                  <c:v>85.888187833616215</c:v>
                </c:pt>
                <c:pt idx="751">
                  <c:v>86.594470272796599</c:v>
                </c:pt>
                <c:pt idx="752">
                  <c:v>86.972978623963797</c:v>
                </c:pt>
                <c:pt idx="753">
                  <c:v>86.830307726367067</c:v>
                </c:pt>
                <c:pt idx="754">
                  <c:v>87.249710968440226</c:v>
                </c:pt>
                <c:pt idx="755">
                  <c:v>88.020564287998425</c:v>
                </c:pt>
                <c:pt idx="756">
                  <c:v>88.102354069810346</c:v>
                </c:pt>
                <c:pt idx="757">
                  <c:v>88.226268664059234</c:v>
                </c:pt>
                <c:pt idx="758">
                  <c:v>88.68410695397634</c:v>
                </c:pt>
                <c:pt idx="759">
                  <c:v>89.091210980739433</c:v>
                </c:pt>
                <c:pt idx="760">
                  <c:v>89.588406759648734</c:v>
                </c:pt>
                <c:pt idx="761">
                  <c:v>90.245492337588871</c:v>
                </c:pt>
                <c:pt idx="762">
                  <c:v>90.986212579637424</c:v>
                </c:pt>
                <c:pt idx="763">
                  <c:v>91.767212751826435</c:v>
                </c:pt>
                <c:pt idx="764">
                  <c:v>92.846161414901729</c:v>
                </c:pt>
                <c:pt idx="765">
                  <c:v>93.365803261751907</c:v>
                </c:pt>
                <c:pt idx="766">
                  <c:v>92.525766856074583</c:v>
                </c:pt>
                <c:pt idx="767">
                  <c:v>93.674513566034491</c:v>
                </c:pt>
                <c:pt idx="768">
                  <c:v>94.077927828204565</c:v>
                </c:pt>
                <c:pt idx="769">
                  <c:v>93.637000959338806</c:v>
                </c:pt>
                <c:pt idx="770">
                  <c:v>93.696652153592609</c:v>
                </c:pt>
                <c:pt idx="771">
                  <c:v>93.796890758369628</c:v>
                </c:pt>
                <c:pt idx="772">
                  <c:v>93.22374732492068</c:v>
                </c:pt>
                <c:pt idx="773">
                  <c:v>92.648759009175222</c:v>
                </c:pt>
                <c:pt idx="774">
                  <c:v>92.730241310604384</c:v>
                </c:pt>
                <c:pt idx="775">
                  <c:v>93.696037192827106</c:v>
                </c:pt>
                <c:pt idx="776">
                  <c:v>94.564054313334822</c:v>
                </c:pt>
                <c:pt idx="777">
                  <c:v>95.205458391754618</c:v>
                </c:pt>
                <c:pt idx="778">
                  <c:v>94.855238235800556</c:v>
                </c:pt>
                <c:pt idx="779">
                  <c:v>93.681278134455027</c:v>
                </c:pt>
                <c:pt idx="780">
                  <c:v>94.161255011930251</c:v>
                </c:pt>
                <c:pt idx="781">
                  <c:v>94.484724374584914</c:v>
                </c:pt>
                <c:pt idx="782">
                  <c:v>92.158942759451946</c:v>
                </c:pt>
                <c:pt idx="783">
                  <c:v>92.050094703957896</c:v>
                </c:pt>
                <c:pt idx="784">
                  <c:v>92.350195557523435</c:v>
                </c:pt>
                <c:pt idx="785">
                  <c:v>93.00082404742578</c:v>
                </c:pt>
                <c:pt idx="786">
                  <c:v>92.467345583351786</c:v>
                </c:pt>
                <c:pt idx="787">
                  <c:v>92.935945686665193</c:v>
                </c:pt>
                <c:pt idx="788">
                  <c:v>94.253806607138472</c:v>
                </c:pt>
                <c:pt idx="789">
                  <c:v>95.181782402282735</c:v>
                </c:pt>
                <c:pt idx="790">
                  <c:v>95.355508818537388</c:v>
                </c:pt>
                <c:pt idx="791">
                  <c:v>95.40993284628442</c:v>
                </c:pt>
                <c:pt idx="792">
                  <c:v>96.395099992620473</c:v>
                </c:pt>
                <c:pt idx="793">
                  <c:v>95.92895973236908</c:v>
                </c:pt>
                <c:pt idx="794">
                  <c:v>96.16264482326028</c:v>
                </c:pt>
                <c:pt idx="795">
                  <c:v>97.314158856664946</c:v>
                </c:pt>
                <c:pt idx="796">
                  <c:v>97.372272649004998</c:v>
                </c:pt>
                <c:pt idx="797">
                  <c:v>97.511253782008708</c:v>
                </c:pt>
                <c:pt idx="798">
                  <c:v>96.143273559146934</c:v>
                </c:pt>
                <c:pt idx="799">
                  <c:v>96.163259784025783</c:v>
                </c:pt>
                <c:pt idx="800">
                  <c:v>96.036577866332138</c:v>
                </c:pt>
                <c:pt idx="801">
                  <c:v>95.570437606080745</c:v>
                </c:pt>
                <c:pt idx="802">
                  <c:v>94.772833493223132</c:v>
                </c:pt>
                <c:pt idx="803">
                  <c:v>94.746082699923747</c:v>
                </c:pt>
                <c:pt idx="804">
                  <c:v>95.911433350552244</c:v>
                </c:pt>
                <c:pt idx="805">
                  <c:v>95.338289917103296</c:v>
                </c:pt>
                <c:pt idx="806">
                  <c:v>93.810112414827941</c:v>
                </c:pt>
                <c:pt idx="807">
                  <c:v>94.698115760214506</c:v>
                </c:pt>
                <c:pt idx="808">
                  <c:v>96.138968833788411</c:v>
                </c:pt>
                <c:pt idx="809">
                  <c:v>96.010749514181001</c:v>
                </c:pt>
                <c:pt idx="810">
                  <c:v>95.424691904656484</c:v>
                </c:pt>
                <c:pt idx="811">
                  <c:v>93.866381324871483</c:v>
                </c:pt>
                <c:pt idx="812">
                  <c:v>91.555051287727849</c:v>
                </c:pt>
                <c:pt idx="813">
                  <c:v>91.369948097311394</c:v>
                </c:pt>
                <c:pt idx="814">
                  <c:v>89.91618084766192</c:v>
                </c:pt>
                <c:pt idx="815">
                  <c:v>91.219897670528624</c:v>
                </c:pt>
                <c:pt idx="816">
                  <c:v>91.588874129830529</c:v>
                </c:pt>
                <c:pt idx="817">
                  <c:v>91.472339064767681</c:v>
                </c:pt>
                <c:pt idx="818">
                  <c:v>91.619622168105678</c:v>
                </c:pt>
                <c:pt idx="819">
                  <c:v>90.137566723243069</c:v>
                </c:pt>
                <c:pt idx="820">
                  <c:v>89.896194622783071</c:v>
                </c:pt>
                <c:pt idx="821">
                  <c:v>89.107507441025263</c:v>
                </c:pt>
                <c:pt idx="822">
                  <c:v>89.971527316557214</c:v>
                </c:pt>
                <c:pt idx="823">
                  <c:v>89.584102034290211</c:v>
                </c:pt>
                <c:pt idx="824">
                  <c:v>90.974835805475621</c:v>
                </c:pt>
                <c:pt idx="825">
                  <c:v>91.190072073401723</c:v>
                </c:pt>
                <c:pt idx="826">
                  <c:v>91.793348584360331</c:v>
                </c:pt>
                <c:pt idx="827">
                  <c:v>93.449130445477579</c:v>
                </c:pt>
                <c:pt idx="828">
                  <c:v>93.388556810075528</c:v>
                </c:pt>
                <c:pt idx="829">
                  <c:v>92.960236636902579</c:v>
                </c:pt>
                <c:pt idx="830">
                  <c:v>92.863995277101324</c:v>
                </c:pt>
                <c:pt idx="831">
                  <c:v>93.579502127764258</c:v>
                </c:pt>
                <c:pt idx="832">
                  <c:v>93.509396600496899</c:v>
                </c:pt>
                <c:pt idx="833">
                  <c:v>92.836937003419195</c:v>
                </c:pt>
                <c:pt idx="834">
                  <c:v>91.575652473372202</c:v>
                </c:pt>
                <c:pt idx="835">
                  <c:v>91.620237128871182</c:v>
                </c:pt>
                <c:pt idx="836">
                  <c:v>92.941787813937481</c:v>
                </c:pt>
                <c:pt idx="837">
                  <c:v>93.140727621577753</c:v>
                </c:pt>
                <c:pt idx="838">
                  <c:v>92.893820874228226</c:v>
                </c:pt>
                <c:pt idx="839">
                  <c:v>91.689727695373037</c:v>
                </c:pt>
                <c:pt idx="840">
                  <c:v>92.170319533613764</c:v>
                </c:pt>
                <c:pt idx="841">
                  <c:v>92.273940422601044</c:v>
                </c:pt>
                <c:pt idx="842">
                  <c:v>92.843086611074213</c:v>
                </c:pt>
                <c:pt idx="843">
                  <c:v>93.187772120138746</c:v>
                </c:pt>
                <c:pt idx="844">
                  <c:v>91.467419378643655</c:v>
                </c:pt>
                <c:pt idx="845">
                  <c:v>91.498167416918804</c:v>
                </c:pt>
                <c:pt idx="846">
                  <c:v>91.032027156667411</c:v>
                </c:pt>
                <c:pt idx="847">
                  <c:v>91.350884313580806</c:v>
                </c:pt>
                <c:pt idx="848">
                  <c:v>92.725629104863117</c:v>
                </c:pt>
                <c:pt idx="849">
                  <c:v>93.49832730671784</c:v>
                </c:pt>
                <c:pt idx="850">
                  <c:v>91.912343492485192</c:v>
                </c:pt>
                <c:pt idx="851">
                  <c:v>90.709172754778251</c:v>
                </c:pt>
                <c:pt idx="852">
                  <c:v>87.922785526283434</c:v>
                </c:pt>
                <c:pt idx="853">
                  <c:v>88.513762821931962</c:v>
                </c:pt>
                <c:pt idx="854">
                  <c:v>88.313900573143442</c:v>
                </c:pt>
                <c:pt idx="855">
                  <c:v>88.806484146311476</c:v>
                </c:pt>
                <c:pt idx="856">
                  <c:v>88.415984060216971</c:v>
                </c:pt>
                <c:pt idx="857">
                  <c:v>88.180761567412006</c:v>
                </c:pt>
                <c:pt idx="858">
                  <c:v>88.57679630039604</c:v>
                </c:pt>
                <c:pt idx="859">
                  <c:v>90.603092022728958</c:v>
                </c:pt>
                <c:pt idx="860">
                  <c:v>89.246796054411732</c:v>
                </c:pt>
                <c:pt idx="861">
                  <c:v>89.81993948786068</c:v>
                </c:pt>
                <c:pt idx="862">
                  <c:v>89.99458834526358</c:v>
                </c:pt>
                <c:pt idx="863">
                  <c:v>90.563734533736749</c:v>
                </c:pt>
                <c:pt idx="864">
                  <c:v>91.283238629375447</c:v>
                </c:pt>
                <c:pt idx="865">
                  <c:v>93.053403192876303</c:v>
                </c:pt>
                <c:pt idx="866">
                  <c:v>92.342508547954651</c:v>
                </c:pt>
                <c:pt idx="867">
                  <c:v>92.510392836937015</c:v>
                </c:pt>
                <c:pt idx="868">
                  <c:v>91.96676752023221</c:v>
                </c:pt>
                <c:pt idx="869">
                  <c:v>92.766216515386319</c:v>
                </c:pt>
                <c:pt idx="870">
                  <c:v>92.900277962266017</c:v>
                </c:pt>
                <c:pt idx="871">
                  <c:v>93.533380070351512</c:v>
                </c:pt>
                <c:pt idx="872">
                  <c:v>94.716564583179604</c:v>
                </c:pt>
                <c:pt idx="873">
                  <c:v>94.632007477922912</c:v>
                </c:pt>
                <c:pt idx="874">
                  <c:v>93.345202076107554</c:v>
                </c:pt>
                <c:pt idx="875">
                  <c:v>93.487565493321526</c:v>
                </c:pt>
                <c:pt idx="876">
                  <c:v>92.766216515386319</c:v>
                </c:pt>
                <c:pt idx="877">
                  <c:v>92.021191547979242</c:v>
                </c:pt>
                <c:pt idx="878">
                  <c:v>92.668130273288568</c:v>
                </c:pt>
                <c:pt idx="879">
                  <c:v>93.078616584261937</c:v>
                </c:pt>
                <c:pt idx="880">
                  <c:v>93.415615083757658</c:v>
                </c:pt>
                <c:pt idx="881">
                  <c:v>94.230130617666603</c:v>
                </c:pt>
                <c:pt idx="882">
                  <c:v>93.916808107642737</c:v>
                </c:pt>
                <c:pt idx="883">
                  <c:v>92.923953951737886</c:v>
                </c:pt>
                <c:pt idx="884">
                  <c:v>93.237276461761752</c:v>
                </c:pt>
                <c:pt idx="885">
                  <c:v>94.301773546847713</c:v>
                </c:pt>
                <c:pt idx="886">
                  <c:v>93.983838831082579</c:v>
                </c:pt>
                <c:pt idx="887">
                  <c:v>95.004058741052333</c:v>
                </c:pt>
                <c:pt idx="888">
                  <c:v>94.009667183233717</c:v>
                </c:pt>
                <c:pt idx="889">
                  <c:v>93.748001377512125</c:v>
                </c:pt>
                <c:pt idx="890">
                  <c:v>93.420227289498939</c:v>
                </c:pt>
                <c:pt idx="891">
                  <c:v>93.899589206208645</c:v>
                </c:pt>
                <c:pt idx="892">
                  <c:v>93.637000959338806</c:v>
                </c:pt>
                <c:pt idx="893">
                  <c:v>93.184082355545726</c:v>
                </c:pt>
                <c:pt idx="894">
                  <c:v>93.731397436843537</c:v>
                </c:pt>
                <c:pt idx="895">
                  <c:v>94.296853860723687</c:v>
                </c:pt>
                <c:pt idx="896">
                  <c:v>94.150185718151192</c:v>
                </c:pt>
                <c:pt idx="897">
                  <c:v>93.8802179420953</c:v>
                </c:pt>
                <c:pt idx="898">
                  <c:v>93.380562320123985</c:v>
                </c:pt>
                <c:pt idx="899">
                  <c:v>93.72494034880576</c:v>
                </c:pt>
                <c:pt idx="900">
                  <c:v>92.602329471379733</c:v>
                </c:pt>
                <c:pt idx="901">
                  <c:v>93.365188300986404</c:v>
                </c:pt>
                <c:pt idx="902">
                  <c:v>92.72808894792513</c:v>
                </c:pt>
                <c:pt idx="903">
                  <c:v>92.588185373773157</c:v>
                </c:pt>
                <c:pt idx="904">
                  <c:v>92.350810518288938</c:v>
                </c:pt>
                <c:pt idx="905">
                  <c:v>91.281086266696192</c:v>
                </c:pt>
                <c:pt idx="906">
                  <c:v>90.318365188300987</c:v>
                </c:pt>
                <c:pt idx="907">
                  <c:v>89.76797530317566</c:v>
                </c:pt>
                <c:pt idx="908">
                  <c:v>89.909416279241384</c:v>
                </c:pt>
                <c:pt idx="909">
                  <c:v>89.993973384498076</c:v>
                </c:pt>
                <c:pt idx="910">
                  <c:v>91.277396502103173</c:v>
                </c:pt>
                <c:pt idx="911">
                  <c:v>91.167933485843605</c:v>
                </c:pt>
                <c:pt idx="912">
                  <c:v>91.052628342311763</c:v>
                </c:pt>
                <c:pt idx="913">
                  <c:v>91.551054042752085</c:v>
                </c:pt>
                <c:pt idx="914">
                  <c:v>90.817713329889557</c:v>
                </c:pt>
                <c:pt idx="915">
                  <c:v>90.892431062898197</c:v>
                </c:pt>
                <c:pt idx="916">
                  <c:v>90.394927803606137</c:v>
                </c:pt>
                <c:pt idx="917">
                  <c:v>89.62007723907216</c:v>
                </c:pt>
                <c:pt idx="918">
                  <c:v>90.588947925122383</c:v>
                </c:pt>
                <c:pt idx="919">
                  <c:v>89.248333456325497</c:v>
                </c:pt>
                <c:pt idx="920">
                  <c:v>89.251408260153013</c:v>
                </c:pt>
                <c:pt idx="921">
                  <c:v>89.823321772070955</c:v>
                </c:pt>
                <c:pt idx="922">
                  <c:v>90.621233365311298</c:v>
                </c:pt>
                <c:pt idx="923">
                  <c:v>90.633532580621363</c:v>
                </c:pt>
                <c:pt idx="924">
                  <c:v>90.459498683983966</c:v>
                </c:pt>
                <c:pt idx="925">
                  <c:v>91.127653555703148</c:v>
                </c:pt>
                <c:pt idx="926">
                  <c:v>90.672890069613558</c:v>
                </c:pt>
                <c:pt idx="927">
                  <c:v>91.00373896145426</c:v>
                </c:pt>
                <c:pt idx="928">
                  <c:v>90.26547856246772</c:v>
                </c:pt>
                <c:pt idx="929">
                  <c:v>90.377401421789301</c:v>
                </c:pt>
                <c:pt idx="930">
                  <c:v>91.075381890635384</c:v>
                </c:pt>
                <c:pt idx="931">
                  <c:v>91.373330381521669</c:v>
                </c:pt>
                <c:pt idx="932">
                  <c:v>91.278318943251421</c:v>
                </c:pt>
                <c:pt idx="933">
                  <c:v>91.222972474356141</c:v>
                </c:pt>
                <c:pt idx="934">
                  <c:v>91.975991931714759</c:v>
                </c:pt>
                <c:pt idx="935">
                  <c:v>92.205064816864692</c:v>
                </c:pt>
                <c:pt idx="936">
                  <c:v>92.15771283792094</c:v>
                </c:pt>
                <c:pt idx="937">
                  <c:v>92.646914126878713</c:v>
                </c:pt>
                <c:pt idx="938">
                  <c:v>92.596487344107459</c:v>
                </c:pt>
                <c:pt idx="939">
                  <c:v>92.936560647430696</c:v>
                </c:pt>
                <c:pt idx="940">
                  <c:v>92.680122008215875</c:v>
                </c:pt>
                <c:pt idx="941">
                  <c:v>93.982301429168828</c:v>
                </c:pt>
                <c:pt idx="942">
                  <c:v>94.389405455931922</c:v>
                </c:pt>
                <c:pt idx="943">
                  <c:v>94.350047966939712</c:v>
                </c:pt>
                <c:pt idx="944">
                  <c:v>93.177932747890694</c:v>
                </c:pt>
                <c:pt idx="945">
                  <c:v>93.505091875138376</c:v>
                </c:pt>
                <c:pt idx="946">
                  <c:v>94.232590460728616</c:v>
                </c:pt>
                <c:pt idx="947">
                  <c:v>93.788588788035327</c:v>
                </c:pt>
                <c:pt idx="948">
                  <c:v>95.069244582195665</c:v>
                </c:pt>
                <c:pt idx="949">
                  <c:v>94.402627112390235</c:v>
                </c:pt>
                <c:pt idx="950">
                  <c:v>94.135734140161858</c:v>
                </c:pt>
                <c:pt idx="951">
                  <c:v>94.190158167908891</c:v>
                </c:pt>
                <c:pt idx="952">
                  <c:v>93.811034855976189</c:v>
                </c:pt>
                <c:pt idx="953">
                  <c:v>94.366651907608301</c:v>
                </c:pt>
                <c:pt idx="954">
                  <c:v>94.731016161168924</c:v>
                </c:pt>
                <c:pt idx="955">
                  <c:v>94.881374068334452</c:v>
                </c:pt>
                <c:pt idx="956">
                  <c:v>96.346825572528473</c:v>
                </c:pt>
                <c:pt idx="957">
                  <c:v>96.2444346050722</c:v>
                </c:pt>
                <c:pt idx="958">
                  <c:v>96.697660689248039</c:v>
                </c:pt>
                <c:pt idx="959">
                  <c:v>96.591272476815988</c:v>
                </c:pt>
                <c:pt idx="960">
                  <c:v>96.421850785919858</c:v>
                </c:pt>
                <c:pt idx="961">
                  <c:v>97.003603670085852</c:v>
                </c:pt>
                <c:pt idx="962">
                  <c:v>96.673984699776156</c:v>
                </c:pt>
                <c:pt idx="963">
                  <c:v>95.327528103706996</c:v>
                </c:pt>
                <c:pt idx="964">
                  <c:v>95.299239908493846</c:v>
                </c:pt>
                <c:pt idx="965">
                  <c:v>95.598110840528378</c:v>
                </c:pt>
                <c:pt idx="966">
                  <c:v>96.093461737141183</c:v>
                </c:pt>
                <c:pt idx="967">
                  <c:v>96.09991882517896</c:v>
                </c:pt>
                <c:pt idx="968">
                  <c:v>97.03096942415074</c:v>
                </c:pt>
                <c:pt idx="969">
                  <c:v>96.754237079674326</c:v>
                </c:pt>
                <c:pt idx="970">
                  <c:v>97.329225395419783</c:v>
                </c:pt>
                <c:pt idx="971">
                  <c:v>97.454677391582422</c:v>
                </c:pt>
                <c:pt idx="972">
                  <c:v>96.944259956214793</c:v>
                </c:pt>
                <c:pt idx="973">
                  <c:v>97.191166703564321</c:v>
                </c:pt>
                <c:pt idx="974">
                  <c:v>98.329766560893418</c:v>
                </c:pt>
                <c:pt idx="975">
                  <c:v>98.690748530243781</c:v>
                </c:pt>
                <c:pt idx="976">
                  <c:v>98.306398051804308</c:v>
                </c:pt>
                <c:pt idx="977">
                  <c:v>99.320160873736256</c:v>
                </c:pt>
                <c:pt idx="978">
                  <c:v>99.875777925368368</c:v>
                </c:pt>
                <c:pt idx="979">
                  <c:v>101.04297345829337</c:v>
                </c:pt>
                <c:pt idx="980">
                  <c:v>101.40180306496447</c:v>
                </c:pt>
                <c:pt idx="981">
                  <c:v>102.19448749169804</c:v>
                </c:pt>
                <c:pt idx="982">
                  <c:v>102.40572651464838</c:v>
                </c:pt>
                <c:pt idx="983">
                  <c:v>102.05919612328734</c:v>
                </c:pt>
                <c:pt idx="984">
                  <c:v>102.33193122278799</c:v>
                </c:pt>
                <c:pt idx="985">
                  <c:v>103.11231643421151</c:v>
                </c:pt>
                <c:pt idx="986">
                  <c:v>103.77001697291713</c:v>
                </c:pt>
                <c:pt idx="987">
                  <c:v>103.71405554325635</c:v>
                </c:pt>
                <c:pt idx="988">
                  <c:v>103.33093498634788</c:v>
                </c:pt>
                <c:pt idx="989">
                  <c:v>104.6294246427078</c:v>
                </c:pt>
                <c:pt idx="990">
                  <c:v>104.35668954320715</c:v>
                </c:pt>
                <c:pt idx="991">
                  <c:v>104.09932846284407</c:v>
                </c:pt>
                <c:pt idx="992">
                  <c:v>103.43640075763167</c:v>
                </c:pt>
                <c:pt idx="993">
                  <c:v>103.94435834993727</c:v>
                </c:pt>
                <c:pt idx="994">
                  <c:v>104.46830492214598</c:v>
                </c:pt>
                <c:pt idx="995">
                  <c:v>105.84673947802131</c:v>
                </c:pt>
                <c:pt idx="996">
                  <c:v>105.83659262539051</c:v>
                </c:pt>
                <c:pt idx="997">
                  <c:v>105.92975918136423</c:v>
                </c:pt>
                <c:pt idx="998">
                  <c:v>105.51804294885987</c:v>
                </c:pt>
                <c:pt idx="999">
                  <c:v>106.86080978033603</c:v>
                </c:pt>
                <c:pt idx="1000">
                  <c:v>107.01547241286006</c:v>
                </c:pt>
                <c:pt idx="1001">
                  <c:v>107.5753941898507</c:v>
                </c:pt>
                <c:pt idx="1002">
                  <c:v>107.51451307406589</c:v>
                </c:pt>
                <c:pt idx="1003">
                  <c:v>107.92253954197723</c:v>
                </c:pt>
                <c:pt idx="1004">
                  <c:v>106.43187464639756</c:v>
                </c:pt>
                <c:pt idx="1005">
                  <c:v>105.58415123115147</c:v>
                </c:pt>
                <c:pt idx="1006">
                  <c:v>105.71544535458638</c:v>
                </c:pt>
                <c:pt idx="1007">
                  <c:v>107.1187858214646</c:v>
                </c:pt>
                <c:pt idx="1008">
                  <c:v>107.13047007600916</c:v>
                </c:pt>
                <c:pt idx="1009">
                  <c:v>108.17129117162325</c:v>
                </c:pt>
                <c:pt idx="1010">
                  <c:v>107.47115834009792</c:v>
                </c:pt>
                <c:pt idx="1011">
                  <c:v>106.37560573635403</c:v>
                </c:pt>
                <c:pt idx="1012">
                  <c:v>108.10333800703516</c:v>
                </c:pt>
                <c:pt idx="1013">
                  <c:v>107.5372666223895</c:v>
                </c:pt>
                <c:pt idx="1014">
                  <c:v>108.23217228740808</c:v>
                </c:pt>
                <c:pt idx="1015">
                  <c:v>109.19735320886528</c:v>
                </c:pt>
                <c:pt idx="1016">
                  <c:v>109.60568715715938</c:v>
                </c:pt>
                <c:pt idx="1017">
                  <c:v>110.10134553415493</c:v>
                </c:pt>
                <c:pt idx="1018">
                  <c:v>110.05245615329743</c:v>
                </c:pt>
                <c:pt idx="1019">
                  <c:v>109.90302068728016</c:v>
                </c:pt>
                <c:pt idx="1020">
                  <c:v>110.25047351978945</c:v>
                </c:pt>
                <c:pt idx="1021">
                  <c:v>109.98634787100583</c:v>
                </c:pt>
                <c:pt idx="1022">
                  <c:v>109.56602218778443</c:v>
                </c:pt>
                <c:pt idx="1023">
                  <c:v>108.59930386441346</c:v>
                </c:pt>
                <c:pt idx="1024">
                  <c:v>107.74143359653655</c:v>
                </c:pt>
                <c:pt idx="1025">
                  <c:v>107.42595872383343</c:v>
                </c:pt>
                <c:pt idx="1026">
                  <c:v>107.1080240080683</c:v>
                </c:pt>
                <c:pt idx="1027">
                  <c:v>107.48007527119771</c:v>
                </c:pt>
                <c:pt idx="1028">
                  <c:v>107.12493542911963</c:v>
                </c:pt>
                <c:pt idx="1029">
                  <c:v>107.38844611713773</c:v>
                </c:pt>
                <c:pt idx="1030">
                  <c:v>107.13754212481244</c:v>
                </c:pt>
                <c:pt idx="1031">
                  <c:v>106.79623889995818</c:v>
                </c:pt>
                <c:pt idx="1032">
                  <c:v>107.12585787026788</c:v>
                </c:pt>
                <c:pt idx="1033">
                  <c:v>106.73658770570438</c:v>
                </c:pt>
                <c:pt idx="1034">
                  <c:v>107.02069957936685</c:v>
                </c:pt>
                <c:pt idx="1035">
                  <c:v>105.90946547610262</c:v>
                </c:pt>
                <c:pt idx="1036">
                  <c:v>106.18835018325832</c:v>
                </c:pt>
                <c:pt idx="1037">
                  <c:v>106.49859788945466</c:v>
                </c:pt>
                <c:pt idx="1038">
                  <c:v>106.48260890955157</c:v>
                </c:pt>
                <c:pt idx="1039">
                  <c:v>107.4972941726318</c:v>
                </c:pt>
                <c:pt idx="1040">
                  <c:v>107.67563279462772</c:v>
                </c:pt>
                <c:pt idx="1041">
                  <c:v>107.03422871620791</c:v>
                </c:pt>
                <c:pt idx="1042">
                  <c:v>107.94806041374561</c:v>
                </c:pt>
                <c:pt idx="1043">
                  <c:v>108.59100189407917</c:v>
                </c:pt>
                <c:pt idx="1044">
                  <c:v>109.15768823949033</c:v>
                </c:pt>
                <c:pt idx="1045">
                  <c:v>108.43664674193788</c:v>
                </c:pt>
                <c:pt idx="1046">
                  <c:v>109.37384694856469</c:v>
                </c:pt>
                <c:pt idx="1047">
                  <c:v>109.01470986151084</c:v>
                </c:pt>
                <c:pt idx="1048">
                  <c:v>108.66264482326028</c:v>
                </c:pt>
                <c:pt idx="1049">
                  <c:v>108.70538459646275</c:v>
                </c:pt>
                <c:pt idx="1050">
                  <c:v>109.47962020023124</c:v>
                </c:pt>
                <c:pt idx="1051">
                  <c:v>110.33072589968761</c:v>
                </c:pt>
                <c:pt idx="1052">
                  <c:v>111.25162964602859</c:v>
                </c:pt>
                <c:pt idx="1053">
                  <c:v>111.73314392541756</c:v>
                </c:pt>
                <c:pt idx="1054">
                  <c:v>111.26454382210416</c:v>
                </c:pt>
                <c:pt idx="1055">
                  <c:v>112.0523085627137</c:v>
                </c:pt>
                <c:pt idx="1056">
                  <c:v>112.20082158758272</c:v>
                </c:pt>
                <c:pt idx="1057">
                  <c:v>112.13071606031536</c:v>
                </c:pt>
                <c:pt idx="1058">
                  <c:v>112.63313900573144</c:v>
                </c:pt>
                <c:pt idx="1059">
                  <c:v>111.81278134455023</c:v>
                </c:pt>
                <c:pt idx="1060">
                  <c:v>111.86167072540772</c:v>
                </c:pt>
                <c:pt idx="1061">
                  <c:v>113.02210168991219</c:v>
                </c:pt>
                <c:pt idx="1062">
                  <c:v>113.34803089562887</c:v>
                </c:pt>
                <c:pt idx="1063">
                  <c:v>113.43443288318205</c:v>
                </c:pt>
                <c:pt idx="1064">
                  <c:v>112.82685164686494</c:v>
                </c:pt>
                <c:pt idx="1065">
                  <c:v>112.95353356455858</c:v>
                </c:pt>
                <c:pt idx="1066">
                  <c:v>114.74122450987628</c:v>
                </c:pt>
                <c:pt idx="1067">
                  <c:v>114.18437753671317</c:v>
                </c:pt>
                <c:pt idx="1068">
                  <c:v>114.87866824096623</c:v>
                </c:pt>
                <c:pt idx="1069">
                  <c:v>114.37655277593291</c:v>
                </c:pt>
                <c:pt idx="1070">
                  <c:v>113.84153690994515</c:v>
                </c:pt>
                <c:pt idx="1071">
                  <c:v>114.51399650702285</c:v>
                </c:pt>
                <c:pt idx="1072">
                  <c:v>113.60170221139892</c:v>
                </c:pt>
                <c:pt idx="1073">
                  <c:v>114.04908616830247</c:v>
                </c:pt>
                <c:pt idx="1074">
                  <c:v>113.61430890709174</c:v>
                </c:pt>
                <c:pt idx="1075">
                  <c:v>113.2093572430079</c:v>
                </c:pt>
                <c:pt idx="1076">
                  <c:v>112.67557129855116</c:v>
                </c:pt>
                <c:pt idx="1077">
                  <c:v>111.53973876466682</c:v>
                </c:pt>
                <c:pt idx="1078">
                  <c:v>111.95668216367797</c:v>
                </c:pt>
                <c:pt idx="1079">
                  <c:v>109.97650849875778</c:v>
                </c:pt>
                <c:pt idx="1080">
                  <c:v>110.23632942218288</c:v>
                </c:pt>
                <c:pt idx="1081">
                  <c:v>110.10288293606868</c:v>
                </c:pt>
                <c:pt idx="1082">
                  <c:v>110.20773374658698</c:v>
                </c:pt>
                <c:pt idx="1083">
                  <c:v>110.49369050254595</c:v>
                </c:pt>
                <c:pt idx="1084">
                  <c:v>110.71507637812708</c:v>
                </c:pt>
                <c:pt idx="1085">
                  <c:v>109.09157995719873</c:v>
                </c:pt>
                <c:pt idx="1086">
                  <c:v>110.11333726908224</c:v>
                </c:pt>
                <c:pt idx="1087">
                  <c:v>110.6418960470322</c:v>
                </c:pt>
                <c:pt idx="1088">
                  <c:v>111.46348362974443</c:v>
                </c:pt>
                <c:pt idx="1089">
                  <c:v>111.22272649004994</c:v>
                </c:pt>
                <c:pt idx="1090">
                  <c:v>111.96160184980199</c:v>
                </c:pt>
                <c:pt idx="1091">
                  <c:v>110.93707721447372</c:v>
                </c:pt>
                <c:pt idx="1092">
                  <c:v>111.58032617519002</c:v>
                </c:pt>
                <c:pt idx="1093">
                  <c:v>110.55764642215827</c:v>
                </c:pt>
                <c:pt idx="1094">
                  <c:v>109.91163013799721</c:v>
                </c:pt>
                <c:pt idx="1095">
                  <c:v>108.69308538115268</c:v>
                </c:pt>
                <c:pt idx="1096">
                  <c:v>109.64412220500333</c:v>
                </c:pt>
                <c:pt idx="1097">
                  <c:v>109.37046466435442</c:v>
                </c:pt>
                <c:pt idx="1098">
                  <c:v>109.5712493542912</c:v>
                </c:pt>
                <c:pt idx="1099">
                  <c:v>110.24801367672744</c:v>
                </c:pt>
                <c:pt idx="1100">
                  <c:v>109.89471871694586</c:v>
                </c:pt>
                <c:pt idx="1101">
                  <c:v>109.33233709689323</c:v>
                </c:pt>
                <c:pt idx="1102">
                  <c:v>107.97050648168647</c:v>
                </c:pt>
                <c:pt idx="1103">
                  <c:v>107.50006149607655</c:v>
                </c:pt>
                <c:pt idx="1104">
                  <c:v>107.69315917644455</c:v>
                </c:pt>
                <c:pt idx="1105">
                  <c:v>107.46992841856691</c:v>
                </c:pt>
                <c:pt idx="1106">
                  <c:v>108.3545494797432</c:v>
                </c:pt>
                <c:pt idx="1107">
                  <c:v>109.52973950261973</c:v>
                </c:pt>
                <c:pt idx="1108">
                  <c:v>110.01648094851549</c:v>
                </c:pt>
                <c:pt idx="1109">
                  <c:v>109.73113915332202</c:v>
                </c:pt>
                <c:pt idx="1110">
                  <c:v>109.18720635623448</c:v>
                </c:pt>
                <c:pt idx="1111">
                  <c:v>108.83790864142868</c:v>
                </c:pt>
                <c:pt idx="1112">
                  <c:v>108.14300297641012</c:v>
                </c:pt>
                <c:pt idx="1113">
                  <c:v>107.9652793151797</c:v>
                </c:pt>
                <c:pt idx="1114">
                  <c:v>107.44655990947778</c:v>
                </c:pt>
                <c:pt idx="1115">
                  <c:v>106.79101173345141</c:v>
                </c:pt>
                <c:pt idx="1116">
                  <c:v>107.0120901286498</c:v>
                </c:pt>
                <c:pt idx="1117">
                  <c:v>108.33886798022287</c:v>
                </c:pt>
                <c:pt idx="1118">
                  <c:v>108.71799129215557</c:v>
                </c:pt>
                <c:pt idx="1119">
                  <c:v>108.18420534769882</c:v>
                </c:pt>
                <c:pt idx="1120">
                  <c:v>109.01286497921433</c:v>
                </c:pt>
                <c:pt idx="1121">
                  <c:v>108.98334686247019</c:v>
                </c:pt>
                <c:pt idx="1122">
                  <c:v>109.02147442993137</c:v>
                </c:pt>
                <c:pt idx="1123">
                  <c:v>109.16414532752812</c:v>
                </c:pt>
                <c:pt idx="1124">
                  <c:v>109.27176346149116</c:v>
                </c:pt>
                <c:pt idx="1125">
                  <c:v>109.22287408063366</c:v>
                </c:pt>
                <c:pt idx="1126">
                  <c:v>108.07535729220477</c:v>
                </c:pt>
                <c:pt idx="1127">
                  <c:v>108.83790864142868</c:v>
                </c:pt>
                <c:pt idx="1128">
                  <c:v>109.00917521462131</c:v>
                </c:pt>
                <c:pt idx="1129">
                  <c:v>108.69800506727671</c:v>
                </c:pt>
                <c:pt idx="1130">
                  <c:v>108.42711485007257</c:v>
                </c:pt>
                <c:pt idx="1131">
                  <c:v>109.60322731409737</c:v>
                </c:pt>
                <c:pt idx="1132">
                  <c:v>109.89810100115614</c:v>
                </c:pt>
                <c:pt idx="1133">
                  <c:v>108.70661451799376</c:v>
                </c:pt>
                <c:pt idx="1134">
                  <c:v>108.73398027205864</c:v>
                </c:pt>
                <c:pt idx="1135">
                  <c:v>108.4040538213662</c:v>
                </c:pt>
                <c:pt idx="1136">
                  <c:v>108.6269770988611</c:v>
                </c:pt>
                <c:pt idx="1137">
                  <c:v>108.77733500602662</c:v>
                </c:pt>
                <c:pt idx="1138">
                  <c:v>109.13001500504268</c:v>
                </c:pt>
                <c:pt idx="1139">
                  <c:v>110.60469092071926</c:v>
                </c:pt>
                <c:pt idx="1140">
                  <c:v>109.77603128920376</c:v>
                </c:pt>
                <c:pt idx="1141">
                  <c:v>110.28429636189212</c:v>
                </c:pt>
                <c:pt idx="1142">
                  <c:v>110.41159324035128</c:v>
                </c:pt>
                <c:pt idx="1143">
                  <c:v>110.13086365089907</c:v>
                </c:pt>
                <c:pt idx="1144">
                  <c:v>109.55372297247436</c:v>
                </c:pt>
                <c:pt idx="1145">
                  <c:v>109.16845005288663</c:v>
                </c:pt>
                <c:pt idx="1146">
                  <c:v>109.34924851794456</c:v>
                </c:pt>
                <c:pt idx="1147">
                  <c:v>109.58231864807026</c:v>
                </c:pt>
                <c:pt idx="1148">
                  <c:v>109.56386982510517</c:v>
                </c:pt>
                <c:pt idx="1149">
                  <c:v>109.1825941504932</c:v>
                </c:pt>
                <c:pt idx="1150">
                  <c:v>108.89602243376874</c:v>
                </c:pt>
                <c:pt idx="1151">
                  <c:v>108.67555899933585</c:v>
                </c:pt>
                <c:pt idx="1152">
                  <c:v>109.52850958108873</c:v>
                </c:pt>
                <c:pt idx="1153">
                  <c:v>107.74573832189508</c:v>
                </c:pt>
                <c:pt idx="1154">
                  <c:v>109.05898703662707</c:v>
                </c:pt>
                <c:pt idx="1155">
                  <c:v>110.88173074557844</c:v>
                </c:pt>
                <c:pt idx="1156">
                  <c:v>111.63167539910954</c:v>
                </c:pt>
                <c:pt idx="1157">
                  <c:v>111.29928910535509</c:v>
                </c:pt>
                <c:pt idx="1158">
                  <c:v>111.91763215506852</c:v>
                </c:pt>
                <c:pt idx="1159">
                  <c:v>111.1461638747448</c:v>
                </c:pt>
                <c:pt idx="1160">
                  <c:v>111.02347920202692</c:v>
                </c:pt>
                <c:pt idx="1161">
                  <c:v>110.81900474749712</c:v>
                </c:pt>
                <c:pt idx="1162">
                  <c:v>110.7378299264507</c:v>
                </c:pt>
                <c:pt idx="1163">
                  <c:v>111.83676481440484</c:v>
                </c:pt>
                <c:pt idx="1164">
                  <c:v>111.84260694167713</c:v>
                </c:pt>
                <c:pt idx="1165">
                  <c:v>111.88165695028658</c:v>
                </c:pt>
                <c:pt idx="1166">
                  <c:v>111.56279979337319</c:v>
                </c:pt>
                <c:pt idx="1167">
                  <c:v>112.04984871965169</c:v>
                </c:pt>
                <c:pt idx="1168">
                  <c:v>112.98981624972328</c:v>
                </c:pt>
                <c:pt idx="1169">
                  <c:v>113.55435023245518</c:v>
                </c:pt>
                <c:pt idx="1170">
                  <c:v>114.26432243622858</c:v>
                </c:pt>
                <c:pt idx="1171">
                  <c:v>115.14863601702213</c:v>
                </c:pt>
                <c:pt idx="1172">
                  <c:v>116.11443189924483</c:v>
                </c:pt>
                <c:pt idx="1173">
                  <c:v>115.73100386195361</c:v>
                </c:pt>
                <c:pt idx="1174">
                  <c:v>115.00504267827714</c:v>
                </c:pt>
                <c:pt idx="1175">
                  <c:v>115.96653383514132</c:v>
                </c:pt>
                <c:pt idx="1176">
                  <c:v>116.50400954419109</c:v>
                </c:pt>
                <c:pt idx="1177">
                  <c:v>117.93963545125821</c:v>
                </c:pt>
                <c:pt idx="1178">
                  <c:v>118.13611541583647</c:v>
                </c:pt>
                <c:pt idx="1179">
                  <c:v>117.79511967136497</c:v>
                </c:pt>
                <c:pt idx="1180">
                  <c:v>117.13126952500431</c:v>
                </c:pt>
                <c:pt idx="1181">
                  <c:v>116.49048040735002</c:v>
                </c:pt>
                <c:pt idx="1182">
                  <c:v>116.05570314613928</c:v>
                </c:pt>
                <c:pt idx="1183">
                  <c:v>114.42759451946966</c:v>
                </c:pt>
                <c:pt idx="1184">
                  <c:v>115.23872776916834</c:v>
                </c:pt>
                <c:pt idx="1185">
                  <c:v>116.13472560450644</c:v>
                </c:pt>
                <c:pt idx="1186">
                  <c:v>115.1729269672595</c:v>
                </c:pt>
                <c:pt idx="1187">
                  <c:v>115.08744742085456</c:v>
                </c:pt>
                <c:pt idx="1188">
                  <c:v>114.6280717290237</c:v>
                </c:pt>
                <c:pt idx="1189">
                  <c:v>114.2787740142179</c:v>
                </c:pt>
                <c:pt idx="1190">
                  <c:v>114.02787002189261</c:v>
                </c:pt>
                <c:pt idx="1191">
                  <c:v>113.29237694635083</c:v>
                </c:pt>
                <c:pt idx="1192">
                  <c:v>115.24764470026813</c:v>
                </c:pt>
                <c:pt idx="1193">
                  <c:v>117.65706097950951</c:v>
                </c:pt>
                <c:pt idx="1194">
                  <c:v>118.32675325314246</c:v>
                </c:pt>
                <c:pt idx="1195">
                  <c:v>118.68281553636879</c:v>
                </c:pt>
                <c:pt idx="1196">
                  <c:v>119.32391213440583</c:v>
                </c:pt>
                <c:pt idx="1197">
                  <c:v>119.43429759181365</c:v>
                </c:pt>
                <c:pt idx="1198">
                  <c:v>118.97707426266204</c:v>
                </c:pt>
                <c:pt idx="1199">
                  <c:v>119.51393501094631</c:v>
                </c:pt>
                <c:pt idx="1200">
                  <c:v>118.4134627210784</c:v>
                </c:pt>
                <c:pt idx="1201">
                  <c:v>117.52791921875385</c:v>
                </c:pt>
                <c:pt idx="1202">
                  <c:v>118.21575283496914</c:v>
                </c:pt>
                <c:pt idx="1203">
                  <c:v>117.46088849531401</c:v>
                </c:pt>
                <c:pt idx="1204">
                  <c:v>118.141650062726</c:v>
                </c:pt>
                <c:pt idx="1205">
                  <c:v>117.78312793643767</c:v>
                </c:pt>
                <c:pt idx="1206">
                  <c:v>118.13550045507097</c:v>
                </c:pt>
                <c:pt idx="1207">
                  <c:v>117.47165030871031</c:v>
                </c:pt>
                <c:pt idx="1208">
                  <c:v>116.30230241310605</c:v>
                </c:pt>
                <c:pt idx="1209">
                  <c:v>116.0975204781935</c:v>
                </c:pt>
                <c:pt idx="1210">
                  <c:v>117.12112267237352</c:v>
                </c:pt>
                <c:pt idx="1211">
                  <c:v>116.49017292696726</c:v>
                </c:pt>
                <c:pt idx="1212">
                  <c:v>117.5257668560746</c:v>
                </c:pt>
                <c:pt idx="1213">
                  <c:v>117.18077386662732</c:v>
                </c:pt>
                <c:pt idx="1214">
                  <c:v>118.04387130101101</c:v>
                </c:pt>
                <c:pt idx="1215">
                  <c:v>117.52238457186432</c:v>
                </c:pt>
                <c:pt idx="1216">
                  <c:v>118.07861658426194</c:v>
                </c:pt>
                <c:pt idx="1217">
                  <c:v>117.01780926376898</c:v>
                </c:pt>
                <c:pt idx="1218">
                  <c:v>117.12757976041129</c:v>
                </c:pt>
                <c:pt idx="1219">
                  <c:v>116.43482645807198</c:v>
                </c:pt>
                <c:pt idx="1220">
                  <c:v>116.06031535188056</c:v>
                </c:pt>
                <c:pt idx="1221">
                  <c:v>115.82847514328587</c:v>
                </c:pt>
                <c:pt idx="1222">
                  <c:v>115.30575849260818</c:v>
                </c:pt>
                <c:pt idx="1223">
                  <c:v>113.22934346788675</c:v>
                </c:pt>
                <c:pt idx="1224">
                  <c:v>114.73845718643152</c:v>
                </c:pt>
                <c:pt idx="1225">
                  <c:v>114.32458859124789</c:v>
                </c:pt>
                <c:pt idx="1226">
                  <c:v>113.12725998081324</c:v>
                </c:pt>
                <c:pt idx="1227">
                  <c:v>111.75036282685166</c:v>
                </c:pt>
                <c:pt idx="1228">
                  <c:v>112.18667748997615</c:v>
                </c:pt>
                <c:pt idx="1229">
                  <c:v>111.98312547659459</c:v>
                </c:pt>
                <c:pt idx="1230">
                  <c:v>112.9655252994859</c:v>
                </c:pt>
                <c:pt idx="1231">
                  <c:v>113.75851720660222</c:v>
                </c:pt>
                <c:pt idx="1232">
                  <c:v>114.00880623816201</c:v>
                </c:pt>
                <c:pt idx="1233">
                  <c:v>113.15370329372986</c:v>
                </c:pt>
                <c:pt idx="1234">
                  <c:v>112.90433670331834</c:v>
                </c:pt>
                <c:pt idx="1235">
                  <c:v>114.32674095392714</c:v>
                </c:pt>
                <c:pt idx="1236">
                  <c:v>114.4832484687477</c:v>
                </c:pt>
                <c:pt idx="1237">
                  <c:v>115.70579047056799</c:v>
                </c:pt>
                <c:pt idx="1238">
                  <c:v>116.85269229823137</c:v>
                </c:pt>
                <c:pt idx="1239">
                  <c:v>114.86913634910094</c:v>
                </c:pt>
                <c:pt idx="1240">
                  <c:v>115.15232578161515</c:v>
                </c:pt>
                <c:pt idx="1241">
                  <c:v>114.86298674144591</c:v>
                </c:pt>
                <c:pt idx="1242">
                  <c:v>114.53552013381547</c:v>
                </c:pt>
                <c:pt idx="1243">
                  <c:v>114.69325757016703</c:v>
                </c:pt>
                <c:pt idx="1244">
                  <c:v>115.46903057584927</c:v>
                </c:pt>
                <c:pt idx="1245">
                  <c:v>115.4555014390082</c:v>
                </c:pt>
                <c:pt idx="1246">
                  <c:v>114.81747964479867</c:v>
                </c:pt>
                <c:pt idx="1247">
                  <c:v>113.83538730229012</c:v>
                </c:pt>
                <c:pt idx="1248">
                  <c:v>114.98105920842251</c:v>
                </c:pt>
                <c:pt idx="1249">
                  <c:v>115.49578136914866</c:v>
                </c:pt>
                <c:pt idx="1250">
                  <c:v>116.16116891742308</c:v>
                </c:pt>
                <c:pt idx="1251">
                  <c:v>116.04832361695324</c:v>
                </c:pt>
                <c:pt idx="1252">
                  <c:v>117.31206799006225</c:v>
                </c:pt>
                <c:pt idx="1253">
                  <c:v>117.00827737190367</c:v>
                </c:pt>
                <c:pt idx="1254">
                  <c:v>116.80257299584288</c:v>
                </c:pt>
                <c:pt idx="1255">
                  <c:v>116.60148082552334</c:v>
                </c:pt>
                <c:pt idx="1256">
                  <c:v>116.5642756992104</c:v>
                </c:pt>
                <c:pt idx="1257">
                  <c:v>116.25464295377955</c:v>
                </c:pt>
                <c:pt idx="1258">
                  <c:v>117.36833690010577</c:v>
                </c:pt>
                <c:pt idx="1259">
                  <c:v>118.05617051632106</c:v>
                </c:pt>
                <c:pt idx="1260">
                  <c:v>118.27817135266771</c:v>
                </c:pt>
                <c:pt idx="1261">
                  <c:v>119.08161759279758</c:v>
                </c:pt>
                <c:pt idx="1262">
                  <c:v>118.44728556318108</c:v>
                </c:pt>
                <c:pt idx="1263">
                  <c:v>119.56466927410032</c:v>
                </c:pt>
                <c:pt idx="1264">
                  <c:v>119.58404053821367</c:v>
                </c:pt>
                <c:pt idx="1265">
                  <c:v>120.76292032568323</c:v>
                </c:pt>
                <c:pt idx="1266">
                  <c:v>120.71956559171525</c:v>
                </c:pt>
                <c:pt idx="1267">
                  <c:v>121.34713305291123</c:v>
                </c:pt>
                <c:pt idx="1268">
                  <c:v>120.25311785108111</c:v>
                </c:pt>
                <c:pt idx="1269">
                  <c:v>121.63862445575973</c:v>
                </c:pt>
                <c:pt idx="1270">
                  <c:v>121.3791110127174</c:v>
                </c:pt>
                <c:pt idx="1271">
                  <c:v>120.73493961085283</c:v>
                </c:pt>
                <c:pt idx="1272">
                  <c:v>120.5916537524906</c:v>
                </c:pt>
                <c:pt idx="1273">
                  <c:v>120.87638058691856</c:v>
                </c:pt>
                <c:pt idx="1274">
                  <c:v>120.94587115342043</c:v>
                </c:pt>
                <c:pt idx="1275">
                  <c:v>121.22444838019335</c:v>
                </c:pt>
                <c:pt idx="1276">
                  <c:v>121.60049688829854</c:v>
                </c:pt>
                <c:pt idx="1277">
                  <c:v>121.56298428160284</c:v>
                </c:pt>
                <c:pt idx="1278">
                  <c:v>120.34474700514107</c:v>
                </c:pt>
                <c:pt idx="1279">
                  <c:v>120.78013922711732</c:v>
                </c:pt>
                <c:pt idx="1280">
                  <c:v>123.42631540107742</c:v>
                </c:pt>
                <c:pt idx="1281">
                  <c:v>125.77331316262023</c:v>
                </c:pt>
                <c:pt idx="1282">
                  <c:v>125.40894890905962</c:v>
                </c:pt>
                <c:pt idx="1283">
                  <c:v>126.82151378742037</c:v>
                </c:pt>
                <c:pt idx="1284">
                  <c:v>126.28742036258087</c:v>
                </c:pt>
                <c:pt idx="1285">
                  <c:v>125.46798514254792</c:v>
                </c:pt>
                <c:pt idx="1286">
                  <c:v>126.46237670036651</c:v>
                </c:pt>
                <c:pt idx="1287">
                  <c:v>126.28004083339484</c:v>
                </c:pt>
                <c:pt idx="1288">
                  <c:v>125.93351044203381</c:v>
                </c:pt>
                <c:pt idx="1289">
                  <c:v>126.63917792044866</c:v>
                </c:pt>
                <c:pt idx="1290">
                  <c:v>125.1232996334834</c:v>
                </c:pt>
                <c:pt idx="1291">
                  <c:v>124.41056010626522</c:v>
                </c:pt>
                <c:pt idx="1292">
                  <c:v>125.23983469854625</c:v>
                </c:pt>
                <c:pt idx="1293">
                  <c:v>124.2291466804418</c:v>
                </c:pt>
                <c:pt idx="1294">
                  <c:v>125.87662657122476</c:v>
                </c:pt>
                <c:pt idx="1295">
                  <c:v>125.51472216072615</c:v>
                </c:pt>
                <c:pt idx="1296">
                  <c:v>126.77600669077316</c:v>
                </c:pt>
                <c:pt idx="1297">
                  <c:v>127.83558408973511</c:v>
                </c:pt>
                <c:pt idx="1298">
                  <c:v>128.1532113251175</c:v>
                </c:pt>
                <c:pt idx="1299">
                  <c:v>127.59144466583032</c:v>
                </c:pt>
                <c:pt idx="1300">
                  <c:v>128.20763535286449</c:v>
                </c:pt>
                <c:pt idx="1301">
                  <c:v>129.09317885518905</c:v>
                </c:pt>
                <c:pt idx="1302">
                  <c:v>127.78423486581559</c:v>
                </c:pt>
                <c:pt idx="1303">
                  <c:v>126.89838388310827</c:v>
                </c:pt>
                <c:pt idx="1304">
                  <c:v>126.80921457211032</c:v>
                </c:pt>
                <c:pt idx="1305">
                  <c:v>126.07741126116154</c:v>
                </c:pt>
                <c:pt idx="1306">
                  <c:v>125.91014193294468</c:v>
                </c:pt>
                <c:pt idx="1307">
                  <c:v>127.38943005436253</c:v>
                </c:pt>
                <c:pt idx="1308">
                  <c:v>126.47436843529384</c:v>
                </c:pt>
                <c:pt idx="1309">
                  <c:v>127.03890241802571</c:v>
                </c:pt>
                <c:pt idx="1310">
                  <c:v>126.46299166113202</c:v>
                </c:pt>
                <c:pt idx="1311">
                  <c:v>126.9045334907633</c:v>
                </c:pt>
                <c:pt idx="1312">
                  <c:v>127.44170171943031</c:v>
                </c:pt>
                <c:pt idx="1313">
                  <c:v>128.16797038348955</c:v>
                </c:pt>
                <c:pt idx="1314">
                  <c:v>128.7601776006691</c:v>
                </c:pt>
                <c:pt idx="1315">
                  <c:v>128.66639608392984</c:v>
                </c:pt>
                <c:pt idx="1316">
                  <c:v>129.17958084274221</c:v>
                </c:pt>
                <c:pt idx="1317">
                  <c:v>129.38651514033407</c:v>
                </c:pt>
                <c:pt idx="1318">
                  <c:v>129.21432612599315</c:v>
                </c:pt>
                <c:pt idx="1319">
                  <c:v>129.43478956042605</c:v>
                </c:pt>
                <c:pt idx="1320">
                  <c:v>128.3143310456793</c:v>
                </c:pt>
                <c:pt idx="1321">
                  <c:v>129.6103608589772</c:v>
                </c:pt>
                <c:pt idx="1322">
                  <c:v>128.98310087816398</c:v>
                </c:pt>
                <c:pt idx="1323">
                  <c:v>129.2979607901016</c:v>
                </c:pt>
                <c:pt idx="1324">
                  <c:v>129.9842570044031</c:v>
                </c:pt>
                <c:pt idx="1325">
                  <c:v>127.99762625144517</c:v>
                </c:pt>
                <c:pt idx="1326">
                  <c:v>127.53056355004553</c:v>
                </c:pt>
                <c:pt idx="1327">
                  <c:v>128.56769488106659</c:v>
                </c:pt>
                <c:pt idx="1328">
                  <c:v>129.12577177576071</c:v>
                </c:pt>
                <c:pt idx="1329">
                  <c:v>130.57984650579294</c:v>
                </c:pt>
                <c:pt idx="1330">
                  <c:v>131.79716134110643</c:v>
                </c:pt>
                <c:pt idx="1331">
                  <c:v>132.25899687599932</c:v>
                </c:pt>
                <c:pt idx="1332">
                  <c:v>133.63681647110914</c:v>
                </c:pt>
                <c:pt idx="1333">
                  <c:v>133.89971219836175</c:v>
                </c:pt>
                <c:pt idx="1334">
                  <c:v>134.20135045384106</c:v>
                </c:pt>
                <c:pt idx="1335">
                  <c:v>133.43295697734487</c:v>
                </c:pt>
                <c:pt idx="1336">
                  <c:v>133.88187833616217</c:v>
                </c:pt>
                <c:pt idx="1337">
                  <c:v>132.60030010085356</c:v>
                </c:pt>
                <c:pt idx="1338">
                  <c:v>133.61836764814404</c:v>
                </c:pt>
                <c:pt idx="1339">
                  <c:v>132.7657245467739</c:v>
                </c:pt>
                <c:pt idx="1340">
                  <c:v>132.58984576784005</c:v>
                </c:pt>
                <c:pt idx="1341">
                  <c:v>132.00501807984651</c:v>
                </c:pt>
                <c:pt idx="1342">
                  <c:v>134.5961552652941</c:v>
                </c:pt>
                <c:pt idx="1343">
                  <c:v>133.29889553046516</c:v>
                </c:pt>
                <c:pt idx="1344">
                  <c:v>134.5134430423339</c:v>
                </c:pt>
                <c:pt idx="1345">
                  <c:v>135.45648537623302</c:v>
                </c:pt>
                <c:pt idx="1346">
                  <c:v>136.05760952451234</c:v>
                </c:pt>
                <c:pt idx="1347">
                  <c:v>135.9678252527489</c:v>
                </c:pt>
                <c:pt idx="1348">
                  <c:v>134.17675202322093</c:v>
                </c:pt>
                <c:pt idx="1349">
                  <c:v>134.7542001820284</c:v>
                </c:pt>
                <c:pt idx="1350">
                  <c:v>133.507059749588</c:v>
                </c:pt>
                <c:pt idx="1351">
                  <c:v>133.07904705679778</c:v>
                </c:pt>
                <c:pt idx="1352">
                  <c:v>133.35762428357069</c:v>
                </c:pt>
                <c:pt idx="1353">
                  <c:v>135.39714166236195</c:v>
                </c:pt>
                <c:pt idx="1354">
                  <c:v>137.54796693970928</c:v>
                </c:pt>
                <c:pt idx="1355">
                  <c:v>137.6715740535754</c:v>
                </c:pt>
                <c:pt idx="1356">
                  <c:v>138.97160111184905</c:v>
                </c:pt>
                <c:pt idx="1357">
                  <c:v>138.61154158364695</c:v>
                </c:pt>
                <c:pt idx="1358">
                  <c:v>138.94177551472217</c:v>
                </c:pt>
                <c:pt idx="1359">
                  <c:v>139.71047647160111</c:v>
                </c:pt>
                <c:pt idx="1360">
                  <c:v>140.05362457875188</c:v>
                </c:pt>
                <c:pt idx="1361">
                  <c:v>140.10774112611617</c:v>
                </c:pt>
                <c:pt idx="1362">
                  <c:v>140.73131134233637</c:v>
                </c:pt>
                <c:pt idx="1363">
                  <c:v>142.14356874031441</c:v>
                </c:pt>
                <c:pt idx="1364">
                  <c:v>140.67411999114458</c:v>
                </c:pt>
                <c:pt idx="1365">
                  <c:v>142.24872703121542</c:v>
                </c:pt>
                <c:pt idx="1366">
                  <c:v>144.2402774702974</c:v>
                </c:pt>
                <c:pt idx="1367">
                  <c:v>144.10006641576265</c:v>
                </c:pt>
                <c:pt idx="1368">
                  <c:v>145.24727572380883</c:v>
                </c:pt>
                <c:pt idx="1369">
                  <c:v>144.97177330086342</c:v>
                </c:pt>
                <c:pt idx="1370">
                  <c:v>144.75038742528227</c:v>
                </c:pt>
                <c:pt idx="1371">
                  <c:v>142.49348141588567</c:v>
                </c:pt>
                <c:pt idx="1372">
                  <c:v>139.96630015005044</c:v>
                </c:pt>
                <c:pt idx="1373">
                  <c:v>140.42598332226405</c:v>
                </c:pt>
                <c:pt idx="1374">
                  <c:v>135.87588861830616</c:v>
                </c:pt>
                <c:pt idx="1375">
                  <c:v>135.64743069392173</c:v>
                </c:pt>
                <c:pt idx="1376">
                  <c:v>134.59769266720781</c:v>
                </c:pt>
                <c:pt idx="1377">
                  <c:v>132.06897399945885</c:v>
                </c:pt>
                <c:pt idx="1378">
                  <c:v>135.77534253314639</c:v>
                </c:pt>
                <c:pt idx="1379">
                  <c:v>132.92499938503926</c:v>
                </c:pt>
                <c:pt idx="1380">
                  <c:v>134.78002853417954</c:v>
                </c:pt>
                <c:pt idx="1381">
                  <c:v>136.71131281824219</c:v>
                </c:pt>
                <c:pt idx="1382">
                  <c:v>137.00587902491822</c:v>
                </c:pt>
                <c:pt idx="1383">
                  <c:v>135.42512237719237</c:v>
                </c:pt>
                <c:pt idx="1384">
                  <c:v>136.23840798957028</c:v>
                </c:pt>
                <c:pt idx="1385">
                  <c:v>136.52190490246724</c:v>
                </c:pt>
                <c:pt idx="1386">
                  <c:v>138.11957297124442</c:v>
                </c:pt>
                <c:pt idx="1387">
                  <c:v>137.3945342287162</c:v>
                </c:pt>
                <c:pt idx="1388">
                  <c:v>133.37515066538757</c:v>
                </c:pt>
                <c:pt idx="1389">
                  <c:v>133.79055666248493</c:v>
                </c:pt>
                <c:pt idx="1390">
                  <c:v>128.79461540353725</c:v>
                </c:pt>
                <c:pt idx="1391">
                  <c:v>131.05674857944064</c:v>
                </c:pt>
                <c:pt idx="1392">
                  <c:v>129.42710255085726</c:v>
                </c:pt>
                <c:pt idx="1393">
                  <c:v>126.3399995080314</c:v>
                </c:pt>
                <c:pt idx="1394">
                  <c:v>127.09086660271076</c:v>
                </c:pt>
                <c:pt idx="1395">
                  <c:v>130.21486729146679</c:v>
                </c:pt>
                <c:pt idx="1396">
                  <c:v>129.50704745037268</c:v>
                </c:pt>
                <c:pt idx="1397">
                  <c:v>129.55101714510616</c:v>
                </c:pt>
                <c:pt idx="1398">
                  <c:v>130.47038348953339</c:v>
                </c:pt>
                <c:pt idx="1399">
                  <c:v>131.20956632966818</c:v>
                </c:pt>
                <c:pt idx="1400">
                  <c:v>131.05582613829239</c:v>
                </c:pt>
                <c:pt idx="1401">
                  <c:v>130.67547290482869</c:v>
                </c:pt>
                <c:pt idx="1402">
                  <c:v>130.61305438713012</c:v>
                </c:pt>
                <c:pt idx="1403">
                  <c:v>130.2173271345288</c:v>
                </c:pt>
                <c:pt idx="1404">
                  <c:v>129.7819349125526</c:v>
                </c:pt>
                <c:pt idx="1405">
                  <c:v>132.20949253437632</c:v>
                </c:pt>
                <c:pt idx="1406">
                  <c:v>136.68179470149806</c:v>
                </c:pt>
                <c:pt idx="1407">
                  <c:v>137.58732442870146</c:v>
                </c:pt>
                <c:pt idx="1408">
                  <c:v>137.81270754925836</c:v>
                </c:pt>
                <c:pt idx="1409">
                  <c:v>135.36823850638331</c:v>
                </c:pt>
                <c:pt idx="1410">
                  <c:v>136.95206995793669</c:v>
                </c:pt>
                <c:pt idx="1411">
                  <c:v>137.47201928516961</c:v>
                </c:pt>
                <c:pt idx="1412">
                  <c:v>137.03877942587263</c:v>
                </c:pt>
                <c:pt idx="1413">
                  <c:v>135.9386146163875</c:v>
                </c:pt>
                <c:pt idx="1414">
                  <c:v>135.60376847957102</c:v>
                </c:pt>
                <c:pt idx="1415">
                  <c:v>133.68878065579418</c:v>
                </c:pt>
                <c:pt idx="1416">
                  <c:v>131.44017661673186</c:v>
                </c:pt>
                <c:pt idx="1417">
                  <c:v>129.6992226895924</c:v>
                </c:pt>
                <c:pt idx="1418">
                  <c:v>129.16359186283916</c:v>
                </c:pt>
                <c:pt idx="1419">
                  <c:v>132.79032297739406</c:v>
                </c:pt>
                <c:pt idx="1420">
                  <c:v>133.92923031510591</c:v>
                </c:pt>
                <c:pt idx="1421">
                  <c:v>133.11655966349349</c:v>
                </c:pt>
                <c:pt idx="1422">
                  <c:v>134.94760534277913</c:v>
                </c:pt>
                <c:pt idx="1423">
                  <c:v>135.07982190736232</c:v>
                </c:pt>
                <c:pt idx="1424">
                  <c:v>135.47831648340838</c:v>
                </c:pt>
                <c:pt idx="1425">
                  <c:v>138.15247337219887</c:v>
                </c:pt>
                <c:pt idx="1426">
                  <c:v>139.33658032617521</c:v>
                </c:pt>
                <c:pt idx="1427">
                  <c:v>138.7655892554055</c:v>
                </c:pt>
                <c:pt idx="1428">
                  <c:v>137.52152362679263</c:v>
                </c:pt>
                <c:pt idx="1429">
                  <c:v>139.71662607925614</c:v>
                </c:pt>
                <c:pt idx="1430">
                  <c:v>138.35510294443216</c:v>
                </c:pt>
                <c:pt idx="1431">
                  <c:v>141.03940668585344</c:v>
                </c:pt>
                <c:pt idx="1432">
                  <c:v>139.11611689174234</c:v>
                </c:pt>
                <c:pt idx="1433">
                  <c:v>138.96791134725606</c:v>
                </c:pt>
                <c:pt idx="1434">
                  <c:v>140.50992546675522</c:v>
                </c:pt>
                <c:pt idx="1435">
                  <c:v>138.1924458219566</c:v>
                </c:pt>
                <c:pt idx="1436">
                  <c:v>138.28038521142352</c:v>
                </c:pt>
                <c:pt idx="1437">
                  <c:v>139.25940275010456</c:v>
                </c:pt>
                <c:pt idx="1438">
                  <c:v>140.93148107150765</c:v>
                </c:pt>
                <c:pt idx="1439">
                  <c:v>142.29177428480065</c:v>
                </c:pt>
                <c:pt idx="1440">
                  <c:v>142.56081961970827</c:v>
                </c:pt>
                <c:pt idx="1441">
                  <c:v>141.76905763412296</c:v>
                </c:pt>
                <c:pt idx="1442">
                  <c:v>142.78005313261013</c:v>
                </c:pt>
                <c:pt idx="1443">
                  <c:v>142.03287580252382</c:v>
                </c:pt>
                <c:pt idx="1444">
                  <c:v>141.2174378274666</c:v>
                </c:pt>
                <c:pt idx="1445">
                  <c:v>141.60025090399233</c:v>
                </c:pt>
                <c:pt idx="1446">
                  <c:v>141.197144122205</c:v>
                </c:pt>
                <c:pt idx="1447">
                  <c:v>142.27394042260104</c:v>
                </c:pt>
                <c:pt idx="1448">
                  <c:v>142.18200378815834</c:v>
                </c:pt>
                <c:pt idx="1449">
                  <c:v>143.83870809042384</c:v>
                </c:pt>
                <c:pt idx="1450">
                  <c:v>143.14503234693626</c:v>
                </c:pt>
                <c:pt idx="1451">
                  <c:v>143.87714313826777</c:v>
                </c:pt>
                <c:pt idx="1452">
                  <c:v>145.15687649127989</c:v>
                </c:pt>
                <c:pt idx="1453">
                  <c:v>144.04625734878113</c:v>
                </c:pt>
                <c:pt idx="1454">
                  <c:v>142.28408727523185</c:v>
                </c:pt>
                <c:pt idx="1455">
                  <c:v>140.32635967825254</c:v>
                </c:pt>
                <c:pt idx="1456">
                  <c:v>140.19721791749689</c:v>
                </c:pt>
                <c:pt idx="1457">
                  <c:v>139.68403315868446</c:v>
                </c:pt>
                <c:pt idx="1458">
                  <c:v>141.42898433079969</c:v>
                </c:pt>
                <c:pt idx="1459">
                  <c:v>141.71401864561042</c:v>
                </c:pt>
                <c:pt idx="1460">
                  <c:v>142.47687747521707</c:v>
                </c:pt>
                <c:pt idx="1461">
                  <c:v>141.77797456522273</c:v>
                </c:pt>
                <c:pt idx="1462">
                  <c:v>142.20506481686471</c:v>
                </c:pt>
                <c:pt idx="1463">
                  <c:v>141.64944776523259</c:v>
                </c:pt>
                <c:pt idx="1464">
                  <c:v>143.11520674980937</c:v>
                </c:pt>
                <c:pt idx="1465">
                  <c:v>143.91557818611173</c:v>
                </c:pt>
                <c:pt idx="1466">
                  <c:v>143.15517919956707</c:v>
                </c:pt>
                <c:pt idx="1467">
                  <c:v>142.32621208766881</c:v>
                </c:pt>
                <c:pt idx="1468">
                  <c:v>143.54260448183408</c:v>
                </c:pt>
                <c:pt idx="1469">
                  <c:v>144.79404963963299</c:v>
                </c:pt>
                <c:pt idx="1470">
                  <c:v>144.68673898605272</c:v>
                </c:pt>
                <c:pt idx="1471">
                  <c:v>144.37064915258406</c:v>
                </c:pt>
                <c:pt idx="1472">
                  <c:v>145.17563279462772</c:v>
                </c:pt>
                <c:pt idx="1473">
                  <c:v>144.73962561188597</c:v>
                </c:pt>
                <c:pt idx="1474">
                  <c:v>145.19008437261704</c:v>
                </c:pt>
                <c:pt idx="1475">
                  <c:v>146.02827589599784</c:v>
                </c:pt>
                <c:pt idx="1476">
                  <c:v>145.07723907214719</c:v>
                </c:pt>
                <c:pt idx="1477">
                  <c:v>145.42069465968072</c:v>
                </c:pt>
                <c:pt idx="1478">
                  <c:v>145.67129117162327</c:v>
                </c:pt>
                <c:pt idx="1479">
                  <c:v>145.94648611418592</c:v>
                </c:pt>
                <c:pt idx="1480">
                  <c:v>146.99345681745507</c:v>
                </c:pt>
                <c:pt idx="1481">
                  <c:v>146.90213514377783</c:v>
                </c:pt>
                <c:pt idx="1482">
                  <c:v>147.46697660689247</c:v>
                </c:pt>
                <c:pt idx="1483">
                  <c:v>146.22752318402087</c:v>
                </c:pt>
                <c:pt idx="1484">
                  <c:v>147.26803679925223</c:v>
                </c:pt>
                <c:pt idx="1485">
                  <c:v>148.19539763363099</c:v>
                </c:pt>
                <c:pt idx="1486">
                  <c:v>148.72703121540846</c:v>
                </c:pt>
                <c:pt idx="1487">
                  <c:v>148.60373158192508</c:v>
                </c:pt>
                <c:pt idx="1488">
                  <c:v>148.63509458096576</c:v>
                </c:pt>
                <c:pt idx="1489">
                  <c:v>149.60980739428825</c:v>
                </c:pt>
                <c:pt idx="1490">
                  <c:v>150.38035323346369</c:v>
                </c:pt>
                <c:pt idx="1491">
                  <c:v>150.64078911765429</c:v>
                </c:pt>
                <c:pt idx="1492">
                  <c:v>150.07441025262588</c:v>
                </c:pt>
                <c:pt idx="1493">
                  <c:v>150.56238162005263</c:v>
                </c:pt>
                <c:pt idx="1494">
                  <c:v>151.22192704105481</c:v>
                </c:pt>
                <c:pt idx="1495">
                  <c:v>150.57714067842474</c:v>
                </c:pt>
                <c:pt idx="1496">
                  <c:v>150.34191818561976</c:v>
                </c:pt>
                <c:pt idx="1497">
                  <c:v>152.10470321993461</c:v>
                </c:pt>
                <c:pt idx="1498">
                  <c:v>153.85641896047034</c:v>
                </c:pt>
                <c:pt idx="1499">
                  <c:v>153.26790150788383</c:v>
                </c:pt>
                <c:pt idx="1500">
                  <c:v>153.41887437581482</c:v>
                </c:pt>
                <c:pt idx="1501">
                  <c:v>154.04275207241778</c:v>
                </c:pt>
                <c:pt idx="1502">
                  <c:v>153.75710279684156</c:v>
                </c:pt>
                <c:pt idx="1503">
                  <c:v>153.33862199591664</c:v>
                </c:pt>
                <c:pt idx="1504">
                  <c:v>154.20048950876935</c:v>
                </c:pt>
                <c:pt idx="1505">
                  <c:v>154.50950729343469</c:v>
                </c:pt>
                <c:pt idx="1506">
                  <c:v>153.58522126288344</c:v>
                </c:pt>
                <c:pt idx="1507">
                  <c:v>153.97080166285392</c:v>
                </c:pt>
                <c:pt idx="1508">
                  <c:v>154.2991907116326</c:v>
                </c:pt>
                <c:pt idx="1509">
                  <c:v>155.46976852876787</c:v>
                </c:pt>
                <c:pt idx="1510">
                  <c:v>155.27513344648614</c:v>
                </c:pt>
                <c:pt idx="1511">
                  <c:v>155.81875876319094</c:v>
                </c:pt>
                <c:pt idx="1512">
                  <c:v>153.84842447051881</c:v>
                </c:pt>
                <c:pt idx="1513">
                  <c:v>153.70021892603253</c:v>
                </c:pt>
                <c:pt idx="1514">
                  <c:v>155.76033749046812</c:v>
                </c:pt>
                <c:pt idx="1515">
                  <c:v>155.91530760337491</c:v>
                </c:pt>
                <c:pt idx="1516">
                  <c:v>155.64564730770178</c:v>
                </c:pt>
                <c:pt idx="1517">
                  <c:v>156.53826285882963</c:v>
                </c:pt>
                <c:pt idx="1518">
                  <c:v>157.39275084249627</c:v>
                </c:pt>
                <c:pt idx="1519">
                  <c:v>157.57047450372667</c:v>
                </c:pt>
                <c:pt idx="1520">
                  <c:v>158.23217228740808</c:v>
                </c:pt>
                <c:pt idx="1521">
                  <c:v>158.60914323666154</c:v>
                </c:pt>
                <c:pt idx="1522">
                  <c:v>158.28536639362409</c:v>
                </c:pt>
                <c:pt idx="1523">
                  <c:v>159.15738075910758</c:v>
                </c:pt>
                <c:pt idx="1524">
                  <c:v>159.92915651981406</c:v>
                </c:pt>
                <c:pt idx="1525">
                  <c:v>160.27876171500259</c:v>
                </c:pt>
                <c:pt idx="1526">
                  <c:v>160.13609081740586</c:v>
                </c:pt>
                <c:pt idx="1527">
                  <c:v>159.76588443657295</c:v>
                </c:pt>
                <c:pt idx="1528">
                  <c:v>159.96021203847195</c:v>
                </c:pt>
                <c:pt idx="1529">
                  <c:v>160.58408973507491</c:v>
                </c:pt>
                <c:pt idx="1530">
                  <c:v>160.18006051213931</c:v>
                </c:pt>
                <c:pt idx="1531">
                  <c:v>159.37907411507149</c:v>
                </c:pt>
                <c:pt idx="1532">
                  <c:v>160.65142793889754</c:v>
                </c:pt>
                <c:pt idx="1533">
                  <c:v>160.90602169581581</c:v>
                </c:pt>
                <c:pt idx="1534">
                  <c:v>160.92201067571889</c:v>
                </c:pt>
                <c:pt idx="1535">
                  <c:v>164.11150468600104</c:v>
                </c:pt>
                <c:pt idx="1536">
                  <c:v>163.13525447076478</c:v>
                </c:pt>
                <c:pt idx="1537">
                  <c:v>161.3506383292746</c:v>
                </c:pt>
                <c:pt idx="1538">
                  <c:v>158.78286965291616</c:v>
                </c:pt>
                <c:pt idx="1539">
                  <c:v>158.79670627013996</c:v>
                </c:pt>
                <c:pt idx="1540">
                  <c:v>159.06175436007183</c:v>
                </c:pt>
                <c:pt idx="1541">
                  <c:v>157.38506383292747</c:v>
                </c:pt>
                <c:pt idx="1542">
                  <c:v>159.39690797727107</c:v>
                </c:pt>
                <c:pt idx="1543">
                  <c:v>160.67787125181414</c:v>
                </c:pt>
                <c:pt idx="1544">
                  <c:v>161.72207463163852</c:v>
                </c:pt>
                <c:pt idx="1545">
                  <c:v>160.76427323936733</c:v>
                </c:pt>
                <c:pt idx="1546">
                  <c:v>160.89495240203675</c:v>
                </c:pt>
                <c:pt idx="1547">
                  <c:v>160.83899097237597</c:v>
                </c:pt>
                <c:pt idx="1548">
                  <c:v>161.89918333210343</c:v>
                </c:pt>
                <c:pt idx="1549">
                  <c:v>161.42474110151772</c:v>
                </c:pt>
                <c:pt idx="1550">
                  <c:v>162.32719602489362</c:v>
                </c:pt>
                <c:pt idx="1551">
                  <c:v>162.91602095786291</c:v>
                </c:pt>
                <c:pt idx="1552">
                  <c:v>162.56826064497085</c:v>
                </c:pt>
                <c:pt idx="1553">
                  <c:v>160.62713698866011</c:v>
                </c:pt>
                <c:pt idx="1554">
                  <c:v>161.41244188620766</c:v>
                </c:pt>
                <c:pt idx="1555">
                  <c:v>162.23556687083365</c:v>
                </c:pt>
                <c:pt idx="1556">
                  <c:v>161.87274001918678</c:v>
                </c:pt>
                <c:pt idx="1557">
                  <c:v>164.05031608983347</c:v>
                </c:pt>
                <c:pt idx="1558">
                  <c:v>164.26739724005608</c:v>
                </c:pt>
                <c:pt idx="1559">
                  <c:v>163.77112390229505</c:v>
                </c:pt>
                <c:pt idx="1560">
                  <c:v>164.63944850318552</c:v>
                </c:pt>
                <c:pt idx="1561">
                  <c:v>165.99574447150272</c:v>
                </c:pt>
                <c:pt idx="1562">
                  <c:v>164.84300051656706</c:v>
                </c:pt>
                <c:pt idx="1563">
                  <c:v>165.12557498831575</c:v>
                </c:pt>
                <c:pt idx="1564">
                  <c:v>163.7517526381817</c:v>
                </c:pt>
                <c:pt idx="1565">
                  <c:v>164.6680441787814</c:v>
                </c:pt>
                <c:pt idx="1566">
                  <c:v>167.41568887904953</c:v>
                </c:pt>
                <c:pt idx="1567">
                  <c:v>167.4781073967481</c:v>
                </c:pt>
                <c:pt idx="1568">
                  <c:v>167.00274272501414</c:v>
                </c:pt>
                <c:pt idx="1569">
                  <c:v>167.82340786657812</c:v>
                </c:pt>
                <c:pt idx="1570">
                  <c:v>167.47503259292057</c:v>
                </c:pt>
                <c:pt idx="1571">
                  <c:v>166.06093031264606</c:v>
                </c:pt>
                <c:pt idx="1572">
                  <c:v>166.36687329348388</c:v>
                </c:pt>
                <c:pt idx="1573">
                  <c:v>167.50578063119573</c:v>
                </c:pt>
                <c:pt idx="1574">
                  <c:v>168.28862568568127</c:v>
                </c:pt>
                <c:pt idx="1575">
                  <c:v>164.20743856541955</c:v>
                </c:pt>
                <c:pt idx="1576">
                  <c:v>161.29006469387255</c:v>
                </c:pt>
                <c:pt idx="1577">
                  <c:v>159.29021228445626</c:v>
                </c:pt>
                <c:pt idx="1578">
                  <c:v>158.90893660984432</c:v>
                </c:pt>
                <c:pt idx="1579">
                  <c:v>156.18958010478931</c:v>
                </c:pt>
                <c:pt idx="1580">
                  <c:v>157.74112611615379</c:v>
                </c:pt>
                <c:pt idx="1581">
                  <c:v>159.30435638206285</c:v>
                </c:pt>
                <c:pt idx="1582">
                  <c:v>161.21626940201216</c:v>
                </c:pt>
                <c:pt idx="1583">
                  <c:v>161.44441984601383</c:v>
                </c:pt>
                <c:pt idx="1584">
                  <c:v>161.51268049098468</c:v>
                </c:pt>
                <c:pt idx="1585">
                  <c:v>159.99557228248838</c:v>
                </c:pt>
                <c:pt idx="1586">
                  <c:v>156.16436671340369</c:v>
                </c:pt>
                <c:pt idx="1587">
                  <c:v>159.55341549209163</c:v>
                </c:pt>
                <c:pt idx="1588">
                  <c:v>160.25570068629619</c:v>
                </c:pt>
                <c:pt idx="1589">
                  <c:v>162.48032125550392</c:v>
                </c:pt>
                <c:pt idx="1590">
                  <c:v>163.63183528890858</c:v>
                </c:pt>
                <c:pt idx="1591">
                  <c:v>164.55950360367009</c:v>
                </c:pt>
                <c:pt idx="1592">
                  <c:v>167.60448183405899</c:v>
                </c:pt>
                <c:pt idx="1593">
                  <c:v>167.70564287998428</c:v>
                </c:pt>
                <c:pt idx="1594">
                  <c:v>166.70725407718987</c:v>
                </c:pt>
                <c:pt idx="1595">
                  <c:v>166.71678596905519</c:v>
                </c:pt>
                <c:pt idx="1596">
                  <c:v>165.97422084471012</c:v>
                </c:pt>
                <c:pt idx="1597">
                  <c:v>167.42768061397683</c:v>
                </c:pt>
                <c:pt idx="1598">
                  <c:v>167.13557425036285</c:v>
                </c:pt>
                <c:pt idx="1599">
                  <c:v>168.53276510958602</c:v>
                </c:pt>
                <c:pt idx="1600">
                  <c:v>170.26049738026714</c:v>
                </c:pt>
                <c:pt idx="1601">
                  <c:v>170.53569232282982</c:v>
                </c:pt>
                <c:pt idx="1602">
                  <c:v>171.4864216662977</c:v>
                </c:pt>
                <c:pt idx="1603">
                  <c:v>172.5850490738691</c:v>
                </c:pt>
                <c:pt idx="1604">
                  <c:v>172.42085454947974</c:v>
                </c:pt>
                <c:pt idx="1605">
                  <c:v>172.55522347674219</c:v>
                </c:pt>
                <c:pt idx="1606">
                  <c:v>173.98162497232678</c:v>
                </c:pt>
                <c:pt idx="1607">
                  <c:v>176.42578653481908</c:v>
                </c:pt>
                <c:pt idx="1608">
                  <c:v>176.84027009076823</c:v>
                </c:pt>
                <c:pt idx="1609">
                  <c:v>176.15858608220796</c:v>
                </c:pt>
                <c:pt idx="1610">
                  <c:v>175.8840061004108</c:v>
                </c:pt>
                <c:pt idx="1611">
                  <c:v>177.91153174427473</c:v>
                </c:pt>
                <c:pt idx="1612">
                  <c:v>177.44723636631983</c:v>
                </c:pt>
                <c:pt idx="1613">
                  <c:v>176.59428578456695</c:v>
                </c:pt>
                <c:pt idx="1614">
                  <c:v>178.31340860453105</c:v>
                </c:pt>
                <c:pt idx="1615">
                  <c:v>177.93674513566035</c:v>
                </c:pt>
                <c:pt idx="1616">
                  <c:v>177.59574939118886</c:v>
                </c:pt>
                <c:pt idx="1617">
                  <c:v>177.93182544953632</c:v>
                </c:pt>
                <c:pt idx="1618">
                  <c:v>177.18710796251202</c:v>
                </c:pt>
                <c:pt idx="1619">
                  <c:v>178.1301502964111</c:v>
                </c:pt>
                <c:pt idx="1620">
                  <c:v>178.31125624185179</c:v>
                </c:pt>
                <c:pt idx="1621">
                  <c:v>180.1450692445822</c:v>
                </c:pt>
                <c:pt idx="1622">
                  <c:v>180.71759771726565</c:v>
                </c:pt>
                <c:pt idx="1623">
                  <c:v>178.00562074139671</c:v>
                </c:pt>
                <c:pt idx="1624">
                  <c:v>178.76663468870686</c:v>
                </c:pt>
                <c:pt idx="1625">
                  <c:v>177.00077485056454</c:v>
                </c:pt>
                <c:pt idx="1626">
                  <c:v>178.0538951614887</c:v>
                </c:pt>
                <c:pt idx="1627">
                  <c:v>177.93613017489486</c:v>
                </c:pt>
                <c:pt idx="1628">
                  <c:v>179.28627653555705</c:v>
                </c:pt>
                <c:pt idx="1629">
                  <c:v>178.7155929451701</c:v>
                </c:pt>
                <c:pt idx="1630">
                  <c:v>178.19349125525792</c:v>
                </c:pt>
                <c:pt idx="1631">
                  <c:v>179.9412097508179</c:v>
                </c:pt>
                <c:pt idx="1632">
                  <c:v>179.45016357956362</c:v>
                </c:pt>
                <c:pt idx="1633">
                  <c:v>179.48736870587658</c:v>
                </c:pt>
                <c:pt idx="1634">
                  <c:v>181.23570216220207</c:v>
                </c:pt>
                <c:pt idx="1635">
                  <c:v>179.30411039775663</c:v>
                </c:pt>
                <c:pt idx="1636">
                  <c:v>179.5983691240499</c:v>
                </c:pt>
                <c:pt idx="1637">
                  <c:v>179.85941996900598</c:v>
                </c:pt>
                <c:pt idx="1638">
                  <c:v>180.34062676801221</c:v>
                </c:pt>
                <c:pt idx="1639">
                  <c:v>179.33147615182153</c:v>
                </c:pt>
                <c:pt idx="1640">
                  <c:v>181.06074582441641</c:v>
                </c:pt>
                <c:pt idx="1641">
                  <c:v>182.24393033724451</c:v>
                </c:pt>
                <c:pt idx="1642">
                  <c:v>182.63935010946304</c:v>
                </c:pt>
                <c:pt idx="1643">
                  <c:v>182.08096573438615</c:v>
                </c:pt>
                <c:pt idx="1644">
                  <c:v>178.90008117482105</c:v>
                </c:pt>
                <c:pt idx="1645">
                  <c:v>176.49127985634519</c:v>
                </c:pt>
                <c:pt idx="1646">
                  <c:v>175.05257914545052</c:v>
                </c:pt>
                <c:pt idx="1647">
                  <c:v>176.48144048409713</c:v>
                </c:pt>
                <c:pt idx="1648">
                  <c:v>175.17680122008218</c:v>
                </c:pt>
                <c:pt idx="1649">
                  <c:v>175.67584188128799</c:v>
                </c:pt>
                <c:pt idx="1650">
                  <c:v>178.50742872604729</c:v>
                </c:pt>
                <c:pt idx="1651">
                  <c:v>181.45339827319017</c:v>
                </c:pt>
                <c:pt idx="1652">
                  <c:v>181.2805942980838</c:v>
                </c:pt>
                <c:pt idx="1653">
                  <c:v>180.8162989201289</c:v>
                </c:pt>
                <c:pt idx="1654">
                  <c:v>181.62281996408629</c:v>
                </c:pt>
                <c:pt idx="1655">
                  <c:v>179.50950729343469</c:v>
                </c:pt>
                <c:pt idx="1656">
                  <c:v>179.31364228962192</c:v>
                </c:pt>
                <c:pt idx="1657">
                  <c:v>179.43478956042605</c:v>
                </c:pt>
                <c:pt idx="1658">
                  <c:v>178.42102673849411</c:v>
                </c:pt>
                <c:pt idx="1659">
                  <c:v>177.27289498929969</c:v>
                </c:pt>
                <c:pt idx="1660">
                  <c:v>179.51165965611395</c:v>
                </c:pt>
                <c:pt idx="1661">
                  <c:v>181.02507810001723</c:v>
                </c:pt>
                <c:pt idx="1662">
                  <c:v>182.0311539123804</c:v>
                </c:pt>
                <c:pt idx="1663">
                  <c:v>183.44033650653088</c:v>
                </c:pt>
                <c:pt idx="1664">
                  <c:v>184.41320443755689</c:v>
                </c:pt>
                <c:pt idx="1665">
                  <c:v>182.94160332570783</c:v>
                </c:pt>
                <c:pt idx="1666">
                  <c:v>184.48330996482426</c:v>
                </c:pt>
                <c:pt idx="1667">
                  <c:v>185.0635254470765</c:v>
                </c:pt>
                <c:pt idx="1668">
                  <c:v>184.22410400216467</c:v>
                </c:pt>
                <c:pt idx="1669">
                  <c:v>184.35908789019263</c:v>
                </c:pt>
                <c:pt idx="1670">
                  <c:v>186.42289621922123</c:v>
                </c:pt>
                <c:pt idx="1671">
                  <c:v>187.20635623447225</c:v>
                </c:pt>
                <c:pt idx="1672">
                  <c:v>187.48155117703493</c:v>
                </c:pt>
                <c:pt idx="1673">
                  <c:v>186.75374511106193</c:v>
                </c:pt>
                <c:pt idx="1674">
                  <c:v>184.9073254126387</c:v>
                </c:pt>
                <c:pt idx="1675">
                  <c:v>186.8733549799523</c:v>
                </c:pt>
                <c:pt idx="1676">
                  <c:v>184.97066637148552</c:v>
                </c:pt>
                <c:pt idx="1677">
                  <c:v>185.86912404988564</c:v>
                </c:pt>
                <c:pt idx="1678">
                  <c:v>183.11871202617274</c:v>
                </c:pt>
                <c:pt idx="1679">
                  <c:v>179.96550070105528</c:v>
                </c:pt>
                <c:pt idx="1680">
                  <c:v>175.04304725358523</c:v>
                </c:pt>
                <c:pt idx="1681">
                  <c:v>173.40971146040883</c:v>
                </c:pt>
                <c:pt idx="1682">
                  <c:v>173.43307996949795</c:v>
                </c:pt>
                <c:pt idx="1683">
                  <c:v>177.17019654146065</c:v>
                </c:pt>
                <c:pt idx="1684">
                  <c:v>174.41947703736503</c:v>
                </c:pt>
                <c:pt idx="1685">
                  <c:v>175.64693872530933</c:v>
                </c:pt>
                <c:pt idx="1686">
                  <c:v>174.56614517993754</c:v>
                </c:pt>
                <c:pt idx="1687">
                  <c:v>173.37588861830616</c:v>
                </c:pt>
                <c:pt idx="1688">
                  <c:v>175.27365754064891</c:v>
                </c:pt>
                <c:pt idx="1689">
                  <c:v>179.47998917669054</c:v>
                </c:pt>
                <c:pt idx="1690">
                  <c:v>174.91544289474334</c:v>
                </c:pt>
                <c:pt idx="1691">
                  <c:v>169.24519715642143</c:v>
                </c:pt>
                <c:pt idx="1692">
                  <c:v>172.25666002509041</c:v>
                </c:pt>
                <c:pt idx="1693">
                  <c:v>169.62278306644038</c:v>
                </c:pt>
                <c:pt idx="1694">
                  <c:v>168.08107642732395</c:v>
                </c:pt>
                <c:pt idx="1695">
                  <c:v>161.41551669003519</c:v>
                </c:pt>
                <c:pt idx="1696">
                  <c:v>166.27770398248592</c:v>
                </c:pt>
                <c:pt idx="1697">
                  <c:v>166.8926647479891</c:v>
                </c:pt>
                <c:pt idx="1698">
                  <c:v>167.05193958625441</c:v>
                </c:pt>
                <c:pt idx="1699">
                  <c:v>170.26357218409467</c:v>
                </c:pt>
                <c:pt idx="1700">
                  <c:v>171.28840429980568</c:v>
                </c:pt>
                <c:pt idx="1701">
                  <c:v>172.75631564706174</c:v>
                </c:pt>
                <c:pt idx="1702">
                  <c:v>173.07179051976485</c:v>
                </c:pt>
                <c:pt idx="1703">
                  <c:v>170.01851031904167</c:v>
                </c:pt>
                <c:pt idx="1704">
                  <c:v>171.11990505005781</c:v>
                </c:pt>
                <c:pt idx="1705">
                  <c:v>172.9666322288638</c:v>
                </c:pt>
                <c:pt idx="1706">
                  <c:v>175.21400634639511</c:v>
                </c:pt>
                <c:pt idx="1707">
                  <c:v>175.40710402676311</c:v>
                </c:pt>
                <c:pt idx="1708">
                  <c:v>176.32339556736281</c:v>
                </c:pt>
                <c:pt idx="1709">
                  <c:v>174.02128994170172</c:v>
                </c:pt>
                <c:pt idx="1710">
                  <c:v>175.1562000344378</c:v>
                </c:pt>
                <c:pt idx="1711">
                  <c:v>172.2434383686321</c:v>
                </c:pt>
                <c:pt idx="1712">
                  <c:v>171.07778023762086</c:v>
                </c:pt>
                <c:pt idx="1713">
                  <c:v>174.49911445649769</c:v>
                </c:pt>
                <c:pt idx="1714">
                  <c:v>175.58267532531426</c:v>
                </c:pt>
                <c:pt idx="1715">
                  <c:v>177.02291343812266</c:v>
                </c:pt>
                <c:pt idx="1716">
                  <c:v>174.8407251617347</c:v>
                </c:pt>
                <c:pt idx="1717">
                  <c:v>172.32000098393723</c:v>
                </c:pt>
                <c:pt idx="1718">
                  <c:v>174.86286374929281</c:v>
                </c:pt>
                <c:pt idx="1719">
                  <c:v>180.61274690674736</c:v>
                </c:pt>
                <c:pt idx="1720">
                  <c:v>181.14468796890759</c:v>
                </c:pt>
                <c:pt idx="1721">
                  <c:v>182.08588542051018</c:v>
                </c:pt>
                <c:pt idx="1722">
                  <c:v>181.92415073918286</c:v>
                </c:pt>
                <c:pt idx="1723">
                  <c:v>180.30864880820604</c:v>
                </c:pt>
                <c:pt idx="1724">
                  <c:v>181.49952033060293</c:v>
                </c:pt>
                <c:pt idx="1725">
                  <c:v>183.27060733525201</c:v>
                </c:pt>
                <c:pt idx="1726">
                  <c:v>184.08450790839547</c:v>
                </c:pt>
                <c:pt idx="1727">
                  <c:v>185.82453939438665</c:v>
                </c:pt>
                <c:pt idx="1728">
                  <c:v>185.45279561164</c:v>
                </c:pt>
                <c:pt idx="1729">
                  <c:v>185.70892677047206</c:v>
                </c:pt>
                <c:pt idx="1730">
                  <c:v>185.80055592453203</c:v>
                </c:pt>
                <c:pt idx="1731">
                  <c:v>187.27338695791209</c:v>
                </c:pt>
                <c:pt idx="1732">
                  <c:v>185.70984921162031</c:v>
                </c:pt>
                <c:pt idx="1733">
                  <c:v>187.00126681917695</c:v>
                </c:pt>
                <c:pt idx="1734">
                  <c:v>188.20259267458738</c:v>
                </c:pt>
                <c:pt idx="1735">
                  <c:v>190.34573094236589</c:v>
                </c:pt>
                <c:pt idx="1736">
                  <c:v>189.60224337687256</c:v>
                </c:pt>
                <c:pt idx="1737">
                  <c:v>188.58171598652007</c:v>
                </c:pt>
                <c:pt idx="1738">
                  <c:v>186.32849974171648</c:v>
                </c:pt>
                <c:pt idx="1739">
                  <c:v>188.0608442181389</c:v>
                </c:pt>
                <c:pt idx="1740">
                  <c:v>187.63621380955897</c:v>
                </c:pt>
                <c:pt idx="1741">
                  <c:v>186.0502299953263</c:v>
                </c:pt>
                <c:pt idx="1742">
                  <c:v>182.31096106068435</c:v>
                </c:pt>
                <c:pt idx="1743">
                  <c:v>185.36946842791431</c:v>
                </c:pt>
                <c:pt idx="1744">
                  <c:v>184.17121737633141</c:v>
                </c:pt>
                <c:pt idx="1745">
                  <c:v>187.26170270336755</c:v>
                </c:pt>
                <c:pt idx="1746">
                  <c:v>189.42943940176619</c:v>
                </c:pt>
                <c:pt idx="1747">
                  <c:v>190.99113226576145</c:v>
                </c:pt>
                <c:pt idx="1748">
                  <c:v>190.33373920743858</c:v>
                </c:pt>
                <c:pt idx="1749">
                  <c:v>192.66321058716454</c:v>
                </c:pt>
                <c:pt idx="1750">
                  <c:v>189.36671340368486</c:v>
                </c:pt>
                <c:pt idx="1751">
                  <c:v>188.63060536737757</c:v>
                </c:pt>
                <c:pt idx="1752">
                  <c:v>187.26600742872606</c:v>
                </c:pt>
                <c:pt idx="1753">
                  <c:v>188.92855385826385</c:v>
                </c:pt>
                <c:pt idx="1754">
                  <c:v>189.04109167835094</c:v>
                </c:pt>
                <c:pt idx="1755">
                  <c:v>188.36740215974223</c:v>
                </c:pt>
                <c:pt idx="1756">
                  <c:v>185.21880304036603</c:v>
                </c:pt>
                <c:pt idx="1757">
                  <c:v>183.43080461466559</c:v>
                </c:pt>
                <c:pt idx="1758">
                  <c:v>184.67087299830271</c:v>
                </c:pt>
                <c:pt idx="1759">
                  <c:v>186.75343763067917</c:v>
                </c:pt>
                <c:pt idx="1760">
                  <c:v>183.61898260890956</c:v>
                </c:pt>
                <c:pt idx="1761">
                  <c:v>182.22117678892087</c:v>
                </c:pt>
                <c:pt idx="1762">
                  <c:v>178.57538189063538</c:v>
                </c:pt>
                <c:pt idx="1763">
                  <c:v>182.17075000614963</c:v>
                </c:pt>
                <c:pt idx="1764">
                  <c:v>178.12061840454581</c:v>
                </c:pt>
                <c:pt idx="1765">
                  <c:v>179.78746955944212</c:v>
                </c:pt>
                <c:pt idx="1766">
                  <c:v>182.01946965783586</c:v>
                </c:pt>
                <c:pt idx="1767">
                  <c:v>181.48875851720661</c:v>
                </c:pt>
                <c:pt idx="1768">
                  <c:v>180.85165916414533</c:v>
                </c:pt>
                <c:pt idx="1769">
                  <c:v>184.49222689592406</c:v>
                </c:pt>
                <c:pt idx="1770">
                  <c:v>185.44264875900919</c:v>
                </c:pt>
                <c:pt idx="1771">
                  <c:v>186.4960765503161</c:v>
                </c:pt>
                <c:pt idx="1772">
                  <c:v>185.49369050254595</c:v>
                </c:pt>
                <c:pt idx="1773">
                  <c:v>184.04361301748949</c:v>
                </c:pt>
                <c:pt idx="1774">
                  <c:v>186.0351634565715</c:v>
                </c:pt>
                <c:pt idx="1775">
                  <c:v>185.70185472166878</c:v>
                </c:pt>
                <c:pt idx="1776">
                  <c:v>187.59224411482549</c:v>
                </c:pt>
                <c:pt idx="1777">
                  <c:v>189.40699333382531</c:v>
                </c:pt>
                <c:pt idx="1778">
                  <c:v>188.422133667872</c:v>
                </c:pt>
                <c:pt idx="1779">
                  <c:v>188.89749833960596</c:v>
                </c:pt>
                <c:pt idx="1780">
                  <c:v>183.36961601849802</c:v>
                </c:pt>
                <c:pt idx="1781">
                  <c:v>182.11540353725434</c:v>
                </c:pt>
                <c:pt idx="1782">
                  <c:v>178.25836961601851</c:v>
                </c:pt>
                <c:pt idx="1783">
                  <c:v>178.34415664280621</c:v>
                </c:pt>
                <c:pt idx="1784">
                  <c:v>177.38973753474531</c:v>
                </c:pt>
                <c:pt idx="1785">
                  <c:v>177.26920522470667</c:v>
                </c:pt>
                <c:pt idx="1786">
                  <c:v>180.06358694315304</c:v>
                </c:pt>
                <c:pt idx="1787">
                  <c:v>180.63150321009522</c:v>
                </c:pt>
                <c:pt idx="1788">
                  <c:v>182.85981354389591</c:v>
                </c:pt>
                <c:pt idx="1789">
                  <c:v>184.17921186628294</c:v>
                </c:pt>
                <c:pt idx="1790">
                  <c:v>183.22909748358055</c:v>
                </c:pt>
                <c:pt idx="1791">
                  <c:v>182.27344845398864</c:v>
                </c:pt>
                <c:pt idx="1792">
                  <c:v>181.78270976311711</c:v>
                </c:pt>
                <c:pt idx="1793">
                  <c:v>178.91299535089664</c:v>
                </c:pt>
                <c:pt idx="1794">
                  <c:v>178.02253216244804</c:v>
                </c:pt>
                <c:pt idx="1795">
                  <c:v>179.02830049442846</c:v>
                </c:pt>
                <c:pt idx="1796">
                  <c:v>176.14720930804617</c:v>
                </c:pt>
                <c:pt idx="1797">
                  <c:v>175.24106462007725</c:v>
                </c:pt>
                <c:pt idx="1798">
                  <c:v>174.949265736846</c:v>
                </c:pt>
                <c:pt idx="1799">
                  <c:v>176.56630506973656</c:v>
                </c:pt>
                <c:pt idx="1800">
                  <c:v>171.72594888446119</c:v>
                </c:pt>
                <c:pt idx="1801">
                  <c:v>168.17301306176668</c:v>
                </c:pt>
                <c:pt idx="1802">
                  <c:v>167.37909871350209</c:v>
                </c:pt>
                <c:pt idx="1803">
                  <c:v>164.85160996728411</c:v>
                </c:pt>
                <c:pt idx="1804">
                  <c:v>153.91699259587239</c:v>
                </c:pt>
                <c:pt idx="1805">
                  <c:v>158.69001057732515</c:v>
                </c:pt>
                <c:pt idx="1806">
                  <c:v>153.20948023516101</c:v>
                </c:pt>
                <c:pt idx="1807">
                  <c:v>163.05469461048386</c:v>
                </c:pt>
                <c:pt idx="1808">
                  <c:v>163.02179420952945</c:v>
                </c:pt>
                <c:pt idx="1809">
                  <c:v>162.29890782968047</c:v>
                </c:pt>
                <c:pt idx="1810">
                  <c:v>164.73507490222124</c:v>
                </c:pt>
                <c:pt idx="1811">
                  <c:v>163.85445108602073</c:v>
                </c:pt>
                <c:pt idx="1812">
                  <c:v>164.11088972523555</c:v>
                </c:pt>
                <c:pt idx="1813">
                  <c:v>167.39846997761543</c:v>
                </c:pt>
                <c:pt idx="1814">
                  <c:v>167.6450692445822</c:v>
                </c:pt>
                <c:pt idx="1815">
                  <c:v>160.54319484416897</c:v>
                </c:pt>
                <c:pt idx="1816">
                  <c:v>161.63475020293706</c:v>
                </c:pt>
                <c:pt idx="1817">
                  <c:v>156.82667945785059</c:v>
                </c:pt>
                <c:pt idx="1818">
                  <c:v>157.48530243770449</c:v>
                </c:pt>
                <c:pt idx="1819">
                  <c:v>156.05398125599586</c:v>
                </c:pt>
                <c:pt idx="1820">
                  <c:v>162.31704917226281</c:v>
                </c:pt>
                <c:pt idx="1821">
                  <c:v>162.17191843160407</c:v>
                </c:pt>
                <c:pt idx="1822">
                  <c:v>162.94000442771753</c:v>
                </c:pt>
                <c:pt idx="1823">
                  <c:v>160.45310309202273</c:v>
                </c:pt>
                <c:pt idx="1824">
                  <c:v>163.16262022482968</c:v>
                </c:pt>
                <c:pt idx="1825">
                  <c:v>164.50384965439207</c:v>
                </c:pt>
                <c:pt idx="1826">
                  <c:v>161.56310727375595</c:v>
                </c:pt>
                <c:pt idx="1827">
                  <c:v>164.20436376159202</c:v>
                </c:pt>
                <c:pt idx="1828">
                  <c:v>163.1985954296116</c:v>
                </c:pt>
                <c:pt idx="1829">
                  <c:v>166.1571716724473</c:v>
                </c:pt>
                <c:pt idx="1830">
                  <c:v>169.10006641576268</c:v>
                </c:pt>
                <c:pt idx="1831">
                  <c:v>171.25365901655476</c:v>
                </c:pt>
                <c:pt idx="1832">
                  <c:v>169.00228765404768</c:v>
                </c:pt>
                <c:pt idx="1833">
                  <c:v>166.74599660541659</c:v>
                </c:pt>
                <c:pt idx="1834">
                  <c:v>164.6572823653851</c:v>
                </c:pt>
                <c:pt idx="1835">
                  <c:v>162.78411187366248</c:v>
                </c:pt>
                <c:pt idx="1836">
                  <c:v>166.18668978919146</c:v>
                </c:pt>
                <c:pt idx="1837">
                  <c:v>164.9207930534032</c:v>
                </c:pt>
                <c:pt idx="1838">
                  <c:v>163.10081666789659</c:v>
                </c:pt>
                <c:pt idx="1839">
                  <c:v>161.29744422305859</c:v>
                </c:pt>
                <c:pt idx="1840">
                  <c:v>162.69740240572654</c:v>
                </c:pt>
                <c:pt idx="1841">
                  <c:v>166.44774063414755</c:v>
                </c:pt>
                <c:pt idx="1842">
                  <c:v>165.22827343615478</c:v>
                </c:pt>
                <c:pt idx="1843">
                  <c:v>163.8316975376971</c:v>
                </c:pt>
                <c:pt idx="1844">
                  <c:v>158.00894152953043</c:v>
                </c:pt>
                <c:pt idx="1845">
                  <c:v>163.83231249846261</c:v>
                </c:pt>
                <c:pt idx="1846">
                  <c:v>160.7962511991735</c:v>
                </c:pt>
                <c:pt idx="1847">
                  <c:v>158.05198878311563</c:v>
                </c:pt>
                <c:pt idx="1848">
                  <c:v>165.10466632228864</c:v>
                </c:pt>
                <c:pt idx="1849">
                  <c:v>165.80141686960374</c:v>
                </c:pt>
                <c:pt idx="1850">
                  <c:v>168.20745086463484</c:v>
                </c:pt>
                <c:pt idx="1851">
                  <c:v>166.88651514033407</c:v>
                </c:pt>
                <c:pt idx="1852">
                  <c:v>167.4399798292869</c:v>
                </c:pt>
                <c:pt idx="1853">
                  <c:v>170.15595405013161</c:v>
                </c:pt>
                <c:pt idx="1854">
                  <c:v>172.27357144614174</c:v>
                </c:pt>
                <c:pt idx="1855">
                  <c:v>171.74070794283327</c:v>
                </c:pt>
                <c:pt idx="1856">
                  <c:v>173.62433276756943</c:v>
                </c:pt>
                <c:pt idx="1857">
                  <c:v>174.91329053206405</c:v>
                </c:pt>
                <c:pt idx="1858">
                  <c:v>173.16803187956609</c:v>
                </c:pt>
                <c:pt idx="1859">
                  <c:v>172.80612746906749</c:v>
                </c:pt>
                <c:pt idx="1860">
                  <c:v>172.35044154182964</c:v>
                </c:pt>
                <c:pt idx="1861">
                  <c:v>170.22329225395421</c:v>
                </c:pt>
                <c:pt idx="1862">
                  <c:v>169.14342114973067</c:v>
                </c:pt>
                <c:pt idx="1863">
                  <c:v>169.51946965783583</c:v>
                </c:pt>
                <c:pt idx="1864">
                  <c:v>174.19593879910462</c:v>
                </c:pt>
                <c:pt idx="1865">
                  <c:v>172.66837625759479</c:v>
                </c:pt>
                <c:pt idx="1866">
                  <c:v>174.90406612058152</c:v>
                </c:pt>
                <c:pt idx="1867">
                  <c:v>174.99661771578974</c:v>
                </c:pt>
                <c:pt idx="1868">
                  <c:v>174.85240941627924</c:v>
                </c:pt>
                <c:pt idx="1869">
                  <c:v>174.94373108995649</c:v>
                </c:pt>
                <c:pt idx="1870">
                  <c:v>173.21230905468232</c:v>
                </c:pt>
                <c:pt idx="1871">
                  <c:v>175.07533269377416</c:v>
                </c:pt>
                <c:pt idx="1872">
                  <c:v>175.97502029370528</c:v>
                </c:pt>
                <c:pt idx="1873">
                  <c:v>174.14151477135761</c:v>
                </c:pt>
                <c:pt idx="1874">
                  <c:v>175.01752638181685</c:v>
                </c:pt>
                <c:pt idx="1875">
                  <c:v>173.93027574840727</c:v>
                </c:pt>
                <c:pt idx="1876">
                  <c:v>176.57245467739159</c:v>
                </c:pt>
                <c:pt idx="1877">
                  <c:v>176.93835633286596</c:v>
                </c:pt>
                <c:pt idx="1878">
                  <c:v>176.92144491181463</c:v>
                </c:pt>
                <c:pt idx="1879">
                  <c:v>176.63917792044867</c:v>
                </c:pt>
                <c:pt idx="1880">
                  <c:v>176.84180749268197</c:v>
                </c:pt>
                <c:pt idx="1881">
                  <c:v>174.80782476078028</c:v>
                </c:pt>
                <c:pt idx="1882">
                  <c:v>176.22500184488231</c:v>
                </c:pt>
                <c:pt idx="1883">
                  <c:v>175.87570413007651</c:v>
                </c:pt>
                <c:pt idx="1884">
                  <c:v>176.56907239318133</c:v>
                </c:pt>
                <c:pt idx="1885">
                  <c:v>177.48843873760856</c:v>
                </c:pt>
                <c:pt idx="1886">
                  <c:v>179.36130174894842</c:v>
                </c:pt>
                <c:pt idx="1887">
                  <c:v>180.87256783017244</c:v>
                </c:pt>
                <c:pt idx="1888">
                  <c:v>178.6356480456547</c:v>
                </c:pt>
                <c:pt idx="1889">
                  <c:v>178.81644651071264</c:v>
                </c:pt>
                <c:pt idx="1890">
                  <c:v>179.00462450495661</c:v>
                </c:pt>
                <c:pt idx="1891">
                  <c:v>176.649939733845</c:v>
                </c:pt>
                <c:pt idx="1892">
                  <c:v>176.34522667453817</c:v>
                </c:pt>
                <c:pt idx="1893">
                  <c:v>175.09439647750474</c:v>
                </c:pt>
                <c:pt idx="1894">
                  <c:v>175.70382259611839</c:v>
                </c:pt>
                <c:pt idx="1895">
                  <c:v>175.1334464861142</c:v>
                </c:pt>
                <c:pt idx="1896">
                  <c:v>175.79145450520258</c:v>
                </c:pt>
                <c:pt idx="1897">
                  <c:v>173.65508080584459</c:v>
                </c:pt>
                <c:pt idx="1898">
                  <c:v>174.30478685459869</c:v>
                </c:pt>
                <c:pt idx="1899">
                  <c:v>172.07493911888423</c:v>
                </c:pt>
                <c:pt idx="1900">
                  <c:v>172.84702235997344</c:v>
                </c:pt>
                <c:pt idx="1901">
                  <c:v>171.60572405480531</c:v>
                </c:pt>
                <c:pt idx="1902">
                  <c:v>170.75953804147298</c:v>
                </c:pt>
                <c:pt idx="1903">
                  <c:v>166.91449585516446</c:v>
                </c:pt>
                <c:pt idx="1904">
                  <c:v>164.70217450126682</c:v>
                </c:pt>
                <c:pt idx="1905">
                  <c:v>164.86944382948369</c:v>
                </c:pt>
                <c:pt idx="1906">
                  <c:v>164.87098123139745</c:v>
                </c:pt>
                <c:pt idx="1907">
                  <c:v>165.76544166482179</c:v>
                </c:pt>
                <c:pt idx="1908">
                  <c:v>167.00335768577966</c:v>
                </c:pt>
                <c:pt idx="1909">
                  <c:v>164.67173394337442</c:v>
                </c:pt>
                <c:pt idx="1910">
                  <c:v>163.57402897695127</c:v>
                </c:pt>
                <c:pt idx="1911">
                  <c:v>162.1965168622242</c:v>
                </c:pt>
                <c:pt idx="1912">
                  <c:v>160.62928935133939</c:v>
                </c:pt>
                <c:pt idx="1913">
                  <c:v>160.54012004034141</c:v>
                </c:pt>
                <c:pt idx="1914">
                  <c:v>162.14854992251495</c:v>
                </c:pt>
                <c:pt idx="1915">
                  <c:v>159.88764666814259</c:v>
                </c:pt>
                <c:pt idx="1916">
                  <c:v>159.26100164809486</c:v>
                </c:pt>
                <c:pt idx="1917">
                  <c:v>160.49184562024945</c:v>
                </c:pt>
                <c:pt idx="1918">
                  <c:v>157.02192950089784</c:v>
                </c:pt>
                <c:pt idx="1919">
                  <c:v>156.86818930952205</c:v>
                </c:pt>
                <c:pt idx="1920">
                  <c:v>156.69538533441565</c:v>
                </c:pt>
                <c:pt idx="1921">
                  <c:v>154.53718052788233</c:v>
                </c:pt>
                <c:pt idx="1922">
                  <c:v>156.29412343492487</c:v>
                </c:pt>
                <c:pt idx="1923">
                  <c:v>154.16543674513568</c:v>
                </c:pt>
                <c:pt idx="1924">
                  <c:v>157.35800555924533</c:v>
                </c:pt>
                <c:pt idx="1925">
                  <c:v>154.67616166088604</c:v>
                </c:pt>
                <c:pt idx="1926">
                  <c:v>151.61088972523555</c:v>
                </c:pt>
                <c:pt idx="1927">
                  <c:v>152.6120458514747</c:v>
                </c:pt>
                <c:pt idx="1928">
                  <c:v>149.97939881435565</c:v>
                </c:pt>
                <c:pt idx="1929">
                  <c:v>149.58551644405088</c:v>
                </c:pt>
                <c:pt idx="1930">
                  <c:v>154.41572577669547</c:v>
                </c:pt>
                <c:pt idx="1931">
                  <c:v>156.5333431727056</c:v>
                </c:pt>
                <c:pt idx="1932">
                  <c:v>157.54064890659978</c:v>
                </c:pt>
                <c:pt idx="1933">
                  <c:v>156.56224632868424</c:v>
                </c:pt>
                <c:pt idx="1934">
                  <c:v>158.31918923572678</c:v>
                </c:pt>
                <c:pt idx="1935">
                  <c:v>155.59368312301677</c:v>
                </c:pt>
                <c:pt idx="1936">
                  <c:v>155.37229724743563</c:v>
                </c:pt>
                <c:pt idx="1937">
                  <c:v>154.45508326568765</c:v>
                </c:pt>
                <c:pt idx="1938">
                  <c:v>153.52526258824687</c:v>
                </c:pt>
                <c:pt idx="1939">
                  <c:v>155.58568863306525</c:v>
                </c:pt>
                <c:pt idx="1940">
                  <c:v>155.87933239859299</c:v>
                </c:pt>
                <c:pt idx="1941">
                  <c:v>153.52741495092613</c:v>
                </c:pt>
                <c:pt idx="1942">
                  <c:v>152.55516198066564</c:v>
                </c:pt>
                <c:pt idx="1943">
                  <c:v>155.30772636705777</c:v>
                </c:pt>
                <c:pt idx="1944">
                  <c:v>156.19419231053061</c:v>
                </c:pt>
                <c:pt idx="1945">
                  <c:v>155.33293975844342</c:v>
                </c:pt>
                <c:pt idx="1946">
                  <c:v>153.0704991021573</c:v>
                </c:pt>
                <c:pt idx="1947">
                  <c:v>154.7634860895875</c:v>
                </c:pt>
                <c:pt idx="1948">
                  <c:v>153.27066883132855</c:v>
                </c:pt>
                <c:pt idx="1949">
                  <c:v>149.09416279241384</c:v>
                </c:pt>
                <c:pt idx="1950">
                  <c:v>150.22753548323618</c:v>
                </c:pt>
                <c:pt idx="1951">
                  <c:v>148.73933043071852</c:v>
                </c:pt>
                <c:pt idx="1952">
                  <c:v>148.76700366516619</c:v>
                </c:pt>
                <c:pt idx="1953">
                  <c:v>145.03757410277225</c:v>
                </c:pt>
                <c:pt idx="1954">
                  <c:v>145.97385186825082</c:v>
                </c:pt>
                <c:pt idx="1955">
                  <c:v>146.28932674095392</c:v>
                </c:pt>
                <c:pt idx="1956">
                  <c:v>148.44015201830123</c:v>
                </c:pt>
                <c:pt idx="1957">
                  <c:v>147.23759624135982</c:v>
                </c:pt>
                <c:pt idx="1958">
                  <c:v>146.21860625292106</c:v>
                </c:pt>
                <c:pt idx="1959">
                  <c:v>147.09554030452855</c:v>
                </c:pt>
                <c:pt idx="1960">
                  <c:v>149.24359825843112</c:v>
                </c:pt>
                <c:pt idx="1961">
                  <c:v>149.74110151772317</c:v>
                </c:pt>
                <c:pt idx="1962">
                  <c:v>147.82949597815661</c:v>
                </c:pt>
                <c:pt idx="1963">
                  <c:v>148.53731581925075</c:v>
                </c:pt>
                <c:pt idx="1964">
                  <c:v>145.67590337736451</c:v>
                </c:pt>
                <c:pt idx="1965">
                  <c:v>141.15778663321282</c:v>
                </c:pt>
                <c:pt idx="1966">
                  <c:v>137.00218926032522</c:v>
                </c:pt>
                <c:pt idx="1967">
                  <c:v>140.93517083610067</c:v>
                </c:pt>
                <c:pt idx="1968">
                  <c:v>139.39653900081177</c:v>
                </c:pt>
                <c:pt idx="1969">
                  <c:v>137.58886183061523</c:v>
                </c:pt>
                <c:pt idx="1970">
                  <c:v>135.49891766905273</c:v>
                </c:pt>
                <c:pt idx="1971">
                  <c:v>140.33127936437657</c:v>
                </c:pt>
                <c:pt idx="1972">
                  <c:v>135.58624209775417</c:v>
                </c:pt>
                <c:pt idx="1973">
                  <c:v>131.35746439377169</c:v>
                </c:pt>
                <c:pt idx="1974">
                  <c:v>129.31886945612871</c:v>
                </c:pt>
                <c:pt idx="1975">
                  <c:v>130.29388974983397</c:v>
                </c:pt>
                <c:pt idx="1976">
                  <c:v>141.3275158044917</c:v>
                </c:pt>
                <c:pt idx="1977">
                  <c:v>140.67596487344107</c:v>
                </c:pt>
                <c:pt idx="1978">
                  <c:v>139.01280348313779</c:v>
                </c:pt>
                <c:pt idx="1979">
                  <c:v>137.61161537893884</c:v>
                </c:pt>
                <c:pt idx="1980">
                  <c:v>140.44074238063612</c:v>
                </c:pt>
                <c:pt idx="1981">
                  <c:v>137.24509876269894</c:v>
                </c:pt>
                <c:pt idx="1982">
                  <c:v>128.29188497773842</c:v>
                </c:pt>
                <c:pt idx="1983">
                  <c:v>127.15328512040932</c:v>
                </c:pt>
                <c:pt idx="1984">
                  <c:v>127.59359702850958</c:v>
                </c:pt>
                <c:pt idx="1985">
                  <c:v>124.01606277519495</c:v>
                </c:pt>
                <c:pt idx="1986">
                  <c:v>127.67108208496299</c:v>
                </c:pt>
                <c:pt idx="1987">
                  <c:v>115.31621282562173</c:v>
                </c:pt>
                <c:pt idx="1988">
                  <c:v>116.15870907436107</c:v>
                </c:pt>
                <c:pt idx="1989">
                  <c:v>109.28406267680123</c:v>
                </c:pt>
                <c:pt idx="1990">
                  <c:v>107.04099328462844</c:v>
                </c:pt>
                <c:pt idx="1991">
                  <c:v>97.902983789634234</c:v>
                </c:pt>
                <c:pt idx="1992">
                  <c:v>108.38222271419085</c:v>
                </c:pt>
                <c:pt idx="1993">
                  <c:v>112.12825621725335</c:v>
                </c:pt>
                <c:pt idx="1994">
                  <c:v>104.4738395690355</c:v>
                </c:pt>
                <c:pt idx="1995">
                  <c:v>97.978316483408364</c:v>
                </c:pt>
                <c:pt idx="1996">
                  <c:v>102.21355127542863</c:v>
                </c:pt>
                <c:pt idx="1997">
                  <c:v>104.90677194794972</c:v>
                </c:pt>
                <c:pt idx="1998">
                  <c:v>103.3549184562025</c:v>
                </c:pt>
                <c:pt idx="1999">
                  <c:v>95.952020761075445</c:v>
                </c:pt>
                <c:pt idx="2000">
                  <c:v>95.476041128576</c:v>
                </c:pt>
                <c:pt idx="2001">
                  <c:v>89.895272181634823</c:v>
                </c:pt>
                <c:pt idx="2002">
                  <c:v>86.238100509187518</c:v>
                </c:pt>
                <c:pt idx="2003">
                  <c:v>88.46118367648144</c:v>
                </c:pt>
                <c:pt idx="2004">
                  <c:v>97.748321157110183</c:v>
                </c:pt>
                <c:pt idx="2005">
                  <c:v>98.797444223058577</c:v>
                </c:pt>
                <c:pt idx="2006">
                  <c:v>100.14021105453473</c:v>
                </c:pt>
                <c:pt idx="2007">
                  <c:v>101.25728728507121</c:v>
                </c:pt>
                <c:pt idx="2008">
                  <c:v>107.57846899367821</c:v>
                </c:pt>
                <c:pt idx="2009">
                  <c:v>105.85288908567634</c:v>
                </c:pt>
                <c:pt idx="2010">
                  <c:v>97.851942046097463</c:v>
                </c:pt>
                <c:pt idx="2011">
                  <c:v>99.576599512951077</c:v>
                </c:pt>
                <c:pt idx="2012">
                  <c:v>100.57345091383171</c:v>
                </c:pt>
                <c:pt idx="2013">
                  <c:v>94.508707844439527</c:v>
                </c:pt>
                <c:pt idx="2014">
                  <c:v>91.32474848104691</c:v>
                </c:pt>
                <c:pt idx="2015">
                  <c:v>91.17131577005388</c:v>
                </c:pt>
                <c:pt idx="2016">
                  <c:v>92.74254052591445</c:v>
                </c:pt>
                <c:pt idx="2017">
                  <c:v>90.085295058175291</c:v>
                </c:pt>
                <c:pt idx="2018">
                  <c:v>90.906882640887517</c:v>
                </c:pt>
                <c:pt idx="2019">
                  <c:v>87.325351142597114</c:v>
                </c:pt>
                <c:pt idx="2020">
                  <c:v>83.29705064816865</c:v>
                </c:pt>
                <c:pt idx="2021">
                  <c:v>81.146225370821341</c:v>
                </c:pt>
                <c:pt idx="2022">
                  <c:v>90.350343148107157</c:v>
                </c:pt>
                <c:pt idx="2023">
                  <c:v>92.018731704917229</c:v>
                </c:pt>
                <c:pt idx="2024">
                  <c:v>91.398851253290047</c:v>
                </c:pt>
                <c:pt idx="2025">
                  <c:v>93.433448945957252</c:v>
                </c:pt>
                <c:pt idx="2026">
                  <c:v>93.272944186160927</c:v>
                </c:pt>
                <c:pt idx="2027">
                  <c:v>87.022482965586804</c:v>
                </c:pt>
                <c:pt idx="2028">
                  <c:v>89.384547265884436</c:v>
                </c:pt>
                <c:pt idx="2029">
                  <c:v>89.691720168253269</c:v>
                </c:pt>
                <c:pt idx="2030">
                  <c:v>89.617617396010147</c:v>
                </c:pt>
                <c:pt idx="2031">
                  <c:v>85.687095663296688</c:v>
                </c:pt>
                <c:pt idx="2032">
                  <c:v>93.349506801466077</c:v>
                </c:pt>
                <c:pt idx="2033">
                  <c:v>94.364807025311791</c:v>
                </c:pt>
                <c:pt idx="2034">
                  <c:v>94.994219368804281</c:v>
                </c:pt>
                <c:pt idx="2035">
                  <c:v>96.098996384030698</c:v>
                </c:pt>
                <c:pt idx="2036">
                  <c:v>94.44505940520996</c:v>
                </c:pt>
                <c:pt idx="2037">
                  <c:v>96.223218458662345</c:v>
                </c:pt>
                <c:pt idx="2038">
                  <c:v>97.563525447076486</c:v>
                </c:pt>
                <c:pt idx="2039">
                  <c:v>100.86955452242148</c:v>
                </c:pt>
                <c:pt idx="2040">
                  <c:v>101.81628662091359</c:v>
                </c:pt>
                <c:pt idx="2041">
                  <c:v>97.516173468132735</c:v>
                </c:pt>
                <c:pt idx="2042">
                  <c:v>95.883760116104597</c:v>
                </c:pt>
                <c:pt idx="2043">
                  <c:v>95.860084126632728</c:v>
                </c:pt>
                <c:pt idx="2044">
                  <c:v>95.783214030944833</c:v>
                </c:pt>
                <c:pt idx="2045">
                  <c:v>98.061028706368546</c:v>
                </c:pt>
                <c:pt idx="2046">
                  <c:v>99.145204535950612</c:v>
                </c:pt>
                <c:pt idx="2047">
                  <c:v>98.169876761862596</c:v>
                </c:pt>
                <c:pt idx="2048">
                  <c:v>101.50573143433449</c:v>
                </c:pt>
                <c:pt idx="2049">
                  <c:v>101.34799399798294</c:v>
                </c:pt>
                <c:pt idx="2050">
                  <c:v>101.48636017022115</c:v>
                </c:pt>
                <c:pt idx="2051">
                  <c:v>102.18218827638798</c:v>
                </c:pt>
                <c:pt idx="2052">
                  <c:v>101.99739256635428</c:v>
                </c:pt>
                <c:pt idx="2053">
                  <c:v>99.922514943546602</c:v>
                </c:pt>
                <c:pt idx="2054">
                  <c:v>97.181327331316268</c:v>
                </c:pt>
                <c:pt idx="2055">
                  <c:v>94.597262194671984</c:v>
                </c:pt>
                <c:pt idx="2056">
                  <c:v>90.349420706958895</c:v>
                </c:pt>
                <c:pt idx="2057">
                  <c:v>88.880586918554599</c:v>
                </c:pt>
                <c:pt idx="2058">
                  <c:v>91.000356677244</c:v>
                </c:pt>
                <c:pt idx="2059">
                  <c:v>88.816938479325032</c:v>
                </c:pt>
                <c:pt idx="2060">
                  <c:v>85.394681819299933</c:v>
                </c:pt>
                <c:pt idx="2061">
                  <c:v>84.581703687304753</c:v>
                </c:pt>
                <c:pt idx="2062">
                  <c:v>84.320345361965906</c:v>
                </c:pt>
                <c:pt idx="2063">
                  <c:v>83.118097065407227</c:v>
                </c:pt>
                <c:pt idx="2064">
                  <c:v>87.986433965513001</c:v>
                </c:pt>
                <c:pt idx="2065">
                  <c:v>88.378163973138513</c:v>
                </c:pt>
                <c:pt idx="2066">
                  <c:v>91.5565886896416</c:v>
                </c:pt>
                <c:pt idx="2067">
                  <c:v>88.950692445821957</c:v>
                </c:pt>
                <c:pt idx="2068">
                  <c:v>87.313359407669793</c:v>
                </c:pt>
                <c:pt idx="2069">
                  <c:v>85.042616781049375</c:v>
                </c:pt>
                <c:pt idx="2070">
                  <c:v>87.738912257397985</c:v>
                </c:pt>
                <c:pt idx="2071">
                  <c:v>89.453115391238043</c:v>
                </c:pt>
                <c:pt idx="2072">
                  <c:v>89.035557031461394</c:v>
                </c:pt>
                <c:pt idx="2073">
                  <c:v>91.002816520306013</c:v>
                </c:pt>
                <c:pt idx="2074">
                  <c:v>92.891975991931716</c:v>
                </c:pt>
                <c:pt idx="2075">
                  <c:v>90.085910018940794</c:v>
                </c:pt>
                <c:pt idx="2076">
                  <c:v>88.875052271665069</c:v>
                </c:pt>
                <c:pt idx="2077">
                  <c:v>86.893956165596634</c:v>
                </c:pt>
                <c:pt idx="2078">
                  <c:v>88.115268245885915</c:v>
                </c:pt>
                <c:pt idx="2079">
                  <c:v>86.15169852163433</c:v>
                </c:pt>
                <c:pt idx="2080">
                  <c:v>82.567399699899156</c:v>
                </c:pt>
                <c:pt idx="2081">
                  <c:v>82.06835903869333</c:v>
                </c:pt>
                <c:pt idx="2082">
                  <c:v>83.146077780237633</c:v>
                </c:pt>
                <c:pt idx="2083">
                  <c:v>79.7468821489189</c:v>
                </c:pt>
                <c:pt idx="2084">
                  <c:v>79.712136865667972</c:v>
                </c:pt>
                <c:pt idx="2085">
                  <c:v>78.716822866701108</c:v>
                </c:pt>
                <c:pt idx="2086">
                  <c:v>78.144909354783167</c:v>
                </c:pt>
                <c:pt idx="2087">
                  <c:v>80.205027919218765</c:v>
                </c:pt>
                <c:pt idx="2088">
                  <c:v>78.442550365286706</c:v>
                </c:pt>
                <c:pt idx="2089">
                  <c:v>73.823887535975203</c:v>
                </c:pt>
                <c:pt idx="2090">
                  <c:v>72.288023024131064</c:v>
                </c:pt>
                <c:pt idx="2091">
                  <c:v>75.092244114825476</c:v>
                </c:pt>
                <c:pt idx="2092">
                  <c:v>72.326150591592253</c:v>
                </c:pt>
                <c:pt idx="2093">
                  <c:v>72.090313138021813</c:v>
                </c:pt>
                <c:pt idx="2094">
                  <c:v>71.303778318943245</c:v>
                </c:pt>
                <c:pt idx="2095">
                  <c:v>75.640481637271563</c:v>
                </c:pt>
                <c:pt idx="2096">
                  <c:v>75.944272255430107</c:v>
                </c:pt>
                <c:pt idx="2097">
                  <c:v>76.587828696529172</c:v>
                </c:pt>
                <c:pt idx="2098">
                  <c:v>77.693835633286596</c:v>
                </c:pt>
                <c:pt idx="2099">
                  <c:v>80.500209086660277</c:v>
                </c:pt>
                <c:pt idx="2100">
                  <c:v>79.817295156569017</c:v>
                </c:pt>
                <c:pt idx="2101">
                  <c:v>80.048212924015459</c:v>
                </c:pt>
                <c:pt idx="2102">
                  <c:v>84.353245762920338</c:v>
                </c:pt>
                <c:pt idx="2103">
                  <c:v>83.69093301847343</c:v>
                </c:pt>
                <c:pt idx="2104">
                  <c:v>86.232873342680747</c:v>
                </c:pt>
                <c:pt idx="2105">
                  <c:v>86.164612697709899</c:v>
                </c:pt>
                <c:pt idx="2106">
                  <c:v>86.626448232602769</c:v>
                </c:pt>
                <c:pt idx="2107">
                  <c:v>86.922859321575288</c:v>
                </c:pt>
                <c:pt idx="2108">
                  <c:v>84.405824908370846</c:v>
                </c:pt>
                <c:pt idx="2109">
                  <c:v>80.309878729737051</c:v>
                </c:pt>
                <c:pt idx="2110">
                  <c:v>83.878803532334643</c:v>
                </c:pt>
                <c:pt idx="2111">
                  <c:v>84.859050992546685</c:v>
                </c:pt>
                <c:pt idx="2112">
                  <c:v>90.552050279192187</c:v>
                </c:pt>
                <c:pt idx="2113">
                  <c:v>89.409453176887325</c:v>
                </c:pt>
                <c:pt idx="2114">
                  <c:v>88.72131208028928</c:v>
                </c:pt>
                <c:pt idx="2115">
                  <c:v>87.100890463188449</c:v>
                </c:pt>
                <c:pt idx="2116">
                  <c:v>87.100890463188449</c:v>
                </c:pt>
                <c:pt idx="2117">
                  <c:v>88.852606203724207</c:v>
                </c:pt>
                <c:pt idx="2118">
                  <c:v>90.564656974885011</c:v>
                </c:pt>
                <c:pt idx="2119">
                  <c:v>89.820246968243438</c:v>
                </c:pt>
                <c:pt idx="2120">
                  <c:v>91.509236710697863</c:v>
                </c:pt>
                <c:pt idx="2121">
                  <c:v>91.936019481957061</c:v>
                </c:pt>
                <c:pt idx="2122">
                  <c:v>87.871743782746663</c:v>
                </c:pt>
                <c:pt idx="2123">
                  <c:v>88.270545839175469</c:v>
                </c:pt>
                <c:pt idx="2124">
                  <c:v>89.736304823752249</c:v>
                </c:pt>
                <c:pt idx="2125">
                  <c:v>89.680035913708707</c:v>
                </c:pt>
                <c:pt idx="2126">
                  <c:v>93.283091038791724</c:v>
                </c:pt>
                <c:pt idx="2127">
                  <c:v>92.760989348879548</c:v>
                </c:pt>
                <c:pt idx="2128">
                  <c:v>91.019727941357345</c:v>
                </c:pt>
                <c:pt idx="2129">
                  <c:v>94.243352274124916</c:v>
                </c:pt>
                <c:pt idx="2130">
                  <c:v>95.574127370673764</c:v>
                </c:pt>
                <c:pt idx="2131">
                  <c:v>95.691892357267619</c:v>
                </c:pt>
                <c:pt idx="2132">
                  <c:v>98.042579883403448</c:v>
                </c:pt>
                <c:pt idx="2133">
                  <c:v>98.743327675694303</c:v>
                </c:pt>
                <c:pt idx="2134">
                  <c:v>99.854561778958512</c:v>
                </c:pt>
                <c:pt idx="2135">
                  <c:v>99.956952746414785</c:v>
                </c:pt>
                <c:pt idx="2136">
                  <c:v>102.09763117113128</c:v>
                </c:pt>
                <c:pt idx="2137">
                  <c:v>101.71543305537108</c:v>
                </c:pt>
                <c:pt idx="2138">
                  <c:v>101.78707598455219</c:v>
                </c:pt>
                <c:pt idx="2139">
                  <c:v>98.971478119695973</c:v>
                </c:pt>
                <c:pt idx="2140">
                  <c:v>99.305401815364192</c:v>
                </c:pt>
                <c:pt idx="2141">
                  <c:v>99.916672816274328</c:v>
                </c:pt>
                <c:pt idx="2142">
                  <c:v>101.70436376159202</c:v>
                </c:pt>
                <c:pt idx="2143">
                  <c:v>104.06673554227241</c:v>
                </c:pt>
                <c:pt idx="2144">
                  <c:v>105.95773989619462</c:v>
                </c:pt>
                <c:pt idx="2145">
                  <c:v>103.76878705138613</c:v>
                </c:pt>
                <c:pt idx="2146">
                  <c:v>105.16198066563354</c:v>
                </c:pt>
                <c:pt idx="2147">
                  <c:v>105.48206774407794</c:v>
                </c:pt>
                <c:pt idx="2148">
                  <c:v>106.17974073254128</c:v>
                </c:pt>
                <c:pt idx="2149">
                  <c:v>106.49952033060292</c:v>
                </c:pt>
                <c:pt idx="2150">
                  <c:v>105.40519764839004</c:v>
                </c:pt>
                <c:pt idx="2151">
                  <c:v>107.16736772193934</c:v>
                </c:pt>
                <c:pt idx="2152">
                  <c:v>110.36393378102478</c:v>
                </c:pt>
                <c:pt idx="2153">
                  <c:v>111.42320369960397</c:v>
                </c:pt>
                <c:pt idx="2154">
                  <c:v>108.40620618404546</c:v>
                </c:pt>
                <c:pt idx="2155">
                  <c:v>108.18297542616781</c:v>
                </c:pt>
                <c:pt idx="2156">
                  <c:v>107.46439377167738</c:v>
                </c:pt>
                <c:pt idx="2157">
                  <c:v>105.58968587804098</c:v>
                </c:pt>
                <c:pt idx="2158">
                  <c:v>107.20457284825228</c:v>
                </c:pt>
                <c:pt idx="2159">
                  <c:v>108.50951959264999</c:v>
                </c:pt>
                <c:pt idx="2160">
                  <c:v>110.01586598774999</c:v>
                </c:pt>
                <c:pt idx="2161">
                  <c:v>109.14938626915604</c:v>
                </c:pt>
                <c:pt idx="2162">
                  <c:v>105.16843775367133</c:v>
                </c:pt>
                <c:pt idx="2163">
                  <c:v>105.48329766560894</c:v>
                </c:pt>
                <c:pt idx="2164">
                  <c:v>103.25068260644971</c:v>
                </c:pt>
                <c:pt idx="2165">
                  <c:v>104.50428012692791</c:v>
                </c:pt>
                <c:pt idx="2166">
                  <c:v>105.61674415172313</c:v>
                </c:pt>
                <c:pt idx="2167">
                  <c:v>102.36975130986644</c:v>
                </c:pt>
                <c:pt idx="2168">
                  <c:v>102.79960888495314</c:v>
                </c:pt>
                <c:pt idx="2169">
                  <c:v>105.39043859001796</c:v>
                </c:pt>
                <c:pt idx="2170">
                  <c:v>103.58091653752491</c:v>
                </c:pt>
                <c:pt idx="2171">
                  <c:v>104.67093449437927</c:v>
                </c:pt>
                <c:pt idx="2172">
                  <c:v>106.43833173443535</c:v>
                </c:pt>
                <c:pt idx="2173">
                  <c:v>105.06881410965981</c:v>
                </c:pt>
                <c:pt idx="2174">
                  <c:v>107.76910683098419</c:v>
                </c:pt>
                <c:pt idx="2175">
                  <c:v>104.15990209824614</c:v>
                </c:pt>
                <c:pt idx="2176">
                  <c:v>104.02799301404571</c:v>
                </c:pt>
                <c:pt idx="2177">
                  <c:v>102.23077017686272</c:v>
                </c:pt>
                <c:pt idx="2178">
                  <c:v>102.04474454529802</c:v>
                </c:pt>
                <c:pt idx="2179">
                  <c:v>100.20785673874008</c:v>
                </c:pt>
                <c:pt idx="2180">
                  <c:v>101.50726883624826</c:v>
                </c:pt>
                <c:pt idx="2181">
                  <c:v>100.17434137702016</c:v>
                </c:pt>
                <c:pt idx="2182">
                  <c:v>102.02721816348118</c:v>
                </c:pt>
                <c:pt idx="2183">
                  <c:v>103.34108183897868</c:v>
                </c:pt>
                <c:pt idx="2184">
                  <c:v>107.23870317073771</c:v>
                </c:pt>
                <c:pt idx="2185">
                  <c:v>107.88564189604703</c:v>
                </c:pt>
                <c:pt idx="2186">
                  <c:v>108.27460458022779</c:v>
                </c:pt>
                <c:pt idx="2187">
                  <c:v>110.34425503652868</c:v>
                </c:pt>
                <c:pt idx="2188">
                  <c:v>111.37585172066024</c:v>
                </c:pt>
                <c:pt idx="2189">
                  <c:v>111.5551127838044</c:v>
                </c:pt>
                <c:pt idx="2190">
                  <c:v>114.04047671758542</c:v>
                </c:pt>
                <c:pt idx="2191">
                  <c:v>113.6063144171402</c:v>
                </c:pt>
                <c:pt idx="2192">
                  <c:v>114.30306496445527</c:v>
                </c:pt>
                <c:pt idx="2193">
                  <c:v>112.92709025164196</c:v>
                </c:pt>
                <c:pt idx="2194">
                  <c:v>112.9649103387204</c:v>
                </c:pt>
                <c:pt idx="2195">
                  <c:v>115.44104986101887</c:v>
                </c:pt>
                <c:pt idx="2196">
                  <c:v>116.10397756623128</c:v>
                </c:pt>
                <c:pt idx="2197">
                  <c:v>119.90966226354759</c:v>
                </c:pt>
                <c:pt idx="2198">
                  <c:v>119.39155781861118</c:v>
                </c:pt>
                <c:pt idx="2199">
                  <c:v>118.8015029641109</c:v>
                </c:pt>
                <c:pt idx="2200">
                  <c:v>119.1431136693479</c:v>
                </c:pt>
                <c:pt idx="2201">
                  <c:v>119.30761567412</c:v>
                </c:pt>
                <c:pt idx="2202">
                  <c:v>118.31322411630138</c:v>
                </c:pt>
                <c:pt idx="2203">
                  <c:v>116.50124222074632</c:v>
                </c:pt>
                <c:pt idx="2204">
                  <c:v>118.36826310481392</c:v>
                </c:pt>
                <c:pt idx="2205">
                  <c:v>119.92226895924041</c:v>
                </c:pt>
                <c:pt idx="2206">
                  <c:v>118.48541313064227</c:v>
                </c:pt>
                <c:pt idx="2207">
                  <c:v>114.84453791848081</c:v>
                </c:pt>
                <c:pt idx="2208">
                  <c:v>116.65744225518412</c:v>
                </c:pt>
                <c:pt idx="2209">
                  <c:v>117.33051681302733</c:v>
                </c:pt>
                <c:pt idx="2210">
                  <c:v>119.09668413155241</c:v>
                </c:pt>
                <c:pt idx="2211">
                  <c:v>122.40486556957667</c:v>
                </c:pt>
                <c:pt idx="2212">
                  <c:v>123.53977566231275</c:v>
                </c:pt>
                <c:pt idx="2213">
                  <c:v>124.14243721250585</c:v>
                </c:pt>
                <c:pt idx="2214">
                  <c:v>122.60964750448922</c:v>
                </c:pt>
                <c:pt idx="2215">
                  <c:v>121.94702727965957</c:v>
                </c:pt>
                <c:pt idx="2216">
                  <c:v>124.3770447445453</c:v>
                </c:pt>
                <c:pt idx="2217">
                  <c:v>123.42631540107742</c:v>
                </c:pt>
                <c:pt idx="2218">
                  <c:v>120.77368213907954</c:v>
                </c:pt>
                <c:pt idx="2219">
                  <c:v>119.7451602587755</c:v>
                </c:pt>
                <c:pt idx="2220">
                  <c:v>119.90043785206505</c:v>
                </c:pt>
                <c:pt idx="2221">
                  <c:v>121.29117162325045</c:v>
                </c:pt>
                <c:pt idx="2222">
                  <c:v>123.89214818094607</c:v>
                </c:pt>
                <c:pt idx="2223">
                  <c:v>125.8052911224264</c:v>
                </c:pt>
                <c:pt idx="2224">
                  <c:v>127.57760804860651</c:v>
                </c:pt>
                <c:pt idx="2225">
                  <c:v>127.58836986200279</c:v>
                </c:pt>
                <c:pt idx="2226">
                  <c:v>128.65132954517503</c:v>
                </c:pt>
                <c:pt idx="2227">
                  <c:v>128.42379406193885</c:v>
                </c:pt>
                <c:pt idx="2228">
                  <c:v>128.34108183897868</c:v>
                </c:pt>
                <c:pt idx="2229">
                  <c:v>130.96019973925667</c:v>
                </c:pt>
                <c:pt idx="2230">
                  <c:v>132.13538976213317</c:v>
                </c:pt>
                <c:pt idx="2231">
                  <c:v>131.36023171721644</c:v>
                </c:pt>
                <c:pt idx="2232">
                  <c:v>129.7634860895875</c:v>
                </c:pt>
                <c:pt idx="2233">
                  <c:v>131.65818020810272</c:v>
                </c:pt>
                <c:pt idx="2234">
                  <c:v>131.81561016407153</c:v>
                </c:pt>
                <c:pt idx="2235">
                  <c:v>128.64671733943374</c:v>
                </c:pt>
                <c:pt idx="2236">
                  <c:v>127.96503333087348</c:v>
                </c:pt>
                <c:pt idx="2237">
                  <c:v>129.70598725801295</c:v>
                </c:pt>
                <c:pt idx="2238">
                  <c:v>129.11931468772295</c:v>
                </c:pt>
                <c:pt idx="2239">
                  <c:v>129.15405997097383</c:v>
                </c:pt>
                <c:pt idx="2240">
                  <c:v>126.60750744102528</c:v>
                </c:pt>
                <c:pt idx="2241">
                  <c:v>124.61257471773301</c:v>
                </c:pt>
                <c:pt idx="2242">
                  <c:v>125.85633286596315</c:v>
                </c:pt>
                <c:pt idx="2243">
                  <c:v>129.60697857476694</c:v>
                </c:pt>
                <c:pt idx="2244">
                  <c:v>128.53909920547068</c:v>
                </c:pt>
                <c:pt idx="2245">
                  <c:v>130.91592256414043</c:v>
                </c:pt>
                <c:pt idx="2246">
                  <c:v>130.4777630187194</c:v>
                </c:pt>
                <c:pt idx="2247">
                  <c:v>131.81899244828182</c:v>
                </c:pt>
                <c:pt idx="2248">
                  <c:v>130.67947014980444</c:v>
                </c:pt>
                <c:pt idx="2249">
                  <c:v>134.12140555432563</c:v>
                </c:pt>
                <c:pt idx="2250">
                  <c:v>134.61060684328339</c:v>
                </c:pt>
                <c:pt idx="2251">
                  <c:v>133.15991439746145</c:v>
                </c:pt>
                <c:pt idx="2252">
                  <c:v>135.87527365754065</c:v>
                </c:pt>
                <c:pt idx="2253">
                  <c:v>135.23909674562765</c:v>
                </c:pt>
                <c:pt idx="2254">
                  <c:v>136.3632450249674</c:v>
                </c:pt>
                <c:pt idx="2255">
                  <c:v>134.83660492460581</c:v>
                </c:pt>
                <c:pt idx="2256">
                  <c:v>134.20319533613755</c:v>
                </c:pt>
                <c:pt idx="2257">
                  <c:v>131.89985978894546</c:v>
                </c:pt>
                <c:pt idx="2258">
                  <c:v>131.14991513541437</c:v>
                </c:pt>
                <c:pt idx="2259">
                  <c:v>128.09970973851867</c:v>
                </c:pt>
                <c:pt idx="2260">
                  <c:v>130.84335719381104</c:v>
                </c:pt>
                <c:pt idx="2261">
                  <c:v>127.65417066391166</c:v>
                </c:pt>
                <c:pt idx="2262">
                  <c:v>128.61658426192409</c:v>
                </c:pt>
                <c:pt idx="2263">
                  <c:v>125.96641084298821</c:v>
                </c:pt>
                <c:pt idx="2264">
                  <c:v>129.56885100730577</c:v>
                </c:pt>
                <c:pt idx="2265">
                  <c:v>130.79908001869481</c:v>
                </c:pt>
                <c:pt idx="2266">
                  <c:v>130.88332964356877</c:v>
                </c:pt>
                <c:pt idx="2267">
                  <c:v>134.67118047868547</c:v>
                </c:pt>
                <c:pt idx="2268">
                  <c:v>134.0860453103092</c:v>
                </c:pt>
                <c:pt idx="2269">
                  <c:v>134.83476004230928</c:v>
                </c:pt>
                <c:pt idx="2270">
                  <c:v>134.07005633040612</c:v>
                </c:pt>
                <c:pt idx="2271">
                  <c:v>134.77664624996928</c:v>
                </c:pt>
                <c:pt idx="2272">
                  <c:v>137.54735197894377</c:v>
                </c:pt>
                <c:pt idx="2273">
                  <c:v>135.79440631687697</c:v>
                </c:pt>
                <c:pt idx="2274">
                  <c:v>136.67072540771898</c:v>
                </c:pt>
                <c:pt idx="2275">
                  <c:v>133.4594002902615</c:v>
                </c:pt>
                <c:pt idx="2276">
                  <c:v>132.30050672767078</c:v>
                </c:pt>
                <c:pt idx="2277">
                  <c:v>136.21565444124667</c:v>
                </c:pt>
                <c:pt idx="2278">
                  <c:v>135.00879393894672</c:v>
                </c:pt>
                <c:pt idx="2279">
                  <c:v>136.59047302782082</c:v>
                </c:pt>
                <c:pt idx="2280">
                  <c:v>131.49767544830641</c:v>
                </c:pt>
                <c:pt idx="2281">
                  <c:v>132.91854229700147</c:v>
                </c:pt>
                <c:pt idx="2282">
                  <c:v>131.35992423683371</c:v>
                </c:pt>
                <c:pt idx="2283">
                  <c:v>135.61760509679482</c:v>
                </c:pt>
                <c:pt idx="2284">
                  <c:v>136.09112488623228</c:v>
                </c:pt>
                <c:pt idx="2285">
                  <c:v>135.92754532260841</c:v>
                </c:pt>
                <c:pt idx="2286">
                  <c:v>135.62252478291887</c:v>
                </c:pt>
                <c:pt idx="2287">
                  <c:v>134.42857845669445</c:v>
                </c:pt>
                <c:pt idx="2288">
                  <c:v>131.48107150763781</c:v>
                </c:pt>
                <c:pt idx="2289">
                  <c:v>130.2327011536664</c:v>
                </c:pt>
                <c:pt idx="2290">
                  <c:v>131.35992423683371</c:v>
                </c:pt>
                <c:pt idx="2291">
                  <c:v>131.13146631244928</c:v>
                </c:pt>
                <c:pt idx="2292">
                  <c:v>132.48991464344579</c:v>
                </c:pt>
                <c:pt idx="2293">
                  <c:v>131.6913880894399</c:v>
                </c:pt>
                <c:pt idx="2294">
                  <c:v>133.59130937446193</c:v>
                </c:pt>
                <c:pt idx="2295">
                  <c:v>129.7576439623152</c:v>
                </c:pt>
                <c:pt idx="2296">
                  <c:v>128.59106339015571</c:v>
                </c:pt>
                <c:pt idx="2297">
                  <c:v>130.74957567707182</c:v>
                </c:pt>
                <c:pt idx="2298">
                  <c:v>130.85750129141761</c:v>
                </c:pt>
                <c:pt idx="2299">
                  <c:v>132.18950630949746</c:v>
                </c:pt>
                <c:pt idx="2300">
                  <c:v>132.42934100804371</c:v>
                </c:pt>
                <c:pt idx="2301">
                  <c:v>133.4163530366763</c:v>
                </c:pt>
                <c:pt idx="2302">
                  <c:v>134.01225001844881</c:v>
                </c:pt>
                <c:pt idx="2303">
                  <c:v>132.50774850564534</c:v>
                </c:pt>
                <c:pt idx="2304">
                  <c:v>133.34255774481588</c:v>
                </c:pt>
                <c:pt idx="2305">
                  <c:v>136.14401151206553</c:v>
                </c:pt>
                <c:pt idx="2306">
                  <c:v>135.90233193122279</c:v>
                </c:pt>
                <c:pt idx="2307">
                  <c:v>135.76550316089833</c:v>
                </c:pt>
                <c:pt idx="2308">
                  <c:v>135.19389712936317</c:v>
                </c:pt>
                <c:pt idx="2309">
                  <c:v>135.73075787764742</c:v>
                </c:pt>
                <c:pt idx="2310">
                  <c:v>137.68325830811995</c:v>
                </c:pt>
                <c:pt idx="2311">
                  <c:v>136.34141391779204</c:v>
                </c:pt>
                <c:pt idx="2312">
                  <c:v>136.30728359530661</c:v>
                </c:pt>
                <c:pt idx="2313">
                  <c:v>136.98989004501513</c:v>
                </c:pt>
                <c:pt idx="2314">
                  <c:v>134.70254347772615</c:v>
                </c:pt>
                <c:pt idx="2315">
                  <c:v>135.79071655228398</c:v>
                </c:pt>
                <c:pt idx="2316">
                  <c:v>135.92047327380513</c:v>
                </c:pt>
                <c:pt idx="2317">
                  <c:v>132.27529333628516</c:v>
                </c:pt>
                <c:pt idx="2318">
                  <c:v>129.85819004747498</c:v>
                </c:pt>
                <c:pt idx="2319">
                  <c:v>129.09133397289253</c:v>
                </c:pt>
                <c:pt idx="2320">
                  <c:v>128.44593264949697</c:v>
                </c:pt>
                <c:pt idx="2321">
                  <c:v>128.16920030502055</c:v>
                </c:pt>
                <c:pt idx="2322">
                  <c:v>126.93374412712468</c:v>
                </c:pt>
                <c:pt idx="2323">
                  <c:v>124.77738420288786</c:v>
                </c:pt>
                <c:pt idx="2324">
                  <c:v>125.46398789757214</c:v>
                </c:pt>
                <c:pt idx="2325">
                  <c:v>126.19025656163137</c:v>
                </c:pt>
                <c:pt idx="2326">
                  <c:v>127.87340417681352</c:v>
                </c:pt>
                <c:pt idx="2327">
                  <c:v>126.85103190416453</c:v>
                </c:pt>
                <c:pt idx="2328">
                  <c:v>122.2649619954247</c:v>
                </c:pt>
                <c:pt idx="2329">
                  <c:v>118.71417853540945</c:v>
                </c:pt>
                <c:pt idx="2330">
                  <c:v>119.76852876786462</c:v>
                </c:pt>
                <c:pt idx="2331">
                  <c:v>120.22759697931272</c:v>
                </c:pt>
                <c:pt idx="2332">
                  <c:v>120.8247238826163</c:v>
                </c:pt>
                <c:pt idx="2333">
                  <c:v>120.43391631613903</c:v>
                </c:pt>
                <c:pt idx="2334">
                  <c:v>120.12582097262195</c:v>
                </c:pt>
                <c:pt idx="2335">
                  <c:v>120.47235136398298</c:v>
                </c:pt>
                <c:pt idx="2336">
                  <c:v>122.66007428726049</c:v>
                </c:pt>
                <c:pt idx="2337">
                  <c:v>123.88722849482204</c:v>
                </c:pt>
                <c:pt idx="2338">
                  <c:v>124.37673726416256</c:v>
                </c:pt>
                <c:pt idx="2339">
                  <c:v>123.928123385728</c:v>
                </c:pt>
                <c:pt idx="2340">
                  <c:v>124.31216638378473</c:v>
                </c:pt>
                <c:pt idx="2341">
                  <c:v>122.64839003271592</c:v>
                </c:pt>
                <c:pt idx="2342">
                  <c:v>123.32054214941087</c:v>
                </c:pt>
                <c:pt idx="2343">
                  <c:v>120.59903328167664</c:v>
                </c:pt>
                <c:pt idx="2344">
                  <c:v>122.96755467001206</c:v>
                </c:pt>
                <c:pt idx="2345">
                  <c:v>122.85532433030774</c:v>
                </c:pt>
                <c:pt idx="2346">
                  <c:v>124.63071606031536</c:v>
                </c:pt>
                <c:pt idx="2347">
                  <c:v>126.85687403143679</c:v>
                </c:pt>
                <c:pt idx="2348">
                  <c:v>126.30863650899072</c:v>
                </c:pt>
                <c:pt idx="2349">
                  <c:v>128.35092121122673</c:v>
                </c:pt>
                <c:pt idx="2350">
                  <c:v>128.68392246574669</c:v>
                </c:pt>
                <c:pt idx="2351">
                  <c:v>127.94996679211867</c:v>
                </c:pt>
                <c:pt idx="2352">
                  <c:v>129.5445600570684</c:v>
                </c:pt>
                <c:pt idx="2353">
                  <c:v>129.31702457383219</c:v>
                </c:pt>
                <c:pt idx="2354">
                  <c:v>130.45869923498881</c:v>
                </c:pt>
                <c:pt idx="2355">
                  <c:v>128.60612992891055</c:v>
                </c:pt>
                <c:pt idx="2356">
                  <c:v>130.80369222443608</c:v>
                </c:pt>
                <c:pt idx="2357">
                  <c:v>131.8349814281849</c:v>
                </c:pt>
                <c:pt idx="2358">
                  <c:v>130.45254962733378</c:v>
                </c:pt>
                <c:pt idx="2359">
                  <c:v>129.25183873268887</c:v>
                </c:pt>
                <c:pt idx="2360">
                  <c:v>129.21094384178289</c:v>
                </c:pt>
                <c:pt idx="2361">
                  <c:v>130.07619363884587</c:v>
                </c:pt>
                <c:pt idx="2362">
                  <c:v>128.47114604088259</c:v>
                </c:pt>
                <c:pt idx="2363">
                  <c:v>129.67677662165153</c:v>
                </c:pt>
                <c:pt idx="2364">
                  <c:v>129.62850220155954</c:v>
                </c:pt>
                <c:pt idx="2365">
                  <c:v>130.49221459670875</c:v>
                </c:pt>
                <c:pt idx="2366">
                  <c:v>130.02115465033333</c:v>
                </c:pt>
                <c:pt idx="2367">
                  <c:v>130.93683123016751</c:v>
                </c:pt>
                <c:pt idx="2368">
                  <c:v>132.99418247115835</c:v>
                </c:pt>
                <c:pt idx="2369">
                  <c:v>132.29835436499152</c:v>
                </c:pt>
                <c:pt idx="2370">
                  <c:v>131.55209947605346</c:v>
                </c:pt>
                <c:pt idx="2371">
                  <c:v>130.53587681105947</c:v>
                </c:pt>
                <c:pt idx="2372">
                  <c:v>133.13131872186554</c:v>
                </c:pt>
                <c:pt idx="2373">
                  <c:v>134.5872383341943</c:v>
                </c:pt>
                <c:pt idx="2374">
                  <c:v>133.84036848449071</c:v>
                </c:pt>
                <c:pt idx="2375">
                  <c:v>135.40267630925149</c:v>
                </c:pt>
                <c:pt idx="2376">
                  <c:v>135.68063857525891</c:v>
                </c:pt>
                <c:pt idx="2377">
                  <c:v>133.0027919218754</c:v>
                </c:pt>
                <c:pt idx="2378">
                  <c:v>131.82329717364033</c:v>
                </c:pt>
                <c:pt idx="2379">
                  <c:v>133.56886330652102</c:v>
                </c:pt>
                <c:pt idx="2380">
                  <c:v>132.13016259562639</c:v>
                </c:pt>
                <c:pt idx="2381">
                  <c:v>129.7926967259489</c:v>
                </c:pt>
                <c:pt idx="2382">
                  <c:v>131.42295771529774</c:v>
                </c:pt>
                <c:pt idx="2383">
                  <c:v>132.35708311809708</c:v>
                </c:pt>
                <c:pt idx="2384">
                  <c:v>128.15505620741396</c:v>
                </c:pt>
                <c:pt idx="2385">
                  <c:v>125.61250092244116</c:v>
                </c:pt>
                <c:pt idx="2386">
                  <c:v>127.69106830984184</c:v>
                </c:pt>
                <c:pt idx="2387">
                  <c:v>127.39434974048656</c:v>
                </c:pt>
                <c:pt idx="2388">
                  <c:v>126.61796177403882</c:v>
                </c:pt>
                <c:pt idx="2389">
                  <c:v>121.70411777728582</c:v>
                </c:pt>
                <c:pt idx="2390">
                  <c:v>119.17386170762306</c:v>
                </c:pt>
                <c:pt idx="2391">
                  <c:v>116.07046220451136</c:v>
                </c:pt>
                <c:pt idx="2392">
                  <c:v>111.15661820775836</c:v>
                </c:pt>
                <c:pt idx="2393">
                  <c:v>120.79951049123066</c:v>
                </c:pt>
                <c:pt idx="2394">
                  <c:v>118.90358645118442</c:v>
                </c:pt>
                <c:pt idx="2395">
                  <c:v>120.5027919218754</c:v>
                </c:pt>
                <c:pt idx="2396">
                  <c:v>119.7267114358104</c:v>
                </c:pt>
                <c:pt idx="2397">
                  <c:v>114.37132560942612</c:v>
                </c:pt>
                <c:pt idx="2398">
                  <c:v>113.44949942193689</c:v>
                </c:pt>
                <c:pt idx="2399">
                  <c:v>115.27747029739503</c:v>
                </c:pt>
                <c:pt idx="2400">
                  <c:v>111.58555334169681</c:v>
                </c:pt>
                <c:pt idx="2401">
                  <c:v>109.23394337441272</c:v>
                </c:pt>
                <c:pt idx="2402">
                  <c:v>110.62313974368436</c:v>
                </c:pt>
                <c:pt idx="2403">
                  <c:v>109.52235997343371</c:v>
                </c:pt>
                <c:pt idx="2404">
                  <c:v>105.72989693257571</c:v>
                </c:pt>
                <c:pt idx="2405">
                  <c:v>108.03845964627457</c:v>
                </c:pt>
                <c:pt idx="2406">
                  <c:v>111.69932108331489</c:v>
                </c:pt>
                <c:pt idx="2407">
                  <c:v>111.9622168105675</c:v>
                </c:pt>
                <c:pt idx="2408">
                  <c:v>111.88442427373134</c:v>
                </c:pt>
                <c:pt idx="2409">
                  <c:v>112.207893636386</c:v>
                </c:pt>
                <c:pt idx="2410">
                  <c:v>111.5455808919391</c:v>
                </c:pt>
                <c:pt idx="2411">
                  <c:v>113.17030723439845</c:v>
                </c:pt>
                <c:pt idx="2412">
                  <c:v>109.65549897916513</c:v>
                </c:pt>
                <c:pt idx="2413">
                  <c:v>107.88994662140556</c:v>
                </c:pt>
                <c:pt idx="2414">
                  <c:v>106.88202592674588</c:v>
                </c:pt>
                <c:pt idx="2415">
                  <c:v>109.86950532556024</c:v>
                </c:pt>
                <c:pt idx="2416">
                  <c:v>112.01848572061104</c:v>
                </c:pt>
                <c:pt idx="2417">
                  <c:v>112.35794406316877</c:v>
                </c:pt>
                <c:pt idx="2418">
                  <c:v>115.4650333308735</c:v>
                </c:pt>
                <c:pt idx="2419">
                  <c:v>116.54920916045558</c:v>
                </c:pt>
                <c:pt idx="2420">
                  <c:v>116.77612968292624</c:v>
                </c:pt>
                <c:pt idx="2421">
                  <c:v>117.33666642068236</c:v>
                </c:pt>
                <c:pt idx="2422">
                  <c:v>117.800039357489</c:v>
                </c:pt>
                <c:pt idx="2423">
                  <c:v>119.06655105404276</c:v>
                </c:pt>
                <c:pt idx="2424">
                  <c:v>117.53499126755713</c:v>
                </c:pt>
                <c:pt idx="2425">
                  <c:v>115.9997417164785</c:v>
                </c:pt>
                <c:pt idx="2426">
                  <c:v>114.58840675964875</c:v>
                </c:pt>
                <c:pt idx="2427">
                  <c:v>113.69548372813816</c:v>
                </c:pt>
                <c:pt idx="2428">
                  <c:v>115.48286719307309</c:v>
                </c:pt>
                <c:pt idx="2429">
                  <c:v>110.62529210636362</c:v>
                </c:pt>
                <c:pt idx="2430">
                  <c:v>111.05238235800557</c:v>
                </c:pt>
                <c:pt idx="2431">
                  <c:v>110.10934002410647</c:v>
                </c:pt>
                <c:pt idx="2432">
                  <c:v>111.3697021130052</c:v>
                </c:pt>
                <c:pt idx="2433">
                  <c:v>110.45556293508474</c:v>
                </c:pt>
                <c:pt idx="2434">
                  <c:v>114.33135315966842</c:v>
                </c:pt>
                <c:pt idx="2435">
                  <c:v>115.74914520453596</c:v>
                </c:pt>
                <c:pt idx="2436">
                  <c:v>117.38678572307087</c:v>
                </c:pt>
                <c:pt idx="2437">
                  <c:v>117.67704720438837</c:v>
                </c:pt>
                <c:pt idx="2438">
                  <c:v>117.74807517280398</c:v>
                </c:pt>
                <c:pt idx="2439">
                  <c:v>120.82995104912307</c:v>
                </c:pt>
                <c:pt idx="2440">
                  <c:v>121.39725235529974</c:v>
                </c:pt>
                <c:pt idx="2441">
                  <c:v>121.54976262514452</c:v>
                </c:pt>
                <c:pt idx="2442">
                  <c:v>119.75376970949254</c:v>
                </c:pt>
                <c:pt idx="2443">
                  <c:v>118.9958305660099</c:v>
                </c:pt>
                <c:pt idx="2444">
                  <c:v>118.334747743094</c:v>
                </c:pt>
                <c:pt idx="2445">
                  <c:v>119.08254003394585</c:v>
                </c:pt>
                <c:pt idx="2446">
                  <c:v>122.39441123656312</c:v>
                </c:pt>
                <c:pt idx="2447">
                  <c:v>122.26188719159718</c:v>
                </c:pt>
                <c:pt idx="2448">
                  <c:v>123.92627850343149</c:v>
                </c:pt>
                <c:pt idx="2449">
                  <c:v>124.88561729761642</c:v>
                </c:pt>
                <c:pt idx="2450">
                  <c:v>124.77215703638109</c:v>
                </c:pt>
                <c:pt idx="2451">
                  <c:v>124.96617715789733</c:v>
                </c:pt>
                <c:pt idx="2452">
                  <c:v>123.98408481538878</c:v>
                </c:pt>
                <c:pt idx="2453">
                  <c:v>128.84042998056725</c:v>
                </c:pt>
                <c:pt idx="2454">
                  <c:v>129.20848399872088</c:v>
                </c:pt>
                <c:pt idx="2455">
                  <c:v>128.60397756623129</c:v>
                </c:pt>
                <c:pt idx="2456">
                  <c:v>128.3232479767791</c:v>
                </c:pt>
                <c:pt idx="2457">
                  <c:v>128.27743339974913</c:v>
                </c:pt>
                <c:pt idx="2458">
                  <c:v>129.59560180060512</c:v>
                </c:pt>
                <c:pt idx="2459">
                  <c:v>126.95496027353455</c:v>
                </c:pt>
                <c:pt idx="2460">
                  <c:v>122.68836248247362</c:v>
                </c:pt>
                <c:pt idx="2461">
                  <c:v>122.35044154182964</c:v>
                </c:pt>
                <c:pt idx="2462">
                  <c:v>121.84402135143779</c:v>
                </c:pt>
                <c:pt idx="2463">
                  <c:v>122.66591641453276</c:v>
                </c:pt>
                <c:pt idx="2464">
                  <c:v>124.26389196369273</c:v>
                </c:pt>
                <c:pt idx="2465">
                  <c:v>123.733795783829</c:v>
                </c:pt>
                <c:pt idx="2466">
                  <c:v>122.0211300519027</c:v>
                </c:pt>
                <c:pt idx="2467">
                  <c:v>119.51332005018081</c:v>
                </c:pt>
                <c:pt idx="2468">
                  <c:v>120.0175878778934</c:v>
                </c:pt>
                <c:pt idx="2469">
                  <c:v>118.24065874597201</c:v>
                </c:pt>
                <c:pt idx="2470">
                  <c:v>116.82809386761126</c:v>
                </c:pt>
                <c:pt idx="2471">
                  <c:v>118.88298526554007</c:v>
                </c:pt>
                <c:pt idx="2472">
                  <c:v>119.45735862052003</c:v>
                </c:pt>
                <c:pt idx="2473">
                  <c:v>119.14034634590314</c:v>
                </c:pt>
                <c:pt idx="2474">
                  <c:v>119.42199837650358</c:v>
                </c:pt>
                <c:pt idx="2475">
                  <c:v>123.76085405751114</c:v>
                </c:pt>
                <c:pt idx="2476">
                  <c:v>123.80666863454113</c:v>
                </c:pt>
                <c:pt idx="2477">
                  <c:v>125.21431382677785</c:v>
                </c:pt>
                <c:pt idx="2478">
                  <c:v>125.62756746119598</c:v>
                </c:pt>
                <c:pt idx="2479">
                  <c:v>123.59050992546676</c:v>
                </c:pt>
                <c:pt idx="2480">
                  <c:v>125.05534646889529</c:v>
                </c:pt>
                <c:pt idx="2481">
                  <c:v>126.29510737214966</c:v>
                </c:pt>
                <c:pt idx="2482">
                  <c:v>125.97778761715006</c:v>
                </c:pt>
                <c:pt idx="2483">
                  <c:v>128.22024204855731</c:v>
                </c:pt>
                <c:pt idx="2484">
                  <c:v>129.24968637000961</c:v>
                </c:pt>
                <c:pt idx="2485">
                  <c:v>129.37206356234472</c:v>
                </c:pt>
                <c:pt idx="2486">
                  <c:v>129.1002509039923</c:v>
                </c:pt>
                <c:pt idx="2487">
                  <c:v>128.20517550980247</c:v>
                </c:pt>
                <c:pt idx="2488">
                  <c:v>130.29019998524097</c:v>
                </c:pt>
                <c:pt idx="2489">
                  <c:v>130.12938774506188</c:v>
                </c:pt>
                <c:pt idx="2490">
                  <c:v>131.00447691437287</c:v>
                </c:pt>
                <c:pt idx="2491">
                  <c:v>130.18811649816743</c:v>
                </c:pt>
                <c:pt idx="2492">
                  <c:v>133.03446240129881</c:v>
                </c:pt>
                <c:pt idx="2493">
                  <c:v>132.41335202814059</c:v>
                </c:pt>
                <c:pt idx="2494">
                  <c:v>132.86104346542692</c:v>
                </c:pt>
                <c:pt idx="2495">
                  <c:v>132.68977689223431</c:v>
                </c:pt>
                <c:pt idx="2496">
                  <c:v>132.5461835534893</c:v>
                </c:pt>
                <c:pt idx="2497">
                  <c:v>133.16637148549924</c:v>
                </c:pt>
                <c:pt idx="2498">
                  <c:v>131.80915307603377</c:v>
                </c:pt>
                <c:pt idx="2499">
                  <c:v>135.11333726908225</c:v>
                </c:pt>
                <c:pt idx="2500">
                  <c:v>136.29252453693456</c:v>
                </c:pt>
                <c:pt idx="2501">
                  <c:v>136.69009667183235</c:v>
                </c:pt>
                <c:pt idx="2502">
                  <c:v>136.58155609672104</c:v>
                </c:pt>
                <c:pt idx="2503">
                  <c:v>136.68640690723933</c:v>
                </c:pt>
                <c:pt idx="2504">
                  <c:v>135.72829803458541</c:v>
                </c:pt>
                <c:pt idx="2505">
                  <c:v>138.93193614247411</c:v>
                </c:pt>
                <c:pt idx="2506">
                  <c:v>139.87651587828697</c:v>
                </c:pt>
                <c:pt idx="2507">
                  <c:v>139.27047204388361</c:v>
                </c:pt>
                <c:pt idx="2508">
                  <c:v>139.26462991661134</c:v>
                </c:pt>
                <c:pt idx="2509">
                  <c:v>136.75558999335843</c:v>
                </c:pt>
                <c:pt idx="2510">
                  <c:v>139.00511647356899</c:v>
                </c:pt>
                <c:pt idx="2511">
                  <c:v>140.06653875482746</c:v>
                </c:pt>
                <c:pt idx="2512">
                  <c:v>138.85045384104495</c:v>
                </c:pt>
                <c:pt idx="2513">
                  <c:v>139.74675915676579</c:v>
                </c:pt>
                <c:pt idx="2514">
                  <c:v>138.38462106117632</c:v>
                </c:pt>
                <c:pt idx="2515">
                  <c:v>136.49761395222984</c:v>
                </c:pt>
                <c:pt idx="2516">
                  <c:v>138.26162890807569</c:v>
                </c:pt>
                <c:pt idx="2517">
                  <c:v>138.28868718175781</c:v>
                </c:pt>
                <c:pt idx="2518">
                  <c:v>138.40091752146213</c:v>
                </c:pt>
                <c:pt idx="2519">
                  <c:v>140.39216048016138</c:v>
                </c:pt>
                <c:pt idx="2520">
                  <c:v>139.79872334145082</c:v>
                </c:pt>
                <c:pt idx="2521">
                  <c:v>144.21967628465305</c:v>
                </c:pt>
                <c:pt idx="2522">
                  <c:v>142.8750645708804</c:v>
                </c:pt>
                <c:pt idx="2523">
                  <c:v>141.53629498438002</c:v>
                </c:pt>
                <c:pt idx="2524">
                  <c:v>142.45135660344869</c:v>
                </c:pt>
                <c:pt idx="2525">
                  <c:v>139.31720906206186</c:v>
                </c:pt>
                <c:pt idx="2526">
                  <c:v>139.04016923720266</c:v>
                </c:pt>
                <c:pt idx="2527">
                  <c:v>138.81140383243547</c:v>
                </c:pt>
                <c:pt idx="2528">
                  <c:v>138.80556170516323</c:v>
                </c:pt>
                <c:pt idx="2529">
                  <c:v>135.12994120975083</c:v>
                </c:pt>
                <c:pt idx="2530">
                  <c:v>135.76488820013282</c:v>
                </c:pt>
                <c:pt idx="2531">
                  <c:v>138.31543797505722</c:v>
                </c:pt>
                <c:pt idx="2532">
                  <c:v>138.04393279708756</c:v>
                </c:pt>
                <c:pt idx="2533">
                  <c:v>136.58832066514157</c:v>
                </c:pt>
                <c:pt idx="2534">
                  <c:v>132.76633950753944</c:v>
                </c:pt>
                <c:pt idx="2535">
                  <c:v>133.72045113521759</c:v>
                </c:pt>
                <c:pt idx="2536">
                  <c:v>134.21334218876834</c:v>
                </c:pt>
                <c:pt idx="2537">
                  <c:v>132.07358620520014</c:v>
                </c:pt>
                <c:pt idx="2538">
                  <c:v>128.62519371264113</c:v>
                </c:pt>
                <c:pt idx="2539">
                  <c:v>127.78884707155684</c:v>
                </c:pt>
                <c:pt idx="2540">
                  <c:v>130.82798317467348</c:v>
                </c:pt>
                <c:pt idx="2541">
                  <c:v>134.05099254667553</c:v>
                </c:pt>
                <c:pt idx="2542">
                  <c:v>135.86112955993408</c:v>
                </c:pt>
                <c:pt idx="2543">
                  <c:v>135.10288293606868</c:v>
                </c:pt>
                <c:pt idx="2544">
                  <c:v>136.92378176272354</c:v>
                </c:pt>
                <c:pt idx="2545">
                  <c:v>136.14431899244829</c:v>
                </c:pt>
                <c:pt idx="2546">
                  <c:v>136.21934420583969</c:v>
                </c:pt>
                <c:pt idx="2547">
                  <c:v>136.82538804024307</c:v>
                </c:pt>
                <c:pt idx="2548">
                  <c:v>138.94239047548768</c:v>
                </c:pt>
                <c:pt idx="2549">
                  <c:v>139.24587361326346</c:v>
                </c:pt>
                <c:pt idx="2550">
                  <c:v>138.08267532531426</c:v>
                </c:pt>
                <c:pt idx="2551">
                  <c:v>137.20727867562053</c:v>
                </c:pt>
                <c:pt idx="2552">
                  <c:v>136.12433276756943</c:v>
                </c:pt>
                <c:pt idx="2553">
                  <c:v>136.56710451873172</c:v>
                </c:pt>
                <c:pt idx="2554">
                  <c:v>138.27792536836151</c:v>
                </c:pt>
                <c:pt idx="2555">
                  <c:v>138.05715445354588</c:v>
                </c:pt>
                <c:pt idx="2556">
                  <c:v>137.91571347748015</c:v>
                </c:pt>
                <c:pt idx="2557">
                  <c:v>138.32650726883625</c:v>
                </c:pt>
                <c:pt idx="2558">
                  <c:v>137.49877007846899</c:v>
                </c:pt>
                <c:pt idx="2559">
                  <c:v>137.58886183061523</c:v>
                </c:pt>
                <c:pt idx="2560">
                  <c:v>138.05930681622516</c:v>
                </c:pt>
                <c:pt idx="2561">
                  <c:v>137.76320320763537</c:v>
                </c:pt>
                <c:pt idx="2562">
                  <c:v>138.51437778269747</c:v>
                </c:pt>
                <c:pt idx="2563">
                  <c:v>139.01218852237227</c:v>
                </c:pt>
                <c:pt idx="2564">
                  <c:v>139.82086192900897</c:v>
                </c:pt>
                <c:pt idx="2565">
                  <c:v>138.07375839421445</c:v>
                </c:pt>
                <c:pt idx="2566">
                  <c:v>137.42343738469486</c:v>
                </c:pt>
                <c:pt idx="2567">
                  <c:v>136.66980296657073</c:v>
                </c:pt>
                <c:pt idx="2568">
                  <c:v>135.02601284038079</c:v>
                </c:pt>
                <c:pt idx="2569">
                  <c:v>136.61599389958923</c:v>
                </c:pt>
                <c:pt idx="2570">
                  <c:v>139.84054067350505</c:v>
                </c:pt>
                <c:pt idx="2571">
                  <c:v>141.86191670971391</c:v>
                </c:pt>
                <c:pt idx="2572">
                  <c:v>142.00089784271765</c:v>
                </c:pt>
                <c:pt idx="2573">
                  <c:v>141.39454652793154</c:v>
                </c:pt>
                <c:pt idx="2574">
                  <c:v>143.83317344353432</c:v>
                </c:pt>
                <c:pt idx="2575">
                  <c:v>142.95777679384057</c:v>
                </c:pt>
                <c:pt idx="2576">
                  <c:v>140.42905812609158</c:v>
                </c:pt>
                <c:pt idx="2577">
                  <c:v>143.20345361965909</c:v>
                </c:pt>
                <c:pt idx="2578">
                  <c:v>144.57389368558287</c:v>
                </c:pt>
                <c:pt idx="2579">
                  <c:v>143.56043834403366</c:v>
                </c:pt>
                <c:pt idx="2580">
                  <c:v>145.03019457358619</c:v>
                </c:pt>
                <c:pt idx="2581">
                  <c:v>145.6393132118171</c:v>
                </c:pt>
                <c:pt idx="2582">
                  <c:v>143.27048434309893</c:v>
                </c:pt>
                <c:pt idx="2583">
                  <c:v>143.9736919784518</c:v>
                </c:pt>
                <c:pt idx="2584">
                  <c:v>147.04234619831254</c:v>
                </c:pt>
                <c:pt idx="2585">
                  <c:v>147.53369984994956</c:v>
                </c:pt>
                <c:pt idx="2586">
                  <c:v>145.80658254003393</c:v>
                </c:pt>
                <c:pt idx="2587">
                  <c:v>145.35673874006841</c:v>
                </c:pt>
                <c:pt idx="2588">
                  <c:v>146.66722013135563</c:v>
                </c:pt>
                <c:pt idx="2589">
                  <c:v>147.97124443460507</c:v>
                </c:pt>
                <c:pt idx="2590">
                  <c:v>147.7996703810297</c:v>
                </c:pt>
                <c:pt idx="2591">
                  <c:v>146.40924409022705</c:v>
                </c:pt>
                <c:pt idx="2592">
                  <c:v>146.49072639165621</c:v>
                </c:pt>
                <c:pt idx="2593">
                  <c:v>146.03073573905988</c:v>
                </c:pt>
                <c:pt idx="2594">
                  <c:v>146.82219024426243</c:v>
                </c:pt>
                <c:pt idx="2595">
                  <c:v>147.53892701645637</c:v>
                </c:pt>
                <c:pt idx="2596">
                  <c:v>148.46475044892136</c:v>
                </c:pt>
                <c:pt idx="2597">
                  <c:v>149.07571396944877</c:v>
                </c:pt>
                <c:pt idx="2598">
                  <c:v>147.46912896957176</c:v>
                </c:pt>
                <c:pt idx="2599">
                  <c:v>146.84340639067227</c:v>
                </c:pt>
                <c:pt idx="2600">
                  <c:v>146.03842274862868</c:v>
                </c:pt>
                <c:pt idx="2601">
                  <c:v>145.48741790273783</c:v>
                </c:pt>
                <c:pt idx="2602">
                  <c:v>146.81265835239714</c:v>
                </c:pt>
                <c:pt idx="2603">
                  <c:v>148.70058790249186</c:v>
                </c:pt>
                <c:pt idx="2604">
                  <c:v>147.92604481834059</c:v>
                </c:pt>
                <c:pt idx="2605">
                  <c:v>147.5041817332054</c:v>
                </c:pt>
                <c:pt idx="2606">
                  <c:v>148.65661820775836</c:v>
                </c:pt>
                <c:pt idx="2607">
                  <c:v>148.29256143458048</c:v>
                </c:pt>
                <c:pt idx="2608">
                  <c:v>147.88883969202766</c:v>
                </c:pt>
                <c:pt idx="2609">
                  <c:v>147.24712813322512</c:v>
                </c:pt>
                <c:pt idx="2610">
                  <c:v>147.1868619782058</c:v>
                </c:pt>
                <c:pt idx="2611">
                  <c:v>144.18062627604363</c:v>
                </c:pt>
                <c:pt idx="2612">
                  <c:v>143.36672570290017</c:v>
                </c:pt>
                <c:pt idx="2613">
                  <c:v>143.21114062922786</c:v>
                </c:pt>
                <c:pt idx="2614">
                  <c:v>139.89373477972106</c:v>
                </c:pt>
                <c:pt idx="2615">
                  <c:v>137.3115145253733</c:v>
                </c:pt>
                <c:pt idx="2616">
                  <c:v>140.88566649447765</c:v>
                </c:pt>
                <c:pt idx="2617">
                  <c:v>142.33020933264459</c:v>
                </c:pt>
                <c:pt idx="2618">
                  <c:v>145.28940053624581</c:v>
                </c:pt>
                <c:pt idx="2619">
                  <c:v>145.31030920227292</c:v>
                </c:pt>
                <c:pt idx="2620">
                  <c:v>145.15533908936609</c:v>
                </c:pt>
                <c:pt idx="2621">
                  <c:v>147.36304823752246</c:v>
                </c:pt>
                <c:pt idx="2622">
                  <c:v>146.93934027009078</c:v>
                </c:pt>
                <c:pt idx="2623">
                  <c:v>146.66722013135563</c:v>
                </c:pt>
                <c:pt idx="2624">
                  <c:v>146.46366811797409</c:v>
                </c:pt>
                <c:pt idx="2625">
                  <c:v>147.86731606523506</c:v>
                </c:pt>
                <c:pt idx="2626">
                  <c:v>147.46082699923747</c:v>
                </c:pt>
                <c:pt idx="2627">
                  <c:v>149.23006912159005</c:v>
                </c:pt>
                <c:pt idx="2628">
                  <c:v>150.32838904877869</c:v>
                </c:pt>
                <c:pt idx="2629">
                  <c:v>150.37481858657418</c:v>
                </c:pt>
                <c:pt idx="2630">
                  <c:v>152.23261505915923</c:v>
                </c:pt>
                <c:pt idx="2631">
                  <c:v>151.24345066784741</c:v>
                </c:pt>
                <c:pt idx="2632">
                  <c:v>153.30879639878978</c:v>
                </c:pt>
                <c:pt idx="2633">
                  <c:v>153.14337195286942</c:v>
                </c:pt>
                <c:pt idx="2634">
                  <c:v>150.94119745160259</c:v>
                </c:pt>
                <c:pt idx="2635">
                  <c:v>152.15144023811283</c:v>
                </c:pt>
                <c:pt idx="2636">
                  <c:v>151.0586549578137</c:v>
                </c:pt>
                <c:pt idx="2637">
                  <c:v>151.05281283054143</c:v>
                </c:pt>
                <c:pt idx="2638">
                  <c:v>146.35604998401104</c:v>
                </c:pt>
                <c:pt idx="2639">
                  <c:v>148.2104641723858</c:v>
                </c:pt>
                <c:pt idx="2640">
                  <c:v>152.91122426389197</c:v>
                </c:pt>
                <c:pt idx="2641">
                  <c:v>154.35361473937965</c:v>
                </c:pt>
                <c:pt idx="2642">
                  <c:v>155.4085799326003</c:v>
                </c:pt>
                <c:pt idx="2643">
                  <c:v>156.15514230192116</c:v>
                </c:pt>
                <c:pt idx="2644">
                  <c:v>158.5679408653728</c:v>
                </c:pt>
                <c:pt idx="2645">
                  <c:v>159.26007920694661</c:v>
                </c:pt>
                <c:pt idx="2646">
                  <c:v>160.00571913511922</c:v>
                </c:pt>
                <c:pt idx="2647">
                  <c:v>158.6924704203872</c:v>
                </c:pt>
                <c:pt idx="2648">
                  <c:v>156.97703736501614</c:v>
                </c:pt>
                <c:pt idx="2649">
                  <c:v>153.80537721693358</c:v>
                </c:pt>
                <c:pt idx="2650">
                  <c:v>154.77332546183555</c:v>
                </c:pt>
                <c:pt idx="2651">
                  <c:v>151.72342754532261</c:v>
                </c:pt>
                <c:pt idx="2652">
                  <c:v>154.07288514992746</c:v>
                </c:pt>
                <c:pt idx="2653">
                  <c:v>153.98740560352252</c:v>
                </c:pt>
                <c:pt idx="2654">
                  <c:v>151.87255553095713</c:v>
                </c:pt>
                <c:pt idx="2655">
                  <c:v>151.28803532334638</c:v>
                </c:pt>
                <c:pt idx="2656">
                  <c:v>151.50819127739652</c:v>
                </c:pt>
                <c:pt idx="2657">
                  <c:v>149.24513566034489</c:v>
                </c:pt>
                <c:pt idx="2658">
                  <c:v>150.70105527267361</c:v>
                </c:pt>
                <c:pt idx="2659">
                  <c:v>151.68407005633043</c:v>
                </c:pt>
                <c:pt idx="2660">
                  <c:v>150.51994932723295</c:v>
                </c:pt>
                <c:pt idx="2661">
                  <c:v>146.69520084618603</c:v>
                </c:pt>
                <c:pt idx="2662">
                  <c:v>147.87254323174182</c:v>
                </c:pt>
                <c:pt idx="2663">
                  <c:v>148.62894497331072</c:v>
                </c:pt>
                <c:pt idx="2664">
                  <c:v>148.85463557425035</c:v>
                </c:pt>
                <c:pt idx="2665">
                  <c:v>151.58444641231893</c:v>
                </c:pt>
                <c:pt idx="2666">
                  <c:v>151.56169286399526</c:v>
                </c:pt>
                <c:pt idx="2667">
                  <c:v>154.00431702457385</c:v>
                </c:pt>
                <c:pt idx="2668">
                  <c:v>153.11877352224928</c:v>
                </c:pt>
                <c:pt idx="2669">
                  <c:v>151.16196836641822</c:v>
                </c:pt>
                <c:pt idx="2670">
                  <c:v>151.91560278454236</c:v>
                </c:pt>
                <c:pt idx="2671">
                  <c:v>151.47867316065236</c:v>
                </c:pt>
                <c:pt idx="2672">
                  <c:v>152.1280717290237</c:v>
                </c:pt>
                <c:pt idx="2673">
                  <c:v>149.81120704499054</c:v>
                </c:pt>
                <c:pt idx="2674">
                  <c:v>150.35852212628836</c:v>
                </c:pt>
                <c:pt idx="2675">
                  <c:v>146.86001033134087</c:v>
                </c:pt>
                <c:pt idx="2676">
                  <c:v>147.38764666814257</c:v>
                </c:pt>
                <c:pt idx="2677">
                  <c:v>149.56245541534452</c:v>
                </c:pt>
                <c:pt idx="2678">
                  <c:v>146.0559491304455</c:v>
                </c:pt>
                <c:pt idx="2679">
                  <c:v>143.93002976410105</c:v>
                </c:pt>
                <c:pt idx="2680">
                  <c:v>145.84225026443315</c:v>
                </c:pt>
                <c:pt idx="2681">
                  <c:v>145.19500405874106</c:v>
                </c:pt>
                <c:pt idx="2682">
                  <c:v>147.92051017145104</c:v>
                </c:pt>
                <c:pt idx="2683">
                  <c:v>147.70804122696973</c:v>
                </c:pt>
                <c:pt idx="2684">
                  <c:v>142.77728580916539</c:v>
                </c:pt>
                <c:pt idx="2685">
                  <c:v>142.76652399576906</c:v>
                </c:pt>
                <c:pt idx="2686">
                  <c:v>143.96631244926576</c:v>
                </c:pt>
                <c:pt idx="2687">
                  <c:v>145.48465057929306</c:v>
                </c:pt>
                <c:pt idx="2688">
                  <c:v>148.29409883649424</c:v>
                </c:pt>
                <c:pt idx="2689">
                  <c:v>151.05342779130692</c:v>
                </c:pt>
                <c:pt idx="2690">
                  <c:v>152.00046737018178</c:v>
                </c:pt>
                <c:pt idx="2691">
                  <c:v>152.64002656630507</c:v>
                </c:pt>
                <c:pt idx="2692">
                  <c:v>152.21939340270092</c:v>
                </c:pt>
                <c:pt idx="2693">
                  <c:v>150.14789806410352</c:v>
                </c:pt>
                <c:pt idx="2694">
                  <c:v>151.42732393673285</c:v>
                </c:pt>
                <c:pt idx="2695">
                  <c:v>149.14581949671611</c:v>
                </c:pt>
                <c:pt idx="2696">
                  <c:v>144.36388458416357</c:v>
                </c:pt>
                <c:pt idx="2697">
                  <c:v>143.34827687993507</c:v>
                </c:pt>
                <c:pt idx="2698">
                  <c:v>146.14173615723317</c:v>
                </c:pt>
                <c:pt idx="2699">
                  <c:v>144.89982289129955</c:v>
                </c:pt>
                <c:pt idx="2700">
                  <c:v>144.21352667699801</c:v>
                </c:pt>
                <c:pt idx="2701">
                  <c:v>140.7159373231988</c:v>
                </c:pt>
                <c:pt idx="2702">
                  <c:v>143.51462376700366</c:v>
                </c:pt>
                <c:pt idx="2703">
                  <c:v>145.4354537180528</c:v>
                </c:pt>
                <c:pt idx="2704">
                  <c:v>148.82726982018548</c:v>
                </c:pt>
                <c:pt idx="2705">
                  <c:v>149.51448847563526</c:v>
                </c:pt>
                <c:pt idx="2706">
                  <c:v>148.85125329004009</c:v>
                </c:pt>
                <c:pt idx="2707">
                  <c:v>149.76293262489853</c:v>
                </c:pt>
                <c:pt idx="2708">
                  <c:v>147.05710525668462</c:v>
                </c:pt>
                <c:pt idx="2709">
                  <c:v>146.26503579071658</c:v>
                </c:pt>
                <c:pt idx="2710">
                  <c:v>145.93326445772763</c:v>
                </c:pt>
                <c:pt idx="2711">
                  <c:v>142.52115465033333</c:v>
                </c:pt>
                <c:pt idx="2712">
                  <c:v>140.08990726391659</c:v>
                </c:pt>
                <c:pt idx="2713">
                  <c:v>138.15524069564364</c:v>
                </c:pt>
                <c:pt idx="2714">
                  <c:v>132.09695471428921</c:v>
                </c:pt>
                <c:pt idx="2715">
                  <c:v>130.03314638526064</c:v>
                </c:pt>
                <c:pt idx="2716">
                  <c:v>124.73802671389566</c:v>
                </c:pt>
                <c:pt idx="2717">
                  <c:v>126.70836100656777</c:v>
                </c:pt>
                <c:pt idx="2718">
                  <c:v>121.66445280791086</c:v>
                </c:pt>
                <c:pt idx="2719">
                  <c:v>125.48920128895777</c:v>
                </c:pt>
                <c:pt idx="2720">
                  <c:v>129.60390377093941</c:v>
                </c:pt>
                <c:pt idx="2721">
                  <c:v>131.87649127985634</c:v>
                </c:pt>
                <c:pt idx="2722">
                  <c:v>131.33378840429981</c:v>
                </c:pt>
                <c:pt idx="2723">
                  <c:v>132.17259488844613</c:v>
                </c:pt>
                <c:pt idx="2724">
                  <c:v>124.74017907657492</c:v>
                </c:pt>
                <c:pt idx="2725">
                  <c:v>123.63847686517602</c:v>
                </c:pt>
                <c:pt idx="2726">
                  <c:v>124.28295574742333</c:v>
                </c:pt>
                <c:pt idx="2727">
                  <c:v>125.3563697636091</c:v>
                </c:pt>
                <c:pt idx="2728">
                  <c:v>127.2544461663346</c:v>
                </c:pt>
                <c:pt idx="2729">
                  <c:v>125.17157405357538</c:v>
                </c:pt>
                <c:pt idx="2730">
                  <c:v>124.39672348904141</c:v>
                </c:pt>
                <c:pt idx="2731">
                  <c:v>127.38881509359703</c:v>
                </c:pt>
                <c:pt idx="2732">
                  <c:v>127.85526283423118</c:v>
                </c:pt>
                <c:pt idx="2733">
                  <c:v>131.31257225788997</c:v>
                </c:pt>
                <c:pt idx="2734">
                  <c:v>130.78862568568127</c:v>
                </c:pt>
                <c:pt idx="2735">
                  <c:v>127.22585049073868</c:v>
                </c:pt>
                <c:pt idx="2736">
                  <c:v>121.10545347206849</c:v>
                </c:pt>
                <c:pt idx="2737">
                  <c:v>119.76606892480261</c:v>
                </c:pt>
                <c:pt idx="2738">
                  <c:v>123.5573020441296</c:v>
                </c:pt>
                <c:pt idx="2739">
                  <c:v>124.17011044695349</c:v>
                </c:pt>
                <c:pt idx="2740">
                  <c:v>118.48848793446979</c:v>
                </c:pt>
                <c:pt idx="2741">
                  <c:v>114.6788059921777</c:v>
                </c:pt>
                <c:pt idx="2742">
                  <c:v>116.28938823703048</c:v>
                </c:pt>
                <c:pt idx="2743">
                  <c:v>117.98575750867096</c:v>
                </c:pt>
                <c:pt idx="2744">
                  <c:v>121.92827097631172</c:v>
                </c:pt>
                <c:pt idx="2745">
                  <c:v>122.10845448060415</c:v>
                </c:pt>
                <c:pt idx="2746">
                  <c:v>117.92456891250339</c:v>
                </c:pt>
                <c:pt idx="2747">
                  <c:v>121.03135069982535</c:v>
                </c:pt>
                <c:pt idx="2748">
                  <c:v>118.82579391434827</c:v>
                </c:pt>
                <c:pt idx="2749">
                  <c:v>111.43119818955552</c:v>
                </c:pt>
                <c:pt idx="2750">
                  <c:v>112.58609450717044</c:v>
                </c:pt>
                <c:pt idx="2751">
                  <c:v>114.32212874818588</c:v>
                </c:pt>
                <c:pt idx="2752">
                  <c:v>120.75492583573168</c:v>
                </c:pt>
                <c:pt idx="2753">
                  <c:v>119.11144318992449</c:v>
                </c:pt>
                <c:pt idx="2754">
                  <c:v>120.28878557548029</c:v>
                </c:pt>
                <c:pt idx="2755">
                  <c:v>116.89912183602686</c:v>
                </c:pt>
                <c:pt idx="2756">
                  <c:v>114.31136693478958</c:v>
                </c:pt>
                <c:pt idx="2757">
                  <c:v>111.24670995990456</c:v>
                </c:pt>
                <c:pt idx="2758">
                  <c:v>114.96322534622291</c:v>
                </c:pt>
                <c:pt idx="2759">
                  <c:v>118.92603251912529</c:v>
                </c:pt>
                <c:pt idx="2760">
                  <c:v>120.58765650751482</c:v>
                </c:pt>
                <c:pt idx="2761">
                  <c:v>124.12644823260277</c:v>
                </c:pt>
                <c:pt idx="2762">
                  <c:v>123.6264851302487</c:v>
                </c:pt>
                <c:pt idx="2763">
                  <c:v>127.11607999409638</c:v>
                </c:pt>
                <c:pt idx="2764">
                  <c:v>124.92774211005339</c:v>
                </c:pt>
                <c:pt idx="2765">
                  <c:v>127.45369345435763</c:v>
                </c:pt>
                <c:pt idx="2766">
                  <c:v>125.43139497700048</c:v>
                </c:pt>
                <c:pt idx="2767">
                  <c:v>124.21438762206972</c:v>
                </c:pt>
                <c:pt idx="2768">
                  <c:v>126.05896243819645</c:v>
                </c:pt>
                <c:pt idx="2769">
                  <c:v>123.24428701448848</c:v>
                </c:pt>
                <c:pt idx="2770">
                  <c:v>128.19564361793718</c:v>
                </c:pt>
                <c:pt idx="2771">
                  <c:v>129.6377266130421</c:v>
                </c:pt>
                <c:pt idx="2772">
                  <c:v>128.93820874228226</c:v>
                </c:pt>
                <c:pt idx="2773">
                  <c:v>128.46007674710356</c:v>
                </c:pt>
                <c:pt idx="2774">
                  <c:v>136.08774260202199</c:v>
                </c:pt>
                <c:pt idx="2775">
                  <c:v>136.19351585368855</c:v>
                </c:pt>
                <c:pt idx="2776">
                  <c:v>131.04752416795807</c:v>
                </c:pt>
                <c:pt idx="2777">
                  <c:v>124.17964233881879</c:v>
                </c:pt>
                <c:pt idx="2778">
                  <c:v>126.53401962954763</c:v>
                </c:pt>
                <c:pt idx="2779">
                  <c:v>128.53325707819843</c:v>
                </c:pt>
                <c:pt idx="2780">
                  <c:v>127.38850761321427</c:v>
                </c:pt>
                <c:pt idx="2781">
                  <c:v>126.71112833001256</c:v>
                </c:pt>
                <c:pt idx="2782">
                  <c:v>128.32478537869284</c:v>
                </c:pt>
                <c:pt idx="2783">
                  <c:v>124.11322657614446</c:v>
                </c:pt>
                <c:pt idx="2784">
                  <c:v>123.66830246230292</c:v>
                </c:pt>
                <c:pt idx="2785">
                  <c:v>127.96257348781147</c:v>
                </c:pt>
                <c:pt idx="2786">
                  <c:v>125.73364819324527</c:v>
                </c:pt>
                <c:pt idx="2787">
                  <c:v>123.98316237424054</c:v>
                </c:pt>
                <c:pt idx="2788">
                  <c:v>124.12798563451652</c:v>
                </c:pt>
                <c:pt idx="2789">
                  <c:v>122.41286005952821</c:v>
                </c:pt>
                <c:pt idx="2790">
                  <c:v>121.55529727203405</c:v>
                </c:pt>
                <c:pt idx="2791">
                  <c:v>117.2069096991612</c:v>
                </c:pt>
                <c:pt idx="2792">
                  <c:v>116.68480800924901</c:v>
                </c:pt>
                <c:pt idx="2793">
                  <c:v>113.96391410228028</c:v>
                </c:pt>
                <c:pt idx="2794">
                  <c:v>113.48424470518782</c:v>
                </c:pt>
                <c:pt idx="2795">
                  <c:v>113.84368927262442</c:v>
                </c:pt>
                <c:pt idx="2796">
                  <c:v>118.79719823875237</c:v>
                </c:pt>
                <c:pt idx="2797">
                  <c:v>119.56374683295206</c:v>
                </c:pt>
                <c:pt idx="2798">
                  <c:v>125.1340614468797</c:v>
                </c:pt>
                <c:pt idx="2799">
                  <c:v>124.40010577325168</c:v>
                </c:pt>
                <c:pt idx="2800">
                  <c:v>125.23675989471873</c:v>
                </c:pt>
                <c:pt idx="2801">
                  <c:v>126.62349642092838</c:v>
                </c:pt>
                <c:pt idx="2802">
                  <c:v>125.40741150714585</c:v>
                </c:pt>
                <c:pt idx="2803">
                  <c:v>125.25090399232529</c:v>
                </c:pt>
                <c:pt idx="2804">
                  <c:v>122.64500774850565</c:v>
                </c:pt>
                <c:pt idx="2805">
                  <c:v>124.58520896366812</c:v>
                </c:pt>
                <c:pt idx="2806">
                  <c:v>120.98584360317813</c:v>
                </c:pt>
                <c:pt idx="2807">
                  <c:v>120.50002459843063</c:v>
                </c:pt>
                <c:pt idx="2808">
                  <c:v>116.82348166186998</c:v>
                </c:pt>
                <c:pt idx="2809">
                  <c:v>118.36026861486238</c:v>
                </c:pt>
                <c:pt idx="2810">
                  <c:v>118.29200796989153</c:v>
                </c:pt>
                <c:pt idx="2811">
                  <c:v>118.09552800531327</c:v>
                </c:pt>
                <c:pt idx="2812">
                  <c:v>121.29024918210219</c:v>
                </c:pt>
                <c:pt idx="2813">
                  <c:v>120.11413671807739</c:v>
                </c:pt>
                <c:pt idx="2814">
                  <c:v>121.55929451700982</c:v>
                </c:pt>
                <c:pt idx="2815">
                  <c:v>122.35843603178118</c:v>
                </c:pt>
                <c:pt idx="2816">
                  <c:v>122.62871128821982</c:v>
                </c:pt>
                <c:pt idx="2817">
                  <c:v>120.65161242712716</c:v>
                </c:pt>
                <c:pt idx="2818">
                  <c:v>121.53315868447594</c:v>
                </c:pt>
                <c:pt idx="2819">
                  <c:v>123.20062480013776</c:v>
                </c:pt>
                <c:pt idx="2820">
                  <c:v>124.48804516271862</c:v>
                </c:pt>
                <c:pt idx="2821">
                  <c:v>127.11607999409638</c:v>
                </c:pt>
                <c:pt idx="2822">
                  <c:v>125.05196418468502</c:v>
                </c:pt>
                <c:pt idx="2823">
                  <c:v>122.84148771308391</c:v>
                </c:pt>
                <c:pt idx="2824">
                  <c:v>122.15119425380662</c:v>
                </c:pt>
                <c:pt idx="2825">
                  <c:v>121.81696307775564</c:v>
                </c:pt>
                <c:pt idx="2826">
                  <c:v>124.40963766511697</c:v>
                </c:pt>
                <c:pt idx="2827">
                  <c:v>122.99768774752171</c:v>
                </c:pt>
                <c:pt idx="2828">
                  <c:v>123.7248788527292</c:v>
                </c:pt>
                <c:pt idx="2829">
                  <c:v>122.28863798489657</c:v>
                </c:pt>
                <c:pt idx="2830">
                  <c:v>123.30885789486632</c:v>
                </c:pt>
                <c:pt idx="2831">
                  <c:v>124.98155117703492</c:v>
                </c:pt>
                <c:pt idx="2832">
                  <c:v>125.86217499323544</c:v>
                </c:pt>
                <c:pt idx="2833">
                  <c:v>128.09663493469117</c:v>
                </c:pt>
                <c:pt idx="2834">
                  <c:v>127.97794750694905</c:v>
                </c:pt>
                <c:pt idx="2835">
                  <c:v>129.86710697857478</c:v>
                </c:pt>
                <c:pt idx="2836">
                  <c:v>128.80045753080952</c:v>
                </c:pt>
                <c:pt idx="2837">
                  <c:v>128.17227510884805</c:v>
                </c:pt>
                <c:pt idx="2838">
                  <c:v>131.43156716601482</c:v>
                </c:pt>
                <c:pt idx="2839">
                  <c:v>129.89355029149141</c:v>
                </c:pt>
                <c:pt idx="2840">
                  <c:v>128.30879639878975</c:v>
                </c:pt>
                <c:pt idx="2841">
                  <c:v>128.97479890782969</c:v>
                </c:pt>
                <c:pt idx="2842">
                  <c:v>132.57846899367823</c:v>
                </c:pt>
                <c:pt idx="2843">
                  <c:v>132.55479300420635</c:v>
                </c:pt>
                <c:pt idx="2844">
                  <c:v>134.29144220598724</c:v>
                </c:pt>
                <c:pt idx="2845">
                  <c:v>133.68570585196665</c:v>
                </c:pt>
                <c:pt idx="2846">
                  <c:v>135.02601284038079</c:v>
                </c:pt>
                <c:pt idx="2847">
                  <c:v>134.88764666814259</c:v>
                </c:pt>
                <c:pt idx="2848">
                  <c:v>135.7270681130544</c:v>
                </c:pt>
                <c:pt idx="2849">
                  <c:v>133.35362703859494</c:v>
                </c:pt>
                <c:pt idx="2850">
                  <c:v>134.62905566624849</c:v>
                </c:pt>
                <c:pt idx="2851">
                  <c:v>133.47262194671981</c:v>
                </c:pt>
                <c:pt idx="2852">
                  <c:v>133.76934051607509</c:v>
                </c:pt>
                <c:pt idx="2853">
                  <c:v>133.64050623570219</c:v>
                </c:pt>
                <c:pt idx="2854">
                  <c:v>135.64404840971147</c:v>
                </c:pt>
                <c:pt idx="2855">
                  <c:v>137.79610360858979</c:v>
                </c:pt>
                <c:pt idx="2856">
                  <c:v>137.09904558089195</c:v>
                </c:pt>
                <c:pt idx="2857">
                  <c:v>135.73321772070943</c:v>
                </c:pt>
                <c:pt idx="2858">
                  <c:v>136.2617764986594</c:v>
                </c:pt>
                <c:pt idx="2859">
                  <c:v>138.0989717856001</c:v>
                </c:pt>
                <c:pt idx="2860">
                  <c:v>137.05384596462747</c:v>
                </c:pt>
                <c:pt idx="2861">
                  <c:v>137.56795316458812</c:v>
                </c:pt>
                <c:pt idx="2862">
                  <c:v>137.14332275600816</c:v>
                </c:pt>
                <c:pt idx="2863">
                  <c:v>138.08820997220377</c:v>
                </c:pt>
                <c:pt idx="2864">
                  <c:v>136.83707229478762</c:v>
                </c:pt>
                <c:pt idx="2865">
                  <c:v>136.30051902688609</c:v>
                </c:pt>
                <c:pt idx="2866">
                  <c:v>131.55794160332573</c:v>
                </c:pt>
                <c:pt idx="2867">
                  <c:v>132.46900597741865</c:v>
                </c:pt>
                <c:pt idx="2868">
                  <c:v>136.13201977713823</c:v>
                </c:pt>
                <c:pt idx="2869">
                  <c:v>135.22556760878655</c:v>
                </c:pt>
                <c:pt idx="2870">
                  <c:v>135.10442033798245</c:v>
                </c:pt>
                <c:pt idx="2871">
                  <c:v>137.15869677514573</c:v>
                </c:pt>
                <c:pt idx="2872">
                  <c:v>136.73437384694859</c:v>
                </c:pt>
                <c:pt idx="2873">
                  <c:v>137.57318033109487</c:v>
                </c:pt>
                <c:pt idx="2874">
                  <c:v>139.3537992276093</c:v>
                </c:pt>
                <c:pt idx="2875">
                  <c:v>139.96322534622291</c:v>
                </c:pt>
                <c:pt idx="2876">
                  <c:v>138.15585565640913</c:v>
                </c:pt>
                <c:pt idx="2877">
                  <c:v>137.72507564017414</c:v>
                </c:pt>
                <c:pt idx="2878">
                  <c:v>136.16492017809264</c:v>
                </c:pt>
                <c:pt idx="2879">
                  <c:v>136.9526849187022</c:v>
                </c:pt>
                <c:pt idx="2880">
                  <c:v>138.84184439032791</c:v>
                </c:pt>
                <c:pt idx="2881">
                  <c:v>138.16999975401569</c:v>
                </c:pt>
                <c:pt idx="2882">
                  <c:v>136.41428676850418</c:v>
                </c:pt>
                <c:pt idx="2883">
                  <c:v>134.59277298108381</c:v>
                </c:pt>
                <c:pt idx="2884">
                  <c:v>136.33649423166804</c:v>
                </c:pt>
                <c:pt idx="2885">
                  <c:v>138.27884780950976</c:v>
                </c:pt>
                <c:pt idx="2886">
                  <c:v>137.12026172730179</c:v>
                </c:pt>
                <c:pt idx="2887">
                  <c:v>132.0895751851032</c:v>
                </c:pt>
                <c:pt idx="2888">
                  <c:v>131.755651489435</c:v>
                </c:pt>
                <c:pt idx="2889">
                  <c:v>128.67316065235039</c:v>
                </c:pt>
                <c:pt idx="2890">
                  <c:v>130.01777236612304</c:v>
                </c:pt>
                <c:pt idx="2891">
                  <c:v>131.98318697267115</c:v>
                </c:pt>
                <c:pt idx="2892">
                  <c:v>129.13315130494675</c:v>
                </c:pt>
                <c:pt idx="2893">
                  <c:v>129.41080609057144</c:v>
                </c:pt>
                <c:pt idx="2894">
                  <c:v>132.83398519174477</c:v>
                </c:pt>
                <c:pt idx="2895">
                  <c:v>131.81161291909578</c:v>
                </c:pt>
                <c:pt idx="2896">
                  <c:v>131.39005731434335</c:v>
                </c:pt>
                <c:pt idx="2897">
                  <c:v>132.79831746734558</c:v>
                </c:pt>
                <c:pt idx="2898">
                  <c:v>129.01999852409418</c:v>
                </c:pt>
                <c:pt idx="2899">
                  <c:v>131.13238875359752</c:v>
                </c:pt>
                <c:pt idx="2900">
                  <c:v>132.31434334489461</c:v>
                </c:pt>
                <c:pt idx="2901">
                  <c:v>133.01755098024748</c:v>
                </c:pt>
                <c:pt idx="2902">
                  <c:v>134.29359456866652</c:v>
                </c:pt>
                <c:pt idx="2903">
                  <c:v>133.212493542912</c:v>
                </c:pt>
                <c:pt idx="2904">
                  <c:v>133.72444838019337</c:v>
                </c:pt>
                <c:pt idx="2905">
                  <c:v>132.47976779081498</c:v>
                </c:pt>
                <c:pt idx="2906">
                  <c:v>132.58984576784005</c:v>
                </c:pt>
                <c:pt idx="2907">
                  <c:v>130.0580522962635</c:v>
                </c:pt>
                <c:pt idx="2908">
                  <c:v>130.36215039480481</c:v>
                </c:pt>
                <c:pt idx="2909">
                  <c:v>127.71228445625169</c:v>
                </c:pt>
                <c:pt idx="2910">
                  <c:v>126.84272993383021</c:v>
                </c:pt>
                <c:pt idx="2911">
                  <c:v>127.85587779499669</c:v>
                </c:pt>
                <c:pt idx="2912">
                  <c:v>128.17627235382386</c:v>
                </c:pt>
                <c:pt idx="2913">
                  <c:v>124.86009642584804</c:v>
                </c:pt>
                <c:pt idx="2914">
                  <c:v>123.45552603743882</c:v>
                </c:pt>
                <c:pt idx="2915">
                  <c:v>122.47896834181979</c:v>
                </c:pt>
                <c:pt idx="2916">
                  <c:v>120.79243844242738</c:v>
                </c:pt>
                <c:pt idx="2917">
                  <c:v>119.66675276117384</c:v>
                </c:pt>
                <c:pt idx="2918">
                  <c:v>120.79858805008242</c:v>
                </c:pt>
                <c:pt idx="2919">
                  <c:v>123.02843578579687</c:v>
                </c:pt>
                <c:pt idx="2920">
                  <c:v>118.73508720143656</c:v>
                </c:pt>
                <c:pt idx="2921">
                  <c:v>119.97761542813569</c:v>
                </c:pt>
                <c:pt idx="2922">
                  <c:v>119.66552283964283</c:v>
                </c:pt>
                <c:pt idx="2923">
                  <c:v>119.86968981378989</c:v>
                </c:pt>
                <c:pt idx="2924">
                  <c:v>120.71218606252921</c:v>
                </c:pt>
                <c:pt idx="2925">
                  <c:v>117.58049836420437</c:v>
                </c:pt>
                <c:pt idx="2926">
                  <c:v>116.8849777384203</c:v>
                </c:pt>
                <c:pt idx="2927">
                  <c:v>114.67788355102945</c:v>
                </c:pt>
                <c:pt idx="2928">
                  <c:v>115.30483605145993</c:v>
                </c:pt>
                <c:pt idx="2929">
                  <c:v>115.36356480456547</c:v>
                </c:pt>
                <c:pt idx="2930">
                  <c:v>118.4420583966743</c:v>
                </c:pt>
                <c:pt idx="2931">
                  <c:v>120.36996039652671</c:v>
                </c:pt>
                <c:pt idx="2932">
                  <c:v>119.14957075738569</c:v>
                </c:pt>
                <c:pt idx="2933">
                  <c:v>119.6295476348609</c:v>
                </c:pt>
                <c:pt idx="2934">
                  <c:v>119.97300322239442</c:v>
                </c:pt>
                <c:pt idx="2935">
                  <c:v>120.72663764051855</c:v>
                </c:pt>
                <c:pt idx="2936">
                  <c:v>120.55291122426389</c:v>
                </c:pt>
                <c:pt idx="2937">
                  <c:v>121.93841782894252</c:v>
                </c:pt>
                <c:pt idx="2938">
                  <c:v>121.64046933805623</c:v>
                </c:pt>
                <c:pt idx="2939">
                  <c:v>124.5599955722825</c:v>
                </c:pt>
                <c:pt idx="2940">
                  <c:v>125.48674144589576</c:v>
                </c:pt>
                <c:pt idx="2941">
                  <c:v>123.86631982879493</c:v>
                </c:pt>
                <c:pt idx="2942">
                  <c:v>122.2751088480555</c:v>
                </c:pt>
                <c:pt idx="2943">
                  <c:v>119.91704179273363</c:v>
                </c:pt>
                <c:pt idx="2944">
                  <c:v>119.74946498413402</c:v>
                </c:pt>
                <c:pt idx="2945">
                  <c:v>121.28317713329891</c:v>
                </c:pt>
                <c:pt idx="2946">
                  <c:v>120.43114899269428</c:v>
                </c:pt>
                <c:pt idx="2947">
                  <c:v>126.15551127838044</c:v>
                </c:pt>
                <c:pt idx="2948">
                  <c:v>126.9183701079871</c:v>
                </c:pt>
                <c:pt idx="2949">
                  <c:v>128.44501020834872</c:v>
                </c:pt>
                <c:pt idx="2950">
                  <c:v>127.48105920842251</c:v>
                </c:pt>
                <c:pt idx="2951">
                  <c:v>126.01068801810446</c:v>
                </c:pt>
                <c:pt idx="2952">
                  <c:v>124.06310727375595</c:v>
                </c:pt>
                <c:pt idx="2953">
                  <c:v>123.50626030059283</c:v>
                </c:pt>
                <c:pt idx="2954">
                  <c:v>124.11168917423069</c:v>
                </c:pt>
                <c:pt idx="2955">
                  <c:v>124.11230413499619</c:v>
                </c:pt>
                <c:pt idx="2956">
                  <c:v>122.15057929304112</c:v>
                </c:pt>
                <c:pt idx="2957">
                  <c:v>124.38934395985537</c:v>
                </c:pt>
                <c:pt idx="2958">
                  <c:v>124.56983494453054</c:v>
                </c:pt>
                <c:pt idx="2959">
                  <c:v>123.97855016849925</c:v>
                </c:pt>
                <c:pt idx="2960">
                  <c:v>125.9024549233759</c:v>
                </c:pt>
                <c:pt idx="2961">
                  <c:v>127.22185324576294</c:v>
                </c:pt>
                <c:pt idx="2962">
                  <c:v>124.49081248616339</c:v>
                </c:pt>
                <c:pt idx="2963">
                  <c:v>120.95325068260645</c:v>
                </c:pt>
                <c:pt idx="2964">
                  <c:v>120.05110323961333</c:v>
                </c:pt>
                <c:pt idx="2965">
                  <c:v>120.37026787690947</c:v>
                </c:pt>
                <c:pt idx="2966">
                  <c:v>125.04704449856101</c:v>
                </c:pt>
                <c:pt idx="2967">
                  <c:v>127.34423043809805</c:v>
                </c:pt>
                <c:pt idx="2968">
                  <c:v>128.05727744569896</c:v>
                </c:pt>
                <c:pt idx="2969">
                  <c:v>127.57514820554449</c:v>
                </c:pt>
                <c:pt idx="2970">
                  <c:v>128.01976483900327</c:v>
                </c:pt>
                <c:pt idx="2971">
                  <c:v>125.05380906698153</c:v>
                </c:pt>
                <c:pt idx="2972">
                  <c:v>129.99163653358917</c:v>
                </c:pt>
                <c:pt idx="2973">
                  <c:v>131.30765257176591</c:v>
                </c:pt>
                <c:pt idx="2974">
                  <c:v>132.35247091235581</c:v>
                </c:pt>
                <c:pt idx="2975">
                  <c:v>132.10986889036479</c:v>
                </c:pt>
                <c:pt idx="2976">
                  <c:v>132.13200747792291</c:v>
                </c:pt>
                <c:pt idx="2977">
                  <c:v>131.98595429611592</c:v>
                </c:pt>
                <c:pt idx="2978">
                  <c:v>131.82852434014711</c:v>
                </c:pt>
                <c:pt idx="2979">
                  <c:v>132.38506383292744</c:v>
                </c:pt>
                <c:pt idx="2980">
                  <c:v>131.9656605908543</c:v>
                </c:pt>
                <c:pt idx="2981">
                  <c:v>133.23647701276658</c:v>
                </c:pt>
                <c:pt idx="2982">
                  <c:v>133.27952426635181</c:v>
                </c:pt>
                <c:pt idx="2983">
                  <c:v>133.11194745775219</c:v>
                </c:pt>
                <c:pt idx="2984">
                  <c:v>135.09919317147566</c:v>
                </c:pt>
                <c:pt idx="2985">
                  <c:v>133.32810616682656</c:v>
                </c:pt>
                <c:pt idx="2986">
                  <c:v>133.77979484908863</c:v>
                </c:pt>
                <c:pt idx="2987">
                  <c:v>133.25461835534892</c:v>
                </c:pt>
                <c:pt idx="2988">
                  <c:v>133.85881730745578</c:v>
                </c:pt>
                <c:pt idx="2989">
                  <c:v>133.46339753523725</c:v>
                </c:pt>
                <c:pt idx="2990">
                  <c:v>132.8585836223649</c:v>
                </c:pt>
                <c:pt idx="2991">
                  <c:v>131.5394927803606</c:v>
                </c:pt>
                <c:pt idx="2992">
                  <c:v>133.20265417066392</c:v>
                </c:pt>
                <c:pt idx="2993">
                  <c:v>134.11402602513959</c:v>
                </c:pt>
                <c:pt idx="2994">
                  <c:v>132.32971736403218</c:v>
                </c:pt>
                <c:pt idx="2995">
                  <c:v>132.82998794676899</c:v>
                </c:pt>
                <c:pt idx="2996">
                  <c:v>136.27407571396947</c:v>
                </c:pt>
                <c:pt idx="2997">
                  <c:v>138.36801712050774</c:v>
                </c:pt>
                <c:pt idx="2998">
                  <c:v>137.88619536073602</c:v>
                </c:pt>
                <c:pt idx="2999">
                  <c:v>138.99865938553123</c:v>
                </c:pt>
                <c:pt idx="3000">
                  <c:v>139.59701621036578</c:v>
                </c:pt>
                <c:pt idx="3001">
                  <c:v>139.57948982854896</c:v>
                </c:pt>
                <c:pt idx="3002">
                  <c:v>143.9641600865865</c:v>
                </c:pt>
                <c:pt idx="3003">
                  <c:v>143.37994735935851</c:v>
                </c:pt>
                <c:pt idx="3004">
                  <c:v>141.88774506186508</c:v>
                </c:pt>
                <c:pt idx="3005">
                  <c:v>142.50947039578875</c:v>
                </c:pt>
                <c:pt idx="3006">
                  <c:v>141.11350945809659</c:v>
                </c:pt>
                <c:pt idx="3007">
                  <c:v>142.17093449437928</c:v>
                </c:pt>
                <c:pt idx="3008">
                  <c:v>140.89704326863949</c:v>
                </c:pt>
                <c:pt idx="3009">
                  <c:v>141.98244901975252</c:v>
                </c:pt>
                <c:pt idx="3010">
                  <c:v>138.10235406981036</c:v>
                </c:pt>
                <c:pt idx="3011">
                  <c:v>138.77727350995008</c:v>
                </c:pt>
                <c:pt idx="3012">
                  <c:v>137.13563574643936</c:v>
                </c:pt>
                <c:pt idx="3013">
                  <c:v>139.54443706491526</c:v>
                </c:pt>
                <c:pt idx="3014">
                  <c:v>139.4857083118097</c:v>
                </c:pt>
                <c:pt idx="3015">
                  <c:v>139.01372592428606</c:v>
                </c:pt>
                <c:pt idx="3016">
                  <c:v>140.03702063808331</c:v>
                </c:pt>
                <c:pt idx="3017">
                  <c:v>142.0596265958232</c:v>
                </c:pt>
                <c:pt idx="3018">
                  <c:v>139.71016899121838</c:v>
                </c:pt>
                <c:pt idx="3019">
                  <c:v>138.30713600472291</c:v>
                </c:pt>
                <c:pt idx="3020">
                  <c:v>137.65589255405504</c:v>
                </c:pt>
                <c:pt idx="3021">
                  <c:v>139.17269328216858</c:v>
                </c:pt>
                <c:pt idx="3022">
                  <c:v>138.7010183750277</c:v>
                </c:pt>
                <c:pt idx="3023">
                  <c:v>139.07153223624331</c:v>
                </c:pt>
                <c:pt idx="3024">
                  <c:v>141.85515214129339</c:v>
                </c:pt>
                <c:pt idx="3025">
                  <c:v>143.63208127321477</c:v>
                </c:pt>
                <c:pt idx="3026">
                  <c:v>143.54721668757534</c:v>
                </c:pt>
                <c:pt idx="3027">
                  <c:v>141.77428480062972</c:v>
                </c:pt>
                <c:pt idx="3028">
                  <c:v>141.63192138341574</c:v>
                </c:pt>
                <c:pt idx="3029">
                  <c:v>138.13771431382679</c:v>
                </c:pt>
                <c:pt idx="3030">
                  <c:v>138.84430423338992</c:v>
                </c:pt>
                <c:pt idx="3031">
                  <c:v>139.06446018744006</c:v>
                </c:pt>
                <c:pt idx="3032">
                  <c:v>138.9448503185497</c:v>
                </c:pt>
                <c:pt idx="3033">
                  <c:v>138.13771431382679</c:v>
                </c:pt>
                <c:pt idx="3034">
                  <c:v>140.13110963520526</c:v>
                </c:pt>
                <c:pt idx="3035">
                  <c:v>139.12872358743513</c:v>
                </c:pt>
                <c:pt idx="3036">
                  <c:v>140.67350503037906</c:v>
                </c:pt>
                <c:pt idx="3037">
                  <c:v>140.27070572897449</c:v>
                </c:pt>
                <c:pt idx="3038">
                  <c:v>138.77696602956732</c:v>
                </c:pt>
                <c:pt idx="3039">
                  <c:v>139.7735099500652</c:v>
                </c:pt>
                <c:pt idx="3040">
                  <c:v>137.42774211005337</c:v>
                </c:pt>
                <c:pt idx="3041">
                  <c:v>136.89979829286895</c:v>
                </c:pt>
                <c:pt idx="3042">
                  <c:v>136.57325412638673</c:v>
                </c:pt>
                <c:pt idx="3043">
                  <c:v>136.24271271492879</c:v>
                </c:pt>
                <c:pt idx="3044">
                  <c:v>136.84691166703564</c:v>
                </c:pt>
                <c:pt idx="3045">
                  <c:v>135.81900474749713</c:v>
                </c:pt>
                <c:pt idx="3046">
                  <c:v>135.17544830639804</c:v>
                </c:pt>
                <c:pt idx="3047">
                  <c:v>132.87395764150247</c:v>
                </c:pt>
                <c:pt idx="3048">
                  <c:v>136.97513098664305</c:v>
                </c:pt>
                <c:pt idx="3049">
                  <c:v>137.28630113398765</c:v>
                </c:pt>
                <c:pt idx="3050">
                  <c:v>137.85237251863333</c:v>
                </c:pt>
                <c:pt idx="3051">
                  <c:v>139.34088505153372</c:v>
                </c:pt>
                <c:pt idx="3052">
                  <c:v>140.9705310801171</c:v>
                </c:pt>
                <c:pt idx="3053">
                  <c:v>140.36633212801024</c:v>
                </c:pt>
                <c:pt idx="3054">
                  <c:v>140.42260103805378</c:v>
                </c:pt>
                <c:pt idx="3055">
                  <c:v>140.35956755958972</c:v>
                </c:pt>
                <c:pt idx="3056">
                  <c:v>142.71855705605984</c:v>
                </c:pt>
                <c:pt idx="3057">
                  <c:v>142.7416180847662</c:v>
                </c:pt>
                <c:pt idx="3058">
                  <c:v>143.62808402823902</c:v>
                </c:pt>
                <c:pt idx="3059">
                  <c:v>143.85162226649939</c:v>
                </c:pt>
                <c:pt idx="3060">
                  <c:v>144.0072073401717</c:v>
                </c:pt>
                <c:pt idx="3061">
                  <c:v>144.10929082724522</c:v>
                </c:pt>
                <c:pt idx="3062">
                  <c:v>143.63638599857327</c:v>
                </c:pt>
                <c:pt idx="3063">
                  <c:v>143.84946990382014</c:v>
                </c:pt>
                <c:pt idx="3064">
                  <c:v>145.13535286448723</c:v>
                </c:pt>
                <c:pt idx="3065">
                  <c:v>145.69158487688486</c:v>
                </c:pt>
                <c:pt idx="3066">
                  <c:v>145.68020810272304</c:v>
                </c:pt>
                <c:pt idx="3067">
                  <c:v>145.76230536491772</c:v>
                </c:pt>
                <c:pt idx="3068">
                  <c:v>146.28194721176789</c:v>
                </c:pt>
                <c:pt idx="3069">
                  <c:v>147.50940889971218</c:v>
                </c:pt>
                <c:pt idx="3070">
                  <c:v>148.63140481637274</c:v>
                </c:pt>
                <c:pt idx="3071">
                  <c:v>148.436769734091</c:v>
                </c:pt>
                <c:pt idx="3072">
                  <c:v>147.32399822891301</c:v>
                </c:pt>
                <c:pt idx="3073">
                  <c:v>147.32246082699925</c:v>
                </c:pt>
                <c:pt idx="3074">
                  <c:v>147.67421838486706</c:v>
                </c:pt>
                <c:pt idx="3075">
                  <c:v>146.70995990455808</c:v>
                </c:pt>
                <c:pt idx="3076">
                  <c:v>146.75823432465009</c:v>
                </c:pt>
                <c:pt idx="3077">
                  <c:v>150.29917841241729</c:v>
                </c:pt>
                <c:pt idx="3078">
                  <c:v>149.49357980960818</c:v>
                </c:pt>
                <c:pt idx="3079">
                  <c:v>149.46129436941925</c:v>
                </c:pt>
                <c:pt idx="3080">
                  <c:v>149.40871522396873</c:v>
                </c:pt>
                <c:pt idx="3081">
                  <c:v>148.8214276929132</c:v>
                </c:pt>
                <c:pt idx="3082">
                  <c:v>149.58520896366812</c:v>
                </c:pt>
                <c:pt idx="3083">
                  <c:v>151.13337269082234</c:v>
                </c:pt>
                <c:pt idx="3084">
                  <c:v>152.45123361129561</c:v>
                </c:pt>
                <c:pt idx="3085">
                  <c:v>152.14928787543354</c:v>
                </c:pt>
                <c:pt idx="3086">
                  <c:v>151.97433153764791</c:v>
                </c:pt>
                <c:pt idx="3087">
                  <c:v>151.44977000467372</c:v>
                </c:pt>
                <c:pt idx="3088">
                  <c:v>152.81682778638725</c:v>
                </c:pt>
                <c:pt idx="3089">
                  <c:v>151.86579096253661</c:v>
                </c:pt>
                <c:pt idx="3090">
                  <c:v>152.54778245147961</c:v>
                </c:pt>
                <c:pt idx="3091">
                  <c:v>152.1738863060537</c:v>
                </c:pt>
                <c:pt idx="3092">
                  <c:v>152.4303249452685</c:v>
                </c:pt>
                <c:pt idx="3093">
                  <c:v>153.8871669987455</c:v>
                </c:pt>
                <c:pt idx="3094">
                  <c:v>155.51404570388408</c:v>
                </c:pt>
                <c:pt idx="3095">
                  <c:v>155.17182003788162</c:v>
                </c:pt>
                <c:pt idx="3096">
                  <c:v>155.9540501316016</c:v>
                </c:pt>
                <c:pt idx="3097">
                  <c:v>156.12531670479424</c:v>
                </c:pt>
                <c:pt idx="3098">
                  <c:v>155.33693700341919</c:v>
                </c:pt>
                <c:pt idx="3099">
                  <c:v>157.17105748653236</c:v>
                </c:pt>
                <c:pt idx="3100">
                  <c:v>153.27497355668709</c:v>
                </c:pt>
                <c:pt idx="3101">
                  <c:v>153.8275158044917</c:v>
                </c:pt>
                <c:pt idx="3102">
                  <c:v>153.32693774137212</c:v>
                </c:pt>
                <c:pt idx="3103">
                  <c:v>151.25206011856446</c:v>
                </c:pt>
                <c:pt idx="3104">
                  <c:v>152.96564829163901</c:v>
                </c:pt>
                <c:pt idx="3105">
                  <c:v>152.05027919218756</c:v>
                </c:pt>
                <c:pt idx="3106">
                  <c:v>153.76171500258283</c:v>
                </c:pt>
                <c:pt idx="3107">
                  <c:v>154.15283004944285</c:v>
                </c:pt>
                <c:pt idx="3108">
                  <c:v>152.84296361892112</c:v>
                </c:pt>
                <c:pt idx="3109">
                  <c:v>152.64187144860159</c:v>
                </c:pt>
                <c:pt idx="3110">
                  <c:v>152.37344107445946</c:v>
                </c:pt>
                <c:pt idx="3111">
                  <c:v>154.14022335375003</c:v>
                </c:pt>
                <c:pt idx="3112">
                  <c:v>153.84504218630852</c:v>
                </c:pt>
                <c:pt idx="3113">
                  <c:v>149.93850392344967</c:v>
                </c:pt>
                <c:pt idx="3114">
                  <c:v>151.16719553292501</c:v>
                </c:pt>
                <c:pt idx="3115">
                  <c:v>151.69944407546799</c:v>
                </c:pt>
                <c:pt idx="3116">
                  <c:v>148.19140038865521</c:v>
                </c:pt>
                <c:pt idx="3117">
                  <c:v>149.97939881435565</c:v>
                </c:pt>
                <c:pt idx="3118">
                  <c:v>151.04112857599685</c:v>
                </c:pt>
                <c:pt idx="3119">
                  <c:v>149.4957321722874</c:v>
                </c:pt>
                <c:pt idx="3120">
                  <c:v>149.75155585073674</c:v>
                </c:pt>
                <c:pt idx="3121">
                  <c:v>152.64033404668783</c:v>
                </c:pt>
                <c:pt idx="3122">
                  <c:v>152.02168351659162</c:v>
                </c:pt>
                <c:pt idx="3123">
                  <c:v>152.96995301699752</c:v>
                </c:pt>
                <c:pt idx="3124">
                  <c:v>153.03729122082015</c:v>
                </c:pt>
                <c:pt idx="3125">
                  <c:v>153.28358300740413</c:v>
                </c:pt>
                <c:pt idx="3126">
                  <c:v>153.38874129830518</c:v>
                </c:pt>
                <c:pt idx="3127">
                  <c:v>152.63203207635354</c:v>
                </c:pt>
                <c:pt idx="3128">
                  <c:v>154.66847465131724</c:v>
                </c:pt>
                <c:pt idx="3129">
                  <c:v>155.09956214793496</c:v>
                </c:pt>
                <c:pt idx="3130">
                  <c:v>153.46960863896885</c:v>
                </c:pt>
                <c:pt idx="3131">
                  <c:v>151.98386342951321</c:v>
                </c:pt>
                <c:pt idx="3132">
                  <c:v>153.30172434998647</c:v>
                </c:pt>
                <c:pt idx="3133">
                  <c:v>152.00723193860236</c:v>
                </c:pt>
                <c:pt idx="3134">
                  <c:v>152.65048089931867</c:v>
                </c:pt>
                <c:pt idx="3135">
                  <c:v>150.89169310997957</c:v>
                </c:pt>
                <c:pt idx="3136">
                  <c:v>150.88031633581778</c:v>
                </c:pt>
                <c:pt idx="3137">
                  <c:v>149.3841167933486</c:v>
                </c:pt>
                <c:pt idx="3138">
                  <c:v>150.72842102673852</c:v>
                </c:pt>
                <c:pt idx="3139">
                  <c:v>152.63633680171208</c:v>
                </c:pt>
                <c:pt idx="3140">
                  <c:v>151.34030698841414</c:v>
                </c:pt>
                <c:pt idx="3141">
                  <c:v>149.86778343541684</c:v>
                </c:pt>
                <c:pt idx="3142">
                  <c:v>149.52432784788334</c:v>
                </c:pt>
                <c:pt idx="3143">
                  <c:v>149.78599365360489</c:v>
                </c:pt>
                <c:pt idx="3144">
                  <c:v>150.45937569183087</c:v>
                </c:pt>
                <c:pt idx="3145">
                  <c:v>153.43086611074213</c:v>
                </c:pt>
                <c:pt idx="3146">
                  <c:v>154.83482153838588</c:v>
                </c:pt>
                <c:pt idx="3147">
                  <c:v>153.20825031363</c:v>
                </c:pt>
                <c:pt idx="3148">
                  <c:v>152.1465205519888</c:v>
                </c:pt>
                <c:pt idx="3149">
                  <c:v>151.51003615969302</c:v>
                </c:pt>
                <c:pt idx="3150">
                  <c:v>148.20123976090323</c:v>
                </c:pt>
                <c:pt idx="3151">
                  <c:v>148.64155166900352</c:v>
                </c:pt>
                <c:pt idx="3152">
                  <c:v>149.48927508424964</c:v>
                </c:pt>
                <c:pt idx="3153">
                  <c:v>149.17748997613953</c:v>
                </c:pt>
                <c:pt idx="3154">
                  <c:v>152.65847538927017</c:v>
                </c:pt>
                <c:pt idx="3155">
                  <c:v>153.64056773177873</c:v>
                </c:pt>
                <c:pt idx="3156">
                  <c:v>154.94028730966966</c:v>
                </c:pt>
                <c:pt idx="3157">
                  <c:v>154.73735025705361</c:v>
                </c:pt>
                <c:pt idx="3158">
                  <c:v>156.54564238801566</c:v>
                </c:pt>
                <c:pt idx="3159">
                  <c:v>157.2672988463336</c:v>
                </c:pt>
                <c:pt idx="3160">
                  <c:v>157.48130519272871</c:v>
                </c:pt>
                <c:pt idx="3161">
                  <c:v>156.65725776695447</c:v>
                </c:pt>
                <c:pt idx="3162">
                  <c:v>158.85727990554204</c:v>
                </c:pt>
                <c:pt idx="3163">
                  <c:v>158.1792856615748</c:v>
                </c:pt>
                <c:pt idx="3164">
                  <c:v>158.94798661845374</c:v>
                </c:pt>
                <c:pt idx="3165">
                  <c:v>161.18275404029225</c:v>
                </c:pt>
                <c:pt idx="3166">
                  <c:v>160.33072589968762</c:v>
                </c:pt>
                <c:pt idx="3167">
                  <c:v>159.48330996482426</c:v>
                </c:pt>
                <c:pt idx="3168">
                  <c:v>159.33910166531376</c:v>
                </c:pt>
                <c:pt idx="3169">
                  <c:v>159.98419550832659</c:v>
                </c:pt>
                <c:pt idx="3170">
                  <c:v>159.80093720020662</c:v>
                </c:pt>
                <c:pt idx="3171">
                  <c:v>160.41097827958578</c:v>
                </c:pt>
                <c:pt idx="3172">
                  <c:v>159.7326765552358</c:v>
                </c:pt>
                <c:pt idx="3173">
                  <c:v>160.75381890635381</c:v>
                </c:pt>
                <c:pt idx="3174">
                  <c:v>161.11879812067991</c:v>
                </c:pt>
                <c:pt idx="3175">
                  <c:v>161.56864192064546</c:v>
                </c:pt>
                <c:pt idx="3176">
                  <c:v>158.46063021179251</c:v>
                </c:pt>
                <c:pt idx="3177">
                  <c:v>158.49353061274692</c:v>
                </c:pt>
                <c:pt idx="3178">
                  <c:v>159.11095122131209</c:v>
                </c:pt>
                <c:pt idx="3179">
                  <c:v>160.07766954468303</c:v>
                </c:pt>
                <c:pt idx="3180">
                  <c:v>158.49107076968491</c:v>
                </c:pt>
                <c:pt idx="3181">
                  <c:v>160.15023491501242</c:v>
                </c:pt>
                <c:pt idx="3182">
                  <c:v>157.55786780803385</c:v>
                </c:pt>
                <c:pt idx="3183">
                  <c:v>157.19965316212827</c:v>
                </c:pt>
                <c:pt idx="3184">
                  <c:v>158.21249354291197</c:v>
                </c:pt>
                <c:pt idx="3185">
                  <c:v>156.09487614690184</c:v>
                </c:pt>
                <c:pt idx="3186">
                  <c:v>155.56939217277937</c:v>
                </c:pt>
                <c:pt idx="3187">
                  <c:v>157.87672496494724</c:v>
                </c:pt>
                <c:pt idx="3188">
                  <c:v>157.48161267311147</c:v>
                </c:pt>
                <c:pt idx="3189">
                  <c:v>156.62620224829655</c:v>
                </c:pt>
                <c:pt idx="3190">
                  <c:v>156.8795660836839</c:v>
                </c:pt>
                <c:pt idx="3191">
                  <c:v>156.33686320812734</c:v>
                </c:pt>
                <c:pt idx="3192">
                  <c:v>157.07143384252086</c:v>
                </c:pt>
                <c:pt idx="3193">
                  <c:v>158.32041915725779</c:v>
                </c:pt>
                <c:pt idx="3194">
                  <c:v>158.71245664526603</c:v>
                </c:pt>
                <c:pt idx="3195">
                  <c:v>158.49476053427793</c:v>
                </c:pt>
                <c:pt idx="3196">
                  <c:v>151.1825695520626</c:v>
                </c:pt>
                <c:pt idx="3197">
                  <c:v>149.02251986323273</c:v>
                </c:pt>
                <c:pt idx="3198">
                  <c:v>146.1632597840258</c:v>
                </c:pt>
                <c:pt idx="3199">
                  <c:v>148.05180429488598</c:v>
                </c:pt>
                <c:pt idx="3200">
                  <c:v>149.78138144786362</c:v>
                </c:pt>
                <c:pt idx="3201">
                  <c:v>150.74256512434508</c:v>
                </c:pt>
                <c:pt idx="3202">
                  <c:v>149.95357046220454</c:v>
                </c:pt>
                <c:pt idx="3203">
                  <c:v>152.09086660271075</c:v>
                </c:pt>
                <c:pt idx="3204">
                  <c:v>151.44208299510493</c:v>
                </c:pt>
                <c:pt idx="3205">
                  <c:v>149.84257004403119</c:v>
                </c:pt>
                <c:pt idx="3206">
                  <c:v>152.66892972228374</c:v>
                </c:pt>
                <c:pt idx="3207">
                  <c:v>149.698361744520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4818432"/>
        <c:axId val="604820224"/>
      </c:lineChart>
      <c:dateAx>
        <c:axId val="604818432"/>
        <c:scaling>
          <c:orientation val="minMax"/>
        </c:scaling>
        <c:delete val="0"/>
        <c:axPos val="b"/>
        <c:numFmt formatCode="yyyy" sourceLinked="0"/>
        <c:majorTickMark val="out"/>
        <c:minorTickMark val="none"/>
        <c:tickLblPos val="nextTo"/>
        <c:txPr>
          <a:bodyPr rot="-2700000" vert="horz"/>
          <a:lstStyle/>
          <a:p>
            <a:pPr>
              <a:defRPr/>
            </a:pPr>
            <a:endParaRPr lang="en-US"/>
          </a:p>
        </c:txPr>
        <c:crossAx val="604820224"/>
        <c:crosses val="autoZero"/>
        <c:auto val="1"/>
        <c:lblOffset val="100"/>
        <c:baseTimeUnit val="days"/>
        <c:majorUnit val="1"/>
        <c:majorTimeUnit val="years"/>
      </c:dateAx>
      <c:valAx>
        <c:axId val="60482022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604818432"/>
        <c:crosses val="autoZero"/>
        <c:crossBetween val="midCat"/>
      </c:valAx>
      <c:spPr>
        <a:noFill/>
        <a:ln w="25398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5</c:f>
              <c:strCache>
                <c:ptCount val="1"/>
                <c:pt idx="0">
                  <c:v>STOXX Europe Select Dividend 30</c:v>
                </c:pt>
              </c:strCache>
            </c:strRef>
          </c:tx>
          <c:invertIfNegative val="0"/>
          <c:cat>
            <c:strRef>
              <c:f>Sheet1!$C$4:$U$4</c:f>
              <c:strCache>
                <c:ptCount val="19"/>
                <c:pt idx="0">
                  <c:v>Utilities </c:v>
                </c:pt>
                <c:pt idx="1">
                  <c:v>Insurance </c:v>
                </c:pt>
                <c:pt idx="2">
                  <c:v>Telecommunications</c:v>
                </c:pt>
                <c:pt idx="3">
                  <c:v>Health Care </c:v>
                </c:pt>
                <c:pt idx="4">
                  <c:v>Industrial Goods &amp; Services </c:v>
                </c:pt>
                <c:pt idx="5">
                  <c:v>Oil &amp; Gas </c:v>
                </c:pt>
                <c:pt idx="6">
                  <c:v>Construction &amp; Materials</c:v>
                </c:pt>
                <c:pt idx="7">
                  <c:v>Media </c:v>
                </c:pt>
                <c:pt idx="8">
                  <c:v>Financial Services</c:v>
                </c:pt>
                <c:pt idx="9">
                  <c:v>Real Estate </c:v>
                </c:pt>
                <c:pt idx="10">
                  <c:v>Banks </c:v>
                </c:pt>
                <c:pt idx="11">
                  <c:v>Chemicals </c:v>
                </c:pt>
                <c:pt idx="12">
                  <c:v>Basic Resources </c:v>
                </c:pt>
                <c:pt idx="13">
                  <c:v>Automobiles &amp; Parts </c:v>
                </c:pt>
                <c:pt idx="14">
                  <c:v>Food &amp; Beverage </c:v>
                </c:pt>
                <c:pt idx="15">
                  <c:v>Personal &amp; Household Goods</c:v>
                </c:pt>
                <c:pt idx="16">
                  <c:v>Retail</c:v>
                </c:pt>
                <c:pt idx="17">
                  <c:v>Travel &amp; Leisure</c:v>
                </c:pt>
                <c:pt idx="18">
                  <c:v>Technology</c:v>
                </c:pt>
              </c:strCache>
            </c:strRef>
          </c:cat>
          <c:val>
            <c:numRef>
              <c:f>Sheet1!$C$5:$U$5</c:f>
              <c:numCache>
                <c:formatCode>0.00%</c:formatCode>
                <c:ptCount val="19"/>
                <c:pt idx="0">
                  <c:v>0.20812600000000001</c:v>
                </c:pt>
                <c:pt idx="1">
                  <c:v>0.188195</c:v>
                </c:pt>
                <c:pt idx="2">
                  <c:v>0.121421</c:v>
                </c:pt>
                <c:pt idx="3">
                  <c:v>8.1536999999999998E-2</c:v>
                </c:pt>
                <c:pt idx="4">
                  <c:v>7.4926000000000006E-2</c:v>
                </c:pt>
                <c:pt idx="5">
                  <c:v>5.9177E-2</c:v>
                </c:pt>
                <c:pt idx="6">
                  <c:v>5.7877999999999999E-2</c:v>
                </c:pt>
                <c:pt idx="7">
                  <c:v>5.3581999999999998E-2</c:v>
                </c:pt>
                <c:pt idx="8">
                  <c:v>5.3275000000000003E-2</c:v>
                </c:pt>
                <c:pt idx="9">
                  <c:v>5.2194999999999998E-2</c:v>
                </c:pt>
                <c:pt idx="10">
                  <c:v>4.9688000000000003E-2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B$6</c:f>
              <c:strCache>
                <c:ptCount val="1"/>
                <c:pt idx="0">
                  <c:v>STOXX Europe 600</c:v>
                </c:pt>
              </c:strCache>
            </c:strRef>
          </c:tx>
          <c:invertIfNegative val="0"/>
          <c:cat>
            <c:strRef>
              <c:f>Sheet1!$C$4:$U$4</c:f>
              <c:strCache>
                <c:ptCount val="19"/>
                <c:pt idx="0">
                  <c:v>Utilities </c:v>
                </c:pt>
                <c:pt idx="1">
                  <c:v>Insurance </c:v>
                </c:pt>
                <c:pt idx="2">
                  <c:v>Telecommunications</c:v>
                </c:pt>
                <c:pt idx="3">
                  <c:v>Health Care </c:v>
                </c:pt>
                <c:pt idx="4">
                  <c:v>Industrial Goods &amp; Services </c:v>
                </c:pt>
                <c:pt idx="5">
                  <c:v>Oil &amp; Gas </c:v>
                </c:pt>
                <c:pt idx="6">
                  <c:v>Construction &amp; Materials</c:v>
                </c:pt>
                <c:pt idx="7">
                  <c:v>Media </c:v>
                </c:pt>
                <c:pt idx="8">
                  <c:v>Financial Services</c:v>
                </c:pt>
                <c:pt idx="9">
                  <c:v>Real Estate </c:v>
                </c:pt>
                <c:pt idx="10">
                  <c:v>Banks </c:v>
                </c:pt>
                <c:pt idx="11">
                  <c:v>Chemicals </c:v>
                </c:pt>
                <c:pt idx="12">
                  <c:v>Basic Resources </c:v>
                </c:pt>
                <c:pt idx="13">
                  <c:v>Automobiles &amp; Parts </c:v>
                </c:pt>
                <c:pt idx="14">
                  <c:v>Food &amp; Beverage </c:v>
                </c:pt>
                <c:pt idx="15">
                  <c:v>Personal &amp; Household Goods</c:v>
                </c:pt>
                <c:pt idx="16">
                  <c:v>Retail</c:v>
                </c:pt>
                <c:pt idx="17">
                  <c:v>Travel &amp; Leisure</c:v>
                </c:pt>
                <c:pt idx="18">
                  <c:v>Technology</c:v>
                </c:pt>
              </c:strCache>
            </c:strRef>
          </c:cat>
          <c:val>
            <c:numRef>
              <c:f>Sheet1!$C$6:$U$6</c:f>
              <c:numCache>
                <c:formatCode>0.00%</c:formatCode>
                <c:ptCount val="19"/>
                <c:pt idx="0">
                  <c:v>4.1830899999999976E-2</c:v>
                </c:pt>
                <c:pt idx="1">
                  <c:v>5.8335999999999999E-2</c:v>
                </c:pt>
                <c:pt idx="2">
                  <c:v>5.0233400000000011E-2</c:v>
                </c:pt>
                <c:pt idx="3">
                  <c:v>0.12001020000000004</c:v>
                </c:pt>
                <c:pt idx="4">
                  <c:v>0.10567650000000006</c:v>
                </c:pt>
                <c:pt idx="5">
                  <c:v>8.3287799999999995E-2</c:v>
                </c:pt>
                <c:pt idx="6">
                  <c:v>2.1156200000000007E-2</c:v>
                </c:pt>
                <c:pt idx="7">
                  <c:v>2.4134000000000003E-2</c:v>
                </c:pt>
                <c:pt idx="8">
                  <c:v>1.4844900000000003E-2</c:v>
                </c:pt>
                <c:pt idx="9">
                  <c:v>1.4411600000000002E-2</c:v>
                </c:pt>
                <c:pt idx="10">
                  <c:v>0.1241631</c:v>
                </c:pt>
                <c:pt idx="11">
                  <c:v>5.0879900000000006E-2</c:v>
                </c:pt>
                <c:pt idx="12">
                  <c:v>3.4803500000000008E-2</c:v>
                </c:pt>
                <c:pt idx="13">
                  <c:v>2.4560100000000005E-2</c:v>
                </c:pt>
                <c:pt idx="14">
                  <c:v>9.1970100000000027E-2</c:v>
                </c:pt>
                <c:pt idx="15">
                  <c:v>6.1567900000000009E-2</c:v>
                </c:pt>
                <c:pt idx="16">
                  <c:v>3.2058900000000001E-2</c:v>
                </c:pt>
                <c:pt idx="17">
                  <c:v>1.40415E-2</c:v>
                </c:pt>
                <c:pt idx="18">
                  <c:v>3.20341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15858944"/>
        <c:axId val="615860480"/>
      </c:barChart>
      <c:catAx>
        <c:axId val="6158589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96" baseline="0">
                <a:latin typeface="Arial" pitchFamily="34" charset="0"/>
              </a:defRPr>
            </a:pPr>
            <a:endParaRPr lang="en-US"/>
          </a:p>
        </c:txPr>
        <c:crossAx val="615860480"/>
        <c:crosses val="autoZero"/>
        <c:auto val="1"/>
        <c:lblAlgn val="ctr"/>
        <c:lblOffset val="100"/>
        <c:noMultiLvlLbl val="0"/>
      </c:catAx>
      <c:valAx>
        <c:axId val="615860480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896" baseline="0">
                <a:latin typeface="Arial" pitchFamily="34" charset="0"/>
              </a:defRPr>
            </a:pPr>
            <a:endParaRPr lang="en-US"/>
          </a:p>
        </c:txPr>
        <c:crossAx val="615858944"/>
        <c:crosses val="autoZero"/>
        <c:crossBetween val="between"/>
      </c:valAx>
      <c:spPr>
        <a:noFill/>
        <a:ln w="25391">
          <a:noFill/>
        </a:ln>
      </c:spPr>
    </c:plotArea>
    <c:plotVisOnly val="1"/>
    <c:dispBlanksAs val="gap"/>
    <c:showDLblsOverMax val="0"/>
  </c:chart>
  <c:txPr>
    <a:bodyPr/>
    <a:lstStyle/>
    <a:p>
      <a:pPr>
        <a:defRPr sz="161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3ED30DB-586A-4AC2-A720-6E4A2BB4E2B2}" type="doc">
      <dgm:prSet loTypeId="urn:diagrams.loki3.com/TabbedArc+Icon" loCatId="relationship" qsTypeId="urn:microsoft.com/office/officeart/2005/8/quickstyle/simple1" qsCatId="simple" csTypeId="urn:microsoft.com/office/officeart/2005/8/colors/accent1_2" csCatId="accent1" phldr="1"/>
      <dgm:spPr/>
    </dgm:pt>
    <dgm:pt modelId="{3EF4CAB1-BA7A-4675-AD10-FC6CB472847C}">
      <dgm:prSet phldrT="[Text]" custT="1"/>
      <dgm:spPr>
        <a:solidFill>
          <a:schemeClr val="accent5">
            <a:lumMod val="40000"/>
            <a:lumOff val="60000"/>
          </a:schemeClr>
        </a:solidFill>
      </dgm:spPr>
      <dgm:t>
        <a:bodyPr anchor="ctr"/>
        <a:lstStyle/>
        <a:p>
          <a:pPr algn="ctr"/>
          <a:r>
            <a:rPr lang="en-US" sz="1600" b="0" dirty="0" smtClean="0">
              <a:solidFill>
                <a:schemeClr val="tx1"/>
              </a:solidFill>
            </a:rPr>
            <a:t>History shows that companies that </a:t>
          </a:r>
          <a:r>
            <a:rPr lang="en-US" sz="1600" b="1" dirty="0" smtClean="0">
              <a:solidFill>
                <a:schemeClr val="tx1"/>
              </a:solidFill>
            </a:rPr>
            <a:t>continuously pay dividends</a:t>
          </a:r>
          <a:r>
            <a:rPr lang="en-US" sz="1600" b="0" dirty="0" smtClean="0">
              <a:solidFill>
                <a:schemeClr val="tx1"/>
              </a:solidFill>
            </a:rPr>
            <a:t> during good times also do so during bear markets</a:t>
          </a:r>
          <a:endParaRPr lang="en-US" sz="1600" dirty="0">
            <a:solidFill>
              <a:schemeClr val="tx1"/>
            </a:solidFill>
          </a:endParaRPr>
        </a:p>
      </dgm:t>
    </dgm:pt>
    <dgm:pt modelId="{2BA27576-9F31-48FC-B9BC-1650297C6912}" type="parTrans" cxnId="{540E9EA7-B88F-47B7-8D6C-FE2C73989897}">
      <dgm:prSet/>
      <dgm:spPr/>
      <dgm:t>
        <a:bodyPr/>
        <a:lstStyle/>
        <a:p>
          <a:endParaRPr lang="en-US"/>
        </a:p>
      </dgm:t>
    </dgm:pt>
    <dgm:pt modelId="{2292F61B-AE27-4262-A935-C0D777992B9F}" type="sibTrans" cxnId="{540E9EA7-B88F-47B7-8D6C-FE2C73989897}">
      <dgm:prSet/>
      <dgm:spPr/>
      <dgm:t>
        <a:bodyPr/>
        <a:lstStyle/>
        <a:p>
          <a:endParaRPr lang="en-US"/>
        </a:p>
      </dgm:t>
    </dgm:pt>
    <dgm:pt modelId="{311BA437-1F2F-4AF4-B792-A3D5000F1D26}">
      <dgm:prSet phldrT="[Text]" custT="1"/>
      <dgm:spPr>
        <a:solidFill>
          <a:schemeClr val="accent5">
            <a:lumMod val="40000"/>
            <a:lumOff val="60000"/>
          </a:schemeClr>
        </a:solidFill>
      </dgm:spPr>
      <dgm:t>
        <a:bodyPr anchor="ctr"/>
        <a:lstStyle/>
        <a:p>
          <a:pPr algn="ctr"/>
          <a:r>
            <a:rPr lang="en-US" sz="1600" b="0" dirty="0" smtClean="0">
              <a:solidFill>
                <a:schemeClr val="tx1"/>
              </a:solidFill>
            </a:rPr>
            <a:t>Select Dividend Indices track performance of the </a:t>
          </a:r>
          <a:r>
            <a:rPr lang="en-US" sz="1600" b="1" dirty="0" smtClean="0">
              <a:solidFill>
                <a:schemeClr val="tx1"/>
              </a:solidFill>
            </a:rPr>
            <a:t>highest dividend-yielding</a:t>
          </a:r>
          <a:r>
            <a:rPr lang="en-US" sz="1600" b="0" dirty="0" smtClean="0">
              <a:solidFill>
                <a:schemeClr val="tx1"/>
              </a:solidFill>
            </a:rPr>
            <a:t> stocks relative to their home market</a:t>
          </a:r>
          <a:endParaRPr lang="en-US" sz="1600" dirty="0">
            <a:solidFill>
              <a:schemeClr val="tx1"/>
            </a:solidFill>
          </a:endParaRPr>
        </a:p>
      </dgm:t>
    </dgm:pt>
    <dgm:pt modelId="{11B96CF1-4E26-4120-8458-7F4FB184C07D}" type="parTrans" cxnId="{7A6F53D7-3338-4493-906B-23BC9E90D84F}">
      <dgm:prSet/>
      <dgm:spPr/>
      <dgm:t>
        <a:bodyPr/>
        <a:lstStyle/>
        <a:p>
          <a:endParaRPr lang="en-US"/>
        </a:p>
      </dgm:t>
    </dgm:pt>
    <dgm:pt modelId="{F5653D9F-73E7-47FE-AE2B-E3A833906998}" type="sibTrans" cxnId="{7A6F53D7-3338-4493-906B-23BC9E90D84F}">
      <dgm:prSet/>
      <dgm:spPr/>
      <dgm:t>
        <a:bodyPr/>
        <a:lstStyle/>
        <a:p>
          <a:endParaRPr lang="en-US"/>
        </a:p>
      </dgm:t>
    </dgm:pt>
    <dgm:pt modelId="{0040C058-3824-4516-AF6E-8EE3B8A82A7C}">
      <dgm:prSet phldrT="[Text]" custT="1"/>
      <dgm:spPr>
        <a:solidFill>
          <a:schemeClr val="accent5">
            <a:lumMod val="40000"/>
            <a:lumOff val="60000"/>
          </a:schemeClr>
        </a:solidFill>
      </dgm:spPr>
      <dgm:t>
        <a:bodyPr anchor="ctr"/>
        <a:lstStyle/>
        <a:p>
          <a:pPr algn="ctr"/>
          <a:r>
            <a:rPr lang="en-US" sz="1600" dirty="0" smtClean="0">
              <a:solidFill>
                <a:schemeClr val="tx1"/>
              </a:solidFill>
            </a:rPr>
            <a:t>STOXX ensures that component </a:t>
          </a:r>
          <a:r>
            <a:rPr lang="en-US" sz="1600" b="1" dirty="0" smtClean="0">
              <a:solidFill>
                <a:schemeClr val="tx1"/>
              </a:solidFill>
            </a:rPr>
            <a:t>selection and weighting </a:t>
          </a:r>
          <a:r>
            <a:rPr lang="en-US" sz="1600" dirty="0" smtClean="0">
              <a:solidFill>
                <a:schemeClr val="tx1"/>
              </a:solidFill>
            </a:rPr>
            <a:t>for Select Dividend Indices is </a:t>
          </a:r>
          <a:r>
            <a:rPr lang="en-US" sz="1600" b="0" dirty="0" smtClean="0">
              <a:solidFill>
                <a:schemeClr val="tx1"/>
              </a:solidFill>
            </a:rPr>
            <a:t>purely based on relative net dividend yield.</a:t>
          </a:r>
          <a:endParaRPr lang="en-US" sz="1600" dirty="0">
            <a:solidFill>
              <a:schemeClr val="tx1"/>
            </a:solidFill>
          </a:endParaRPr>
        </a:p>
      </dgm:t>
    </dgm:pt>
    <dgm:pt modelId="{AA79038D-97E8-4726-AA14-C7ECC8C238B9}" type="parTrans" cxnId="{ED2D91C5-79DB-4BF0-8B6A-33F6317942B5}">
      <dgm:prSet/>
      <dgm:spPr/>
      <dgm:t>
        <a:bodyPr/>
        <a:lstStyle/>
        <a:p>
          <a:endParaRPr lang="en-US"/>
        </a:p>
      </dgm:t>
    </dgm:pt>
    <dgm:pt modelId="{6C9281DE-312D-4344-BFFA-8145C682EEDF}" type="sibTrans" cxnId="{ED2D91C5-79DB-4BF0-8B6A-33F6317942B5}">
      <dgm:prSet/>
      <dgm:spPr/>
      <dgm:t>
        <a:bodyPr/>
        <a:lstStyle/>
        <a:p>
          <a:endParaRPr lang="en-US"/>
        </a:p>
      </dgm:t>
    </dgm:pt>
    <dgm:pt modelId="{176FC260-EEF1-422F-A7AE-70D15E234C15}" type="pres">
      <dgm:prSet presAssocID="{B3ED30DB-586A-4AC2-A720-6E4A2BB4E2B2}" presName="Name0" presStyleCnt="0">
        <dgm:presLayoutVars>
          <dgm:dir/>
          <dgm:resizeHandles val="exact"/>
        </dgm:presLayoutVars>
      </dgm:prSet>
      <dgm:spPr/>
    </dgm:pt>
    <dgm:pt modelId="{BD002118-1C8D-4E4D-81F4-39939EF5FDCA}" type="pres">
      <dgm:prSet presAssocID="{3EF4CAB1-BA7A-4675-AD10-FC6CB472847C}" presName="twoplus" presStyleLbl="node1" presStyleIdx="0" presStyleCnt="3" custScaleX="113066" custScaleY="125242" custRadScaleRad="111344" custRadScaleInc="-415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006412-3B0A-4C88-BAD8-EC7293DF7650}" type="pres">
      <dgm:prSet presAssocID="{311BA437-1F2F-4AF4-B792-A3D5000F1D26}" presName="twoplus" presStyleLbl="node1" presStyleIdx="1" presStyleCnt="3" custScaleX="113066" custScaleY="12524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DA3C3F-043A-41F0-B6DA-424C32C9FD50}" type="pres">
      <dgm:prSet presAssocID="{0040C058-3824-4516-AF6E-8EE3B8A82A7C}" presName="twoplus" presStyleLbl="node1" presStyleIdx="2" presStyleCnt="3" custScaleX="113066" custScaleY="12524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40E9EA7-B88F-47B7-8D6C-FE2C73989897}" srcId="{B3ED30DB-586A-4AC2-A720-6E4A2BB4E2B2}" destId="{3EF4CAB1-BA7A-4675-AD10-FC6CB472847C}" srcOrd="0" destOrd="0" parTransId="{2BA27576-9F31-48FC-B9BC-1650297C6912}" sibTransId="{2292F61B-AE27-4262-A935-C0D777992B9F}"/>
    <dgm:cxn modelId="{7A6F53D7-3338-4493-906B-23BC9E90D84F}" srcId="{B3ED30DB-586A-4AC2-A720-6E4A2BB4E2B2}" destId="{311BA437-1F2F-4AF4-B792-A3D5000F1D26}" srcOrd="1" destOrd="0" parTransId="{11B96CF1-4E26-4120-8458-7F4FB184C07D}" sibTransId="{F5653D9F-73E7-47FE-AE2B-E3A833906998}"/>
    <dgm:cxn modelId="{2123C102-1A23-4D13-8D73-367E444EDB4E}" type="presOf" srcId="{0040C058-3824-4516-AF6E-8EE3B8A82A7C}" destId="{C0DA3C3F-043A-41F0-B6DA-424C32C9FD50}" srcOrd="0" destOrd="0" presId="urn:diagrams.loki3.com/TabbedArc+Icon"/>
    <dgm:cxn modelId="{ED2D91C5-79DB-4BF0-8B6A-33F6317942B5}" srcId="{B3ED30DB-586A-4AC2-A720-6E4A2BB4E2B2}" destId="{0040C058-3824-4516-AF6E-8EE3B8A82A7C}" srcOrd="2" destOrd="0" parTransId="{AA79038D-97E8-4726-AA14-C7ECC8C238B9}" sibTransId="{6C9281DE-312D-4344-BFFA-8145C682EEDF}"/>
    <dgm:cxn modelId="{0A542F51-C561-4BF4-B3BF-19347C7AB7B3}" type="presOf" srcId="{B3ED30DB-586A-4AC2-A720-6E4A2BB4E2B2}" destId="{176FC260-EEF1-422F-A7AE-70D15E234C15}" srcOrd="0" destOrd="0" presId="urn:diagrams.loki3.com/TabbedArc+Icon"/>
    <dgm:cxn modelId="{09DDE360-9AB4-4FCC-9EDE-ED6A9491AAB6}" type="presOf" srcId="{3EF4CAB1-BA7A-4675-AD10-FC6CB472847C}" destId="{BD002118-1C8D-4E4D-81F4-39939EF5FDCA}" srcOrd="0" destOrd="0" presId="urn:diagrams.loki3.com/TabbedArc+Icon"/>
    <dgm:cxn modelId="{4F935DC7-1EBB-46D4-8FE8-1464014E69F7}" type="presOf" srcId="{311BA437-1F2F-4AF4-B792-A3D5000F1D26}" destId="{DF006412-3B0A-4C88-BAD8-EC7293DF7650}" srcOrd="0" destOrd="0" presId="urn:diagrams.loki3.com/TabbedArc+Icon"/>
    <dgm:cxn modelId="{7043D00D-FA7D-4E17-B323-6EC871A96B58}" type="presParOf" srcId="{176FC260-EEF1-422F-A7AE-70D15E234C15}" destId="{BD002118-1C8D-4E4D-81F4-39939EF5FDCA}" srcOrd="0" destOrd="0" presId="urn:diagrams.loki3.com/TabbedArc+Icon"/>
    <dgm:cxn modelId="{5A4F3625-77D7-4FCB-912A-73F0E90DC4F2}" type="presParOf" srcId="{176FC260-EEF1-422F-A7AE-70D15E234C15}" destId="{DF006412-3B0A-4C88-BAD8-EC7293DF7650}" srcOrd="1" destOrd="0" presId="urn:diagrams.loki3.com/TabbedArc+Icon"/>
    <dgm:cxn modelId="{B0D6EBDC-ABA4-4395-B4BA-BB5DCB3B57CF}" type="presParOf" srcId="{176FC260-EEF1-422F-A7AE-70D15E234C15}" destId="{C0DA3C3F-043A-41F0-B6DA-424C32C9FD50}" srcOrd="2" destOrd="0" presId="urn:diagrams.loki3.com/TabbedArc+Icon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002118-1C8D-4E4D-81F4-39939EF5FDCA}">
      <dsp:nvSpPr>
        <dsp:cNvPr id="0" name=""/>
        <dsp:cNvSpPr/>
      </dsp:nvSpPr>
      <dsp:spPr>
        <a:xfrm rot="19200000">
          <a:off x="-167717" y="1580562"/>
          <a:ext cx="2940765" cy="2117345"/>
        </a:xfrm>
        <a:prstGeom prst="round2SameRect">
          <a:avLst/>
        </a:prstGeom>
        <a:solidFill>
          <a:schemeClr val="accent5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20320" rIns="6096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 smtClean="0">
              <a:solidFill>
                <a:schemeClr val="tx1"/>
              </a:solidFill>
            </a:rPr>
            <a:t>History shows that companies that </a:t>
          </a:r>
          <a:r>
            <a:rPr lang="en-US" sz="1600" b="1" kern="1200" dirty="0" smtClean="0">
              <a:solidFill>
                <a:schemeClr val="tx1"/>
              </a:solidFill>
            </a:rPr>
            <a:t>continuously pay dividends</a:t>
          </a:r>
          <a:r>
            <a:rPr lang="en-US" sz="1600" b="0" kern="1200" dirty="0" smtClean="0">
              <a:solidFill>
                <a:schemeClr val="tx1"/>
              </a:solidFill>
            </a:rPr>
            <a:t> during good times also do so during bear markets</a:t>
          </a:r>
          <a:endParaRPr lang="en-US" sz="1600" kern="1200" dirty="0">
            <a:solidFill>
              <a:schemeClr val="tx1"/>
            </a:solidFill>
          </a:endParaRPr>
        </a:p>
      </dsp:txBody>
      <dsp:txXfrm>
        <a:off x="-31138" y="1671831"/>
        <a:ext cx="2734045" cy="2013985"/>
      </dsp:txXfrm>
    </dsp:sp>
    <dsp:sp modelId="{DF006412-3B0A-4C88-BAD8-EC7293DF7650}">
      <dsp:nvSpPr>
        <dsp:cNvPr id="0" name=""/>
        <dsp:cNvSpPr/>
      </dsp:nvSpPr>
      <dsp:spPr>
        <a:xfrm>
          <a:off x="2777385" y="606695"/>
          <a:ext cx="2940765" cy="2117345"/>
        </a:xfrm>
        <a:prstGeom prst="round2SameRect">
          <a:avLst/>
        </a:prstGeom>
        <a:solidFill>
          <a:schemeClr val="accent5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20320" rIns="6096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 smtClean="0">
              <a:solidFill>
                <a:schemeClr val="tx1"/>
              </a:solidFill>
            </a:rPr>
            <a:t>Select Dividend Indices track performance of the </a:t>
          </a:r>
          <a:r>
            <a:rPr lang="en-US" sz="1600" b="1" kern="1200" dirty="0" smtClean="0">
              <a:solidFill>
                <a:schemeClr val="tx1"/>
              </a:solidFill>
            </a:rPr>
            <a:t>highest dividend-yielding</a:t>
          </a:r>
          <a:r>
            <a:rPr lang="en-US" sz="1600" b="0" kern="1200" dirty="0" smtClean="0">
              <a:solidFill>
                <a:schemeClr val="tx1"/>
              </a:solidFill>
            </a:rPr>
            <a:t> stocks relative to their home market</a:t>
          </a:r>
          <a:endParaRPr lang="en-US" sz="1600" kern="1200" dirty="0">
            <a:solidFill>
              <a:schemeClr val="tx1"/>
            </a:solidFill>
          </a:endParaRPr>
        </a:p>
      </dsp:txBody>
      <dsp:txXfrm>
        <a:off x="2880745" y="710055"/>
        <a:ext cx="2734045" cy="2013985"/>
      </dsp:txXfrm>
    </dsp:sp>
    <dsp:sp modelId="{C0DA3C3F-043A-41F0-B6DA-424C32C9FD50}">
      <dsp:nvSpPr>
        <dsp:cNvPr id="0" name=""/>
        <dsp:cNvSpPr/>
      </dsp:nvSpPr>
      <dsp:spPr>
        <a:xfrm rot="2400000">
          <a:off x="5722488" y="1678625"/>
          <a:ext cx="2940765" cy="2117345"/>
        </a:xfrm>
        <a:prstGeom prst="round2SameRect">
          <a:avLst/>
        </a:prstGeom>
        <a:solidFill>
          <a:schemeClr val="accent5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20320" rIns="6096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olidFill>
                <a:schemeClr val="tx1"/>
              </a:solidFill>
            </a:rPr>
            <a:t>STOXX ensures that component </a:t>
          </a:r>
          <a:r>
            <a:rPr lang="en-US" sz="1600" b="1" kern="1200" dirty="0" smtClean="0">
              <a:solidFill>
                <a:schemeClr val="tx1"/>
              </a:solidFill>
            </a:rPr>
            <a:t>selection and weighting </a:t>
          </a:r>
          <a:r>
            <a:rPr lang="en-US" sz="1600" kern="1200" dirty="0" smtClean="0">
              <a:solidFill>
                <a:schemeClr val="tx1"/>
              </a:solidFill>
            </a:rPr>
            <a:t>for Select Dividend Indices is </a:t>
          </a:r>
          <a:r>
            <a:rPr lang="en-US" sz="1600" b="0" kern="1200" dirty="0" smtClean="0">
              <a:solidFill>
                <a:schemeClr val="tx1"/>
              </a:solidFill>
            </a:rPr>
            <a:t>purely based on relative net dividend yield.</a:t>
          </a:r>
          <a:endParaRPr lang="en-US" sz="1600" kern="1200" dirty="0">
            <a:solidFill>
              <a:schemeClr val="tx1"/>
            </a:solidFill>
          </a:endParaRPr>
        </a:p>
      </dsp:txBody>
      <dsp:txXfrm>
        <a:off x="5792629" y="1769894"/>
        <a:ext cx="2734045" cy="201398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diagrams.loki3.com/TabbedArc+Icon">
  <dgm:title val="Tabbed Arc"/>
  <dgm:desc val="Use to show a set of related items arcing over a common area.  Best with small amounts of text."/>
  <dgm:catLst>
    <dgm:cat type="relationship" pri="20500"/>
    <dgm:cat type="officeonline" pri="4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1">
        <dgm:alg type="cycle"/>
      </dgm:if>
      <dgm:else name="Name3">
        <dgm:choose name="Name4">
          <dgm:if name="Name5" axis="ch" ptType="node" func="cnt" op="lte" val="3">
            <dgm:choose name="Name6">
              <dgm:if name="Name7" func="var" arg="dir" op="equ" val="norm">
                <dgm:alg type="cycle">
                  <dgm:param type="stAng" val="-40"/>
                  <dgm:param type="spanAng" val="80"/>
                  <dgm:param type="rotPath" val="alongPath"/>
                </dgm:alg>
              </dgm:if>
              <dgm:else name="Name8">
                <dgm:alg type="cycle">
                  <dgm:param type="stAng" val="40"/>
                  <dgm:param type="spanAng" val="-80"/>
                  <dgm:param type="rotPath" val="alongPath"/>
                </dgm:alg>
              </dgm:else>
            </dgm:choose>
          </dgm:if>
          <dgm:else name="Name9">
            <dgm:choose name="Name10">
              <dgm:if name="Name11" func="var" arg="dir" op="equ" val="norm">
                <dgm:alg type="cycle">
                  <dgm:param type="stAng" val="-60"/>
                  <dgm:param type="spanAng" val="120"/>
                  <dgm:param type="rotPath" val="alongPath"/>
                </dgm:alg>
              </dgm:if>
              <dgm:else name="Name12">
                <dgm:alg type="cycle">
                  <dgm:param type="stAng" val="60"/>
                  <dgm:param type="spanAng" val="-120"/>
                  <dgm:param type="rotPath" val="alongPath"/>
                </dgm:alg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hoose name="Name13">
      <dgm:if name="Name14" axis="ch" ptType="node" func="cnt" op="equ" val="2">
        <dgm:constrLst>
          <dgm:constr type="w" for="ch" ptType="node" refType="w"/>
          <dgm:constr type="primFontSz" for="ch" ptType="node" op="equ" val="65"/>
          <dgm:constr type="sibSp" refType="w" fact="0.22"/>
        </dgm:constrLst>
      </dgm:if>
      <dgm:else name="Name15">
        <dgm:constrLst>
          <dgm:constr type="w" for="ch" ptType="node" refType="w"/>
          <dgm:constr type="primFontSz" for="ch" ptType="node" op="equ" val="65"/>
          <dgm:constr type="sibSp" refType="w" fact="0.14"/>
        </dgm:constrLst>
      </dgm:else>
    </dgm:choose>
    <dgm:ruleLst/>
    <dgm:forEach name="Name16" axis="ch" ptType="node">
      <dgm:choose name="Name17">
        <dgm:if name="Name18" axis="par ch" ptType="doc node" func="cnt" op="equ" val="1">
          <dgm:layoutNode name="one">
            <dgm:varLst>
              <dgm:bulletEnabled val="1"/>
            </dgm:varLst>
            <dgm:alg type="tx"/>
            <dgm:shape xmlns:r="http://schemas.openxmlformats.org/officeDocument/2006/relationships" type="round2SameRect" r:blip="">
              <dgm:adjLst/>
            </dgm:shape>
            <dgm:presOf axis="desOrSelf" ptType="node"/>
            <dgm:constrLst>
              <dgm:constr type="h" refType="w" fact="0.65"/>
              <dgm:constr type="tMarg" refType="primFontSz" fact="0.1"/>
              <dgm:constr type="bMarg" refType="primFontSz" fact="0.1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9">
          <dgm:layoutNode name="twoplus">
            <dgm:varLst>
              <dgm:bulletEnabled val="1"/>
            </dgm:varLst>
            <dgm:alg type="tx">
              <dgm:param type="autoTxRot" val="grav"/>
            </dgm:alg>
            <dgm:shape xmlns:r="http://schemas.openxmlformats.org/officeDocument/2006/relationships" type="round2SameRect" r:blip="">
              <dgm:adjLst/>
            </dgm:shape>
            <dgm:presOf axis="desOrSelf" ptType="node"/>
            <dgm:constrLst>
              <dgm:constr type="h" refType="w" fact="0.65"/>
              <dgm:constr type="tMarg" refType="primFontSz" fact="0.1"/>
              <dgm:constr type="bMarg" refType="primFontSz" fact="0.1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68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52500" y="685800"/>
            <a:ext cx="4953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 b="0"/>
            </a:lvl1pPr>
          </a:lstStyle>
          <a:p>
            <a:pPr>
              <a:defRPr/>
            </a:pPr>
            <a:fld id="{401C61C1-12D8-4095-8212-77BF3E194D2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54872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98BEA09-2380-4C02-8A75-A61CB2AAA694}" type="slidenum">
              <a:rPr lang="de-DE" smtClean="0">
                <a:solidFill>
                  <a:prstClr val="black"/>
                </a:solidFill>
              </a:rPr>
              <a:pPr/>
              <a:t>4</a:t>
            </a:fld>
            <a:endParaRPr lang="de-DE" dirty="0" smtClean="0">
              <a:solidFill>
                <a:prstClr val="black"/>
              </a:solidFill>
            </a:endParaRPr>
          </a:p>
        </p:txBody>
      </p:sp>
      <p:sp>
        <p:nvSpPr>
          <p:cNvPr id="952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52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+10 y governant bond ECB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116A4CB-317A-400F-BF24-18FE7497DA00}" type="slidenum">
              <a:rPr lang="de-DE" smtClean="0">
                <a:solidFill>
                  <a:prstClr val="black"/>
                </a:solidFill>
              </a:rPr>
              <a:pPr/>
              <a:t>5</a:t>
            </a:fld>
            <a:endParaRPr lang="de-DE" dirty="0" smtClean="0">
              <a:solidFill>
                <a:prstClr val="black"/>
              </a:solidFill>
            </a:endParaRPr>
          </a:p>
        </p:txBody>
      </p:sp>
      <p:sp>
        <p:nvSpPr>
          <p:cNvPr id="1085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85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116A4CB-317A-400F-BF24-18FE7497DA00}" type="slidenum">
              <a:rPr lang="de-DE" smtClean="0">
                <a:solidFill>
                  <a:prstClr val="black"/>
                </a:solidFill>
              </a:rPr>
              <a:pPr/>
              <a:t>6</a:t>
            </a:fld>
            <a:endParaRPr lang="de-DE" dirty="0" smtClean="0">
              <a:solidFill>
                <a:prstClr val="black"/>
              </a:solidFill>
            </a:endParaRPr>
          </a:p>
        </p:txBody>
      </p:sp>
      <p:sp>
        <p:nvSpPr>
          <p:cNvPr id="1085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85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0457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759E2D6-FE05-47BC-8AFB-090B84A385EA}" type="slidenum">
              <a:rPr lang="de-DE" smtClean="0">
                <a:solidFill>
                  <a:prstClr val="black"/>
                </a:solidFill>
              </a:rPr>
              <a:pPr/>
              <a:t>9</a:t>
            </a:fld>
            <a:endParaRPr lang="de-DE" dirty="0" smtClean="0">
              <a:solidFill>
                <a:prstClr val="black"/>
              </a:solidFill>
            </a:endParaRPr>
          </a:p>
        </p:txBody>
      </p:sp>
      <p:sp>
        <p:nvSpPr>
          <p:cNvPr id="1003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03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01C61C1-12D8-4095-8212-77BF3E194D2E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01C61C1-12D8-4095-8212-77BF3E194D2E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EE2E884-40A8-4798-BF18-D6CB35A0624F}" type="slidenum">
              <a:rPr lang="de-DE">
                <a:solidFill>
                  <a:srgbClr val="000000"/>
                </a:solidFill>
              </a:rPr>
              <a:pPr/>
              <a:t>1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85455" y="8686289"/>
            <a:ext cx="2972548" cy="457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94" tIns="45748" rIns="91494" bIns="45748" anchor="b"/>
          <a:lstStyle/>
          <a:p>
            <a:pPr algn="r" eaLnBrk="0" fontAlgn="auto" hangingPunct="0">
              <a:spcBef>
                <a:spcPct val="0"/>
              </a:spcBef>
              <a:spcAft>
                <a:spcPts val="0"/>
              </a:spcAft>
            </a:pPr>
            <a:fld id="{13689EED-5508-406E-9B63-92BBE18CB967}" type="slidenum">
              <a:rPr lang="en-US" sz="1200" b="0">
                <a:solidFill>
                  <a:srgbClr val="000000"/>
                </a:solidFill>
                <a:latin typeface="Calibri"/>
                <a:ea typeface="ＭＳ Ｐゴシック" pitchFamily="34" charset="-128"/>
              </a:rPr>
              <a:pPr algn="r" eaLnBrk="0" fontAlgn="auto" hangingPunct="0">
                <a:spcBef>
                  <a:spcPct val="0"/>
                </a:spcBef>
                <a:spcAft>
                  <a:spcPts val="0"/>
                </a:spcAft>
              </a:pPr>
              <a:t>13</a:t>
            </a:fld>
            <a:endParaRPr lang="en-US" sz="1200" b="0" dirty="0">
              <a:solidFill>
                <a:srgbClr val="000000"/>
              </a:solidFill>
              <a:latin typeface="Calibri"/>
              <a:ea typeface="ＭＳ Ｐゴシック" pitchFamily="34" charset="-128"/>
            </a:endParaRPr>
          </a:p>
        </p:txBody>
      </p:sp>
      <p:sp>
        <p:nvSpPr>
          <p:cNvPr id="2970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63550" y="457200"/>
            <a:ext cx="5927725" cy="4103688"/>
          </a:xfrm>
          <a:ln/>
        </p:spPr>
      </p:sp>
      <p:sp>
        <p:nvSpPr>
          <p:cNvPr id="2970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485" y="4561036"/>
            <a:ext cx="5487041" cy="4116482"/>
          </a:xfrm>
          <a:noFill/>
          <a:ln/>
        </p:spPr>
        <p:txBody>
          <a:bodyPr/>
          <a:lstStyle/>
          <a:p>
            <a:pPr eaLnBrk="1" hangingPunct="1"/>
            <a:endParaRPr lang="de-CH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jpe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jpeg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jpe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jpe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jpe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.jpe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jpe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jpe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jpeg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jpeg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7.jpe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7.jpe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jpe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jpe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jpe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jpe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jpe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jpe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jpe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1413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76806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8152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2007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9716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92451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6887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7717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8543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2087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1526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1342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37413" y="390525"/>
            <a:ext cx="2289175" cy="56927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68300" y="390525"/>
            <a:ext cx="6716713" cy="5692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0218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2583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872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OXX LIMI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2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9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0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3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4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6125740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5554764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43719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0782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9525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5089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 marL="725488" indent="-725488">
              <a:lnSpc>
                <a:spcPct val="95000"/>
              </a:lnSpc>
              <a:defRPr sz="4800" b="0" cap="all" baseline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3082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7351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OXX LIMI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2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9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0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3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4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7864207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3118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1114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48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333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4367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0801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6679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546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5932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8777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6287030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4435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7933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121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4021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4574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753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925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OXX LIMI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2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9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3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4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241781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1759782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601820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5538177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6656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024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5309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 marL="725488" indent="-725488">
              <a:lnSpc>
                <a:spcPct val="95000"/>
              </a:lnSpc>
              <a:defRPr sz="4800" b="0" cap="all" baseline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970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684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4478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9425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1154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757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2115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2601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4433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2468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2293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48194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1416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2065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2080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805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74163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288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28514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62000" cy="306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368300" y="1849438"/>
            <a:ext cx="9158288" cy="38496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0168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7043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7"/>
          <p:cNvSpPr txBox="1">
            <a:spLocks noChangeArrowheads="1"/>
          </p:cNvSpPr>
          <p:nvPr userDrawn="1"/>
        </p:nvSpPr>
        <p:spPr bwMode="auto">
          <a:xfrm>
            <a:off x="8483600" y="6477000"/>
            <a:ext cx="9969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defRPr/>
            </a:pPr>
            <a:fld id="{E3A0D72D-8C7B-4BD3-9407-368C10C9D43B}" type="slidenum">
              <a:rPr lang="en-US" sz="1200" b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200" b="0" dirty="0">
              <a:solidFill>
                <a:prstClr val="black"/>
              </a:solidFill>
            </a:endParaRPr>
          </a:p>
        </p:txBody>
      </p:sp>
      <p:sp>
        <p:nvSpPr>
          <p:cNvPr id="112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68036" y="298451"/>
            <a:ext cx="9157891" cy="70173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>
                <a:solidFill>
                  <a:srgbClr val="009EE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574167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62000" cy="306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368300" y="1849438"/>
            <a:ext cx="9158288" cy="38496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0597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62000" cy="306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368300" y="1849438"/>
            <a:ext cx="9158288" cy="38496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84668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9119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474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9705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544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998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5692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225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2589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8076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OXX LIMI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2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9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0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3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4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2938677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3518551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5559210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2861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6239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1238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 marL="725488" indent="-725488">
              <a:lnSpc>
                <a:spcPct val="95000"/>
              </a:lnSpc>
              <a:defRPr sz="4800" b="0" cap="all" baseline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70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5956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809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 marL="725488" indent="-725488">
              <a:lnSpc>
                <a:spcPct val="95000"/>
              </a:lnSpc>
              <a:defRPr sz="4800" b="0" cap="all" baseline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182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3422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3609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8513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6548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0505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3673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2801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73146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0019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991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0826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6683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694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7143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3803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8944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5661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OXX LIMI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2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9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0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3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4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930681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5557304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8157138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0009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9842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940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1426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3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 marL="725488" indent="-725488">
              <a:lnSpc>
                <a:spcPct val="95000"/>
              </a:lnSpc>
              <a:defRPr sz="4800" b="0" cap="all" baseline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075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0602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037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6295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2865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243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4366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8004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9516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4767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872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8794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4432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2341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4323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4764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1048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9551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1820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7512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48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7437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8385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9472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775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41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2106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8027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63377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9386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3882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520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4092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839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0283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8356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OXX LIMI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2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9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0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3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4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089684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685888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75461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8300" y="1820863"/>
            <a:ext cx="4502150" cy="4262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2850" y="1820863"/>
            <a:ext cx="4503738" cy="4262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7291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0468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8978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0608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 marL="725488" indent="-725488">
              <a:lnSpc>
                <a:spcPct val="95000"/>
              </a:lnSpc>
              <a:defRPr sz="4800" b="0" cap="all" baseline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715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7161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9573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636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4197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2072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7440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9101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3689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5379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9147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128192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0705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915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325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114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063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6145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325367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741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372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OXX LIMI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2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9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0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3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4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5755052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824805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733038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1449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3213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3159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 marL="725488" indent="-725488">
              <a:lnSpc>
                <a:spcPct val="95000"/>
              </a:lnSpc>
              <a:defRPr sz="4800" b="0" cap="all" baseline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074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3546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99203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9830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7890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5564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204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6218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6519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4983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642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98393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3298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034549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7006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3991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725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7434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1222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1546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850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OXX LIMI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2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9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0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3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4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3958687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0019214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9857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483785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8806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5043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9379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 marL="725488" indent="-725488">
              <a:lnSpc>
                <a:spcPct val="95000"/>
              </a:lnSpc>
              <a:defRPr sz="4800" b="0" cap="all" baseline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3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1207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8559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6764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6100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68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7490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image" Target="../media/image2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image" Target="../media/image2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Relationship Id="rId27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slideLayout" Target="../slideLayouts/slideLayout149.xml"/><Relationship Id="rId18" Type="http://schemas.openxmlformats.org/officeDocument/2006/relationships/slideLayout" Target="../slideLayouts/slideLayout154.xml"/><Relationship Id="rId26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39.xml"/><Relationship Id="rId21" Type="http://schemas.openxmlformats.org/officeDocument/2006/relationships/slideLayout" Target="../slideLayouts/slideLayout157.xml"/><Relationship Id="rId34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48.xml"/><Relationship Id="rId17" Type="http://schemas.openxmlformats.org/officeDocument/2006/relationships/slideLayout" Target="../slideLayouts/slideLayout153.xml"/><Relationship Id="rId25" Type="http://schemas.openxmlformats.org/officeDocument/2006/relationships/slideLayout" Target="../slideLayouts/slideLayout161.xml"/><Relationship Id="rId33" Type="http://schemas.openxmlformats.org/officeDocument/2006/relationships/slideLayout" Target="../slideLayouts/slideLayout169.xml"/><Relationship Id="rId2" Type="http://schemas.openxmlformats.org/officeDocument/2006/relationships/slideLayout" Target="../slideLayouts/slideLayout138.xml"/><Relationship Id="rId16" Type="http://schemas.openxmlformats.org/officeDocument/2006/relationships/slideLayout" Target="../slideLayouts/slideLayout152.xml"/><Relationship Id="rId20" Type="http://schemas.openxmlformats.org/officeDocument/2006/relationships/slideLayout" Target="../slideLayouts/slideLayout156.xml"/><Relationship Id="rId29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24" Type="http://schemas.openxmlformats.org/officeDocument/2006/relationships/slideLayout" Target="../slideLayouts/slideLayout160.xml"/><Relationship Id="rId32" Type="http://schemas.openxmlformats.org/officeDocument/2006/relationships/slideLayout" Target="../slideLayouts/slideLayout168.xml"/><Relationship Id="rId5" Type="http://schemas.openxmlformats.org/officeDocument/2006/relationships/slideLayout" Target="../slideLayouts/slideLayout141.xml"/><Relationship Id="rId15" Type="http://schemas.openxmlformats.org/officeDocument/2006/relationships/slideLayout" Target="../slideLayouts/slideLayout151.xml"/><Relationship Id="rId23" Type="http://schemas.openxmlformats.org/officeDocument/2006/relationships/slideLayout" Target="../slideLayouts/slideLayout159.xml"/><Relationship Id="rId28" Type="http://schemas.openxmlformats.org/officeDocument/2006/relationships/slideLayout" Target="../slideLayouts/slideLayout164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146.xml"/><Relationship Id="rId19" Type="http://schemas.openxmlformats.org/officeDocument/2006/relationships/slideLayout" Target="../slideLayouts/slideLayout155.xml"/><Relationship Id="rId31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slideLayout" Target="../slideLayouts/slideLayout150.xml"/><Relationship Id="rId22" Type="http://schemas.openxmlformats.org/officeDocument/2006/relationships/slideLayout" Target="../slideLayouts/slideLayout158.xml"/><Relationship Id="rId27" Type="http://schemas.openxmlformats.org/officeDocument/2006/relationships/slideLayout" Target="../slideLayouts/slideLayout163.xml"/><Relationship Id="rId30" Type="http://schemas.openxmlformats.org/officeDocument/2006/relationships/slideLayout" Target="../slideLayouts/slideLayout166.xml"/><Relationship Id="rId35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.xml"/><Relationship Id="rId13" Type="http://schemas.openxmlformats.org/officeDocument/2006/relationships/slideLayout" Target="../slideLayouts/slideLayout183.xml"/><Relationship Id="rId18" Type="http://schemas.openxmlformats.org/officeDocument/2006/relationships/slideLayout" Target="../slideLayouts/slideLayout188.xml"/><Relationship Id="rId26" Type="http://schemas.openxmlformats.org/officeDocument/2006/relationships/theme" Target="../theme/theme8.xml"/><Relationship Id="rId3" Type="http://schemas.openxmlformats.org/officeDocument/2006/relationships/slideLayout" Target="../slideLayouts/slideLayout173.xml"/><Relationship Id="rId21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77.xml"/><Relationship Id="rId12" Type="http://schemas.openxmlformats.org/officeDocument/2006/relationships/slideLayout" Target="../slideLayouts/slideLayout182.xml"/><Relationship Id="rId17" Type="http://schemas.openxmlformats.org/officeDocument/2006/relationships/slideLayout" Target="../slideLayouts/slideLayout187.xml"/><Relationship Id="rId25" Type="http://schemas.openxmlformats.org/officeDocument/2006/relationships/slideLayout" Target="../slideLayouts/slideLayout195.xml"/><Relationship Id="rId2" Type="http://schemas.openxmlformats.org/officeDocument/2006/relationships/slideLayout" Target="../slideLayouts/slideLayout172.xml"/><Relationship Id="rId16" Type="http://schemas.openxmlformats.org/officeDocument/2006/relationships/slideLayout" Target="../slideLayouts/slideLayout186.xml"/><Relationship Id="rId20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24" Type="http://schemas.openxmlformats.org/officeDocument/2006/relationships/slideLayout" Target="../slideLayouts/slideLayout194.xml"/><Relationship Id="rId5" Type="http://schemas.openxmlformats.org/officeDocument/2006/relationships/slideLayout" Target="../slideLayouts/slideLayout175.xml"/><Relationship Id="rId15" Type="http://schemas.openxmlformats.org/officeDocument/2006/relationships/slideLayout" Target="../slideLayouts/slideLayout185.xml"/><Relationship Id="rId23" Type="http://schemas.openxmlformats.org/officeDocument/2006/relationships/slideLayout" Target="../slideLayouts/slideLayout193.xml"/><Relationship Id="rId10" Type="http://schemas.openxmlformats.org/officeDocument/2006/relationships/slideLayout" Target="../slideLayouts/slideLayout180.xml"/><Relationship Id="rId19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Relationship Id="rId14" Type="http://schemas.openxmlformats.org/officeDocument/2006/relationships/slideLayout" Target="../slideLayouts/slideLayout184.xml"/><Relationship Id="rId22" Type="http://schemas.openxmlformats.org/officeDocument/2006/relationships/slideLayout" Target="../slideLayouts/slideLayout192.xml"/><Relationship Id="rId27" Type="http://schemas.openxmlformats.org/officeDocument/2006/relationships/image" Target="../media/image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slideLayout" Target="../slideLayouts/slideLayout208.xml"/><Relationship Id="rId18" Type="http://schemas.openxmlformats.org/officeDocument/2006/relationships/slideLayout" Target="../slideLayouts/slideLayout213.xml"/><Relationship Id="rId26" Type="http://schemas.openxmlformats.org/officeDocument/2006/relationships/theme" Target="../theme/theme9.xml"/><Relationship Id="rId3" Type="http://schemas.openxmlformats.org/officeDocument/2006/relationships/slideLayout" Target="../slideLayouts/slideLayout198.xml"/><Relationship Id="rId21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07.xml"/><Relationship Id="rId17" Type="http://schemas.openxmlformats.org/officeDocument/2006/relationships/slideLayout" Target="../slideLayouts/slideLayout212.xml"/><Relationship Id="rId25" Type="http://schemas.openxmlformats.org/officeDocument/2006/relationships/slideLayout" Target="../slideLayouts/slideLayout220.xml"/><Relationship Id="rId2" Type="http://schemas.openxmlformats.org/officeDocument/2006/relationships/slideLayout" Target="../slideLayouts/slideLayout197.xml"/><Relationship Id="rId16" Type="http://schemas.openxmlformats.org/officeDocument/2006/relationships/slideLayout" Target="../slideLayouts/slideLayout211.xml"/><Relationship Id="rId20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24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00.xml"/><Relationship Id="rId15" Type="http://schemas.openxmlformats.org/officeDocument/2006/relationships/slideLayout" Target="../slideLayouts/slideLayout210.xml"/><Relationship Id="rId23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05.xml"/><Relationship Id="rId19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slideLayout" Target="../slideLayouts/slideLayout209.xml"/><Relationship Id="rId22" Type="http://schemas.openxmlformats.org/officeDocument/2006/relationships/slideLayout" Target="../slideLayouts/slideLayout217.xml"/><Relationship Id="rId27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5" descr="STOXX_Logo_schwarz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00" y="6443663"/>
            <a:ext cx="116998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8300" y="390525"/>
            <a:ext cx="9158288" cy="7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8300" y="1820863"/>
            <a:ext cx="9158288" cy="426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3077" name="Line 8"/>
          <p:cNvSpPr>
            <a:spLocks noChangeShapeType="1"/>
          </p:cNvSpPr>
          <p:nvPr userDrawn="1"/>
        </p:nvSpPr>
        <p:spPr bwMode="auto">
          <a:xfrm flipH="1">
            <a:off x="368300" y="6286500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78" name="Text Box 7"/>
          <p:cNvSpPr txBox="1">
            <a:spLocks noChangeArrowheads="1"/>
          </p:cNvSpPr>
          <p:nvPr userDrawn="1"/>
        </p:nvSpPr>
        <p:spPr bwMode="auto">
          <a:xfrm>
            <a:off x="8483600" y="6477000"/>
            <a:ext cx="996950" cy="18256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fld id="{823E65C9-6671-4452-B2A5-88C45EB50C57}" type="slidenum">
              <a:rPr lang="en-US" sz="1200" b="0" smtClean="0"/>
              <a:pPr algn="r" eaLnBrk="1" hangingPunct="1">
                <a:defRPr/>
              </a:pPr>
              <a:t>‹#›</a:t>
            </a:fld>
            <a:endParaRPr lang="en-US" sz="1200" b="0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59" r:id="rId1"/>
    <p:sldLayoutId id="2147484660" r:id="rId2"/>
    <p:sldLayoutId id="2147484661" r:id="rId3"/>
    <p:sldLayoutId id="2147484662" r:id="rId4"/>
    <p:sldLayoutId id="2147484663" r:id="rId5"/>
    <p:sldLayoutId id="2147484664" r:id="rId6"/>
    <p:sldLayoutId id="2147484665" r:id="rId7"/>
    <p:sldLayoutId id="2147484666" r:id="rId8"/>
    <p:sldLayoutId id="2147484667" r:id="rId9"/>
    <p:sldLayoutId id="2147484668" r:id="rId10"/>
    <p:sldLayoutId id="214748466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190500" indent="-188913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2pPr>
      <a:lvl3pPr marL="361950" indent="-169863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3pPr>
      <a:lvl4pPr marL="542925" indent="-179388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4pPr>
      <a:lvl5pPr marL="715963" indent="-171450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5pPr>
      <a:lvl6pPr marL="1173163" indent="-171450" algn="l" rtl="0" fontAlgn="base">
        <a:lnSpc>
          <a:spcPct val="95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1630363" indent="-171450" algn="l" rtl="0" fontAlgn="base">
        <a:lnSpc>
          <a:spcPct val="95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2087563" indent="-171450" algn="l" rtl="0" fontAlgn="base">
        <a:lnSpc>
          <a:spcPct val="95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2544763" indent="-171450" algn="l" rtl="0" fontAlgn="base">
        <a:lnSpc>
          <a:spcPct val="95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7713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25" descr="STOXX_Logo_schwarz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68300" y="6443663"/>
            <a:ext cx="116998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8"/>
          <p:cNvSpPr>
            <a:spLocks noChangeShapeType="1"/>
          </p:cNvSpPr>
          <p:nvPr/>
        </p:nvSpPr>
        <p:spPr bwMode="auto">
          <a:xfrm flipH="1">
            <a:off x="368300" y="6286500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l" fontAlgn="auto">
              <a:spcBef>
                <a:spcPct val="0"/>
              </a:spcBef>
              <a:spcAft>
                <a:spcPts val="0"/>
              </a:spcAft>
              <a:defRPr/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68299" y="1836738"/>
            <a:ext cx="9158289" cy="4264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8716358" y="6477000"/>
            <a:ext cx="810230" cy="17543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fontAlgn="auto">
              <a:lnSpc>
                <a:spcPct val="95000"/>
              </a:lnSpc>
              <a:spcBef>
                <a:spcPct val="0"/>
              </a:spcBef>
              <a:spcAft>
                <a:spcPts val="0"/>
              </a:spcAft>
            </a:pPr>
            <a:fld id="{81716DA3-D217-4102-A658-097EFE5BB414}" type="slidenum">
              <a:rPr lang="en-US" sz="1200" b="0" smtClean="0">
                <a:solidFill>
                  <a:prstClr val="black"/>
                </a:solidFill>
                <a:latin typeface="Arial"/>
              </a:rPr>
              <a:pPr algn="r" fontAlgn="auto">
                <a:lnSpc>
                  <a:spcPct val="95000"/>
                </a:lnSpc>
                <a:spcBef>
                  <a:spcPct val="0"/>
                </a:spcBef>
                <a:spcAft>
                  <a:spcPts val="0"/>
                </a:spcAft>
              </a:pPr>
              <a:t>‹#›</a:t>
            </a:fld>
            <a:endParaRPr lang="it-IT" sz="12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9783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3" r:id="rId1"/>
    <p:sldLayoutId id="2147484684" r:id="rId2"/>
    <p:sldLayoutId id="2147484685" r:id="rId3"/>
    <p:sldLayoutId id="2147484686" r:id="rId4"/>
    <p:sldLayoutId id="2147484687" r:id="rId5"/>
    <p:sldLayoutId id="2147484688" r:id="rId6"/>
    <p:sldLayoutId id="2147484689" r:id="rId7"/>
    <p:sldLayoutId id="2147484690" r:id="rId8"/>
    <p:sldLayoutId id="2147484691" r:id="rId9"/>
    <p:sldLayoutId id="2147484692" r:id="rId10"/>
    <p:sldLayoutId id="2147484693" r:id="rId11"/>
    <p:sldLayoutId id="2147484694" r:id="rId12"/>
    <p:sldLayoutId id="2147484695" r:id="rId13"/>
    <p:sldLayoutId id="2147484696" r:id="rId14"/>
    <p:sldLayoutId id="2147484697" r:id="rId15"/>
    <p:sldLayoutId id="2147484698" r:id="rId16"/>
    <p:sldLayoutId id="2147484699" r:id="rId17"/>
    <p:sldLayoutId id="2147484700" r:id="rId18"/>
    <p:sldLayoutId id="2147484701" r:id="rId19"/>
    <p:sldLayoutId id="2147484702" r:id="rId20"/>
    <p:sldLayoutId id="2147484703" r:id="rId21"/>
    <p:sldLayoutId id="2147484704" r:id="rId22"/>
    <p:sldLayoutId id="2147484705" r:id="rId23"/>
    <p:sldLayoutId id="2147484706" r:id="rId24"/>
    <p:sldLayoutId id="2147484707" r:id="rId25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None/>
        <a:defRPr lang="en-US" sz="16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7713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25" descr="STOXX_Logo_schwarz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68300" y="6443663"/>
            <a:ext cx="116998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8"/>
          <p:cNvSpPr>
            <a:spLocks noChangeShapeType="1"/>
          </p:cNvSpPr>
          <p:nvPr/>
        </p:nvSpPr>
        <p:spPr bwMode="auto">
          <a:xfrm flipH="1">
            <a:off x="368300" y="6286500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l" fontAlgn="auto">
              <a:spcBef>
                <a:spcPct val="0"/>
              </a:spcBef>
              <a:spcAft>
                <a:spcPts val="0"/>
              </a:spcAft>
              <a:defRPr/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68299" y="1836738"/>
            <a:ext cx="9158289" cy="4264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8716358" y="6477000"/>
            <a:ext cx="810230" cy="17543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fontAlgn="auto">
              <a:lnSpc>
                <a:spcPct val="95000"/>
              </a:lnSpc>
              <a:spcBef>
                <a:spcPct val="0"/>
              </a:spcBef>
              <a:spcAft>
                <a:spcPts val="0"/>
              </a:spcAft>
            </a:pPr>
            <a:fld id="{81716DA3-D217-4102-A658-097EFE5BB414}" type="slidenum">
              <a:rPr lang="en-US" sz="1200" b="0" smtClean="0">
                <a:solidFill>
                  <a:prstClr val="black"/>
                </a:solidFill>
                <a:latin typeface="Arial"/>
              </a:rPr>
              <a:pPr algn="r" fontAlgn="auto">
                <a:lnSpc>
                  <a:spcPct val="95000"/>
                </a:lnSpc>
                <a:spcBef>
                  <a:spcPct val="0"/>
                </a:spcBef>
                <a:spcAft>
                  <a:spcPts val="0"/>
                </a:spcAft>
              </a:pPr>
              <a:t>‹#›</a:t>
            </a:fld>
            <a:endParaRPr lang="it-IT" sz="12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37397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  <p:sldLayoutId id="2147484717" r:id="rId9"/>
    <p:sldLayoutId id="2147484718" r:id="rId10"/>
    <p:sldLayoutId id="2147484719" r:id="rId11"/>
    <p:sldLayoutId id="2147484720" r:id="rId12"/>
    <p:sldLayoutId id="2147484721" r:id="rId13"/>
    <p:sldLayoutId id="2147484722" r:id="rId14"/>
    <p:sldLayoutId id="2147484723" r:id="rId15"/>
    <p:sldLayoutId id="2147484724" r:id="rId16"/>
    <p:sldLayoutId id="2147484725" r:id="rId17"/>
    <p:sldLayoutId id="2147484726" r:id="rId18"/>
    <p:sldLayoutId id="2147484727" r:id="rId19"/>
    <p:sldLayoutId id="2147484728" r:id="rId20"/>
    <p:sldLayoutId id="2147484729" r:id="rId21"/>
    <p:sldLayoutId id="2147484730" r:id="rId22"/>
    <p:sldLayoutId id="2147484731" r:id="rId23"/>
    <p:sldLayoutId id="2147484732" r:id="rId24"/>
    <p:sldLayoutId id="2147484733" r:id="rId25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None/>
        <a:defRPr lang="en-US" sz="16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7713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25" descr="STOXX_Logo_schwarz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68300" y="6443663"/>
            <a:ext cx="116998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8"/>
          <p:cNvSpPr>
            <a:spLocks noChangeShapeType="1"/>
          </p:cNvSpPr>
          <p:nvPr/>
        </p:nvSpPr>
        <p:spPr bwMode="auto">
          <a:xfrm flipH="1">
            <a:off x="368300" y="6286500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l" fontAlgn="auto">
              <a:spcBef>
                <a:spcPct val="0"/>
              </a:spcBef>
              <a:spcAft>
                <a:spcPts val="0"/>
              </a:spcAft>
              <a:defRPr/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68299" y="1836738"/>
            <a:ext cx="9158289" cy="4264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8716358" y="6477000"/>
            <a:ext cx="810230" cy="17543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fontAlgn="auto">
              <a:lnSpc>
                <a:spcPct val="95000"/>
              </a:lnSpc>
              <a:spcBef>
                <a:spcPct val="0"/>
              </a:spcBef>
              <a:spcAft>
                <a:spcPts val="0"/>
              </a:spcAft>
            </a:pPr>
            <a:fld id="{81716DA3-D217-4102-A658-097EFE5BB414}" type="slidenum">
              <a:rPr lang="en-US" sz="1200" b="0" smtClean="0">
                <a:solidFill>
                  <a:prstClr val="black"/>
                </a:solidFill>
                <a:latin typeface="Arial"/>
              </a:rPr>
              <a:pPr algn="r" fontAlgn="auto">
                <a:lnSpc>
                  <a:spcPct val="95000"/>
                </a:lnSpc>
                <a:spcBef>
                  <a:spcPct val="0"/>
                </a:spcBef>
                <a:spcAft>
                  <a:spcPts val="0"/>
                </a:spcAft>
              </a:pPr>
              <a:t>‹#›</a:t>
            </a:fld>
            <a:endParaRPr lang="it-IT" sz="12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38004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5" r:id="rId1"/>
    <p:sldLayoutId id="2147484736" r:id="rId2"/>
    <p:sldLayoutId id="2147484737" r:id="rId3"/>
    <p:sldLayoutId id="2147484738" r:id="rId4"/>
    <p:sldLayoutId id="2147484739" r:id="rId5"/>
    <p:sldLayoutId id="2147484740" r:id="rId6"/>
    <p:sldLayoutId id="2147484741" r:id="rId7"/>
    <p:sldLayoutId id="2147484742" r:id="rId8"/>
    <p:sldLayoutId id="2147484743" r:id="rId9"/>
    <p:sldLayoutId id="2147484744" r:id="rId10"/>
    <p:sldLayoutId id="2147484745" r:id="rId11"/>
    <p:sldLayoutId id="2147484746" r:id="rId12"/>
    <p:sldLayoutId id="2147484747" r:id="rId13"/>
    <p:sldLayoutId id="2147484748" r:id="rId14"/>
    <p:sldLayoutId id="2147484749" r:id="rId15"/>
    <p:sldLayoutId id="2147484750" r:id="rId16"/>
    <p:sldLayoutId id="2147484751" r:id="rId17"/>
    <p:sldLayoutId id="2147484752" r:id="rId18"/>
    <p:sldLayoutId id="2147484753" r:id="rId19"/>
    <p:sldLayoutId id="2147484754" r:id="rId20"/>
    <p:sldLayoutId id="2147484755" r:id="rId21"/>
    <p:sldLayoutId id="2147484756" r:id="rId22"/>
    <p:sldLayoutId id="2147484757" r:id="rId23"/>
    <p:sldLayoutId id="2147484758" r:id="rId24"/>
    <p:sldLayoutId id="2147484759" r:id="rId25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None/>
        <a:defRPr lang="en-US" sz="16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7713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25" descr="STOXX_Logo_schwarz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68300" y="6443663"/>
            <a:ext cx="116998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8"/>
          <p:cNvSpPr>
            <a:spLocks noChangeShapeType="1"/>
          </p:cNvSpPr>
          <p:nvPr/>
        </p:nvSpPr>
        <p:spPr bwMode="auto">
          <a:xfrm flipH="1">
            <a:off x="368300" y="6286500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l" fontAlgn="auto">
              <a:spcBef>
                <a:spcPct val="0"/>
              </a:spcBef>
              <a:spcAft>
                <a:spcPts val="0"/>
              </a:spcAft>
              <a:defRPr/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68299" y="1836738"/>
            <a:ext cx="9158289" cy="4264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8716358" y="6477000"/>
            <a:ext cx="810230" cy="17543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fontAlgn="auto">
              <a:lnSpc>
                <a:spcPct val="95000"/>
              </a:lnSpc>
              <a:spcBef>
                <a:spcPct val="0"/>
              </a:spcBef>
              <a:spcAft>
                <a:spcPts val="0"/>
              </a:spcAft>
            </a:pPr>
            <a:fld id="{81716DA3-D217-4102-A658-097EFE5BB414}" type="slidenum">
              <a:rPr lang="en-US" sz="1200" b="0" smtClean="0">
                <a:solidFill>
                  <a:prstClr val="black"/>
                </a:solidFill>
                <a:latin typeface="Arial"/>
              </a:rPr>
              <a:pPr algn="r" fontAlgn="auto">
                <a:lnSpc>
                  <a:spcPct val="95000"/>
                </a:lnSpc>
                <a:spcBef>
                  <a:spcPct val="0"/>
                </a:spcBef>
                <a:spcAft>
                  <a:spcPts val="0"/>
                </a:spcAft>
              </a:pPr>
              <a:t>‹#›</a:t>
            </a:fld>
            <a:endParaRPr lang="it-IT" sz="12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11284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None/>
        <a:defRPr lang="en-US" sz="16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7713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25" descr="STOXX_Logo_schwarz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68300" y="6443663"/>
            <a:ext cx="116998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8"/>
          <p:cNvSpPr>
            <a:spLocks noChangeShapeType="1"/>
          </p:cNvSpPr>
          <p:nvPr/>
        </p:nvSpPr>
        <p:spPr bwMode="auto">
          <a:xfrm flipH="1">
            <a:off x="368300" y="6286500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l" fontAlgn="auto">
              <a:spcBef>
                <a:spcPct val="0"/>
              </a:spcBef>
              <a:spcAft>
                <a:spcPts val="0"/>
              </a:spcAft>
              <a:defRPr/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68299" y="1836738"/>
            <a:ext cx="9158289" cy="4264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8716358" y="6477000"/>
            <a:ext cx="810230" cy="17543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fontAlgn="auto">
              <a:lnSpc>
                <a:spcPct val="95000"/>
              </a:lnSpc>
              <a:spcBef>
                <a:spcPct val="0"/>
              </a:spcBef>
              <a:spcAft>
                <a:spcPts val="0"/>
              </a:spcAft>
            </a:pPr>
            <a:fld id="{81716DA3-D217-4102-A658-097EFE5BB414}" type="slidenum">
              <a:rPr lang="en-US" sz="1200" b="0" smtClean="0">
                <a:solidFill>
                  <a:prstClr val="black"/>
                </a:solidFill>
                <a:latin typeface="Arial"/>
              </a:rPr>
              <a:pPr algn="r" fontAlgn="auto">
                <a:lnSpc>
                  <a:spcPct val="95000"/>
                </a:lnSpc>
                <a:spcBef>
                  <a:spcPct val="0"/>
                </a:spcBef>
                <a:spcAft>
                  <a:spcPts val="0"/>
                </a:spcAft>
              </a:pPr>
              <a:t>‹#›</a:t>
            </a:fld>
            <a:endParaRPr lang="it-IT" sz="12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08012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0" r:id="rId1"/>
    <p:sldLayoutId id="2147484801" r:id="rId2"/>
    <p:sldLayoutId id="2147484802" r:id="rId3"/>
    <p:sldLayoutId id="2147484803" r:id="rId4"/>
    <p:sldLayoutId id="2147484804" r:id="rId5"/>
    <p:sldLayoutId id="2147484805" r:id="rId6"/>
    <p:sldLayoutId id="2147484806" r:id="rId7"/>
    <p:sldLayoutId id="2147484807" r:id="rId8"/>
    <p:sldLayoutId id="2147484808" r:id="rId9"/>
    <p:sldLayoutId id="2147484809" r:id="rId10"/>
    <p:sldLayoutId id="2147484810" r:id="rId11"/>
    <p:sldLayoutId id="2147484811" r:id="rId12"/>
    <p:sldLayoutId id="2147484812" r:id="rId13"/>
    <p:sldLayoutId id="2147484813" r:id="rId14"/>
    <p:sldLayoutId id="2147484814" r:id="rId15"/>
    <p:sldLayoutId id="2147484815" r:id="rId16"/>
    <p:sldLayoutId id="2147484816" r:id="rId17"/>
    <p:sldLayoutId id="2147484817" r:id="rId18"/>
    <p:sldLayoutId id="2147484818" r:id="rId19"/>
    <p:sldLayoutId id="2147484819" r:id="rId20"/>
    <p:sldLayoutId id="2147484820" r:id="rId21"/>
    <p:sldLayoutId id="2147484821" r:id="rId22"/>
    <p:sldLayoutId id="2147484822" r:id="rId23"/>
    <p:sldLayoutId id="2147484823" r:id="rId24"/>
    <p:sldLayoutId id="2147484824" r:id="rId25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None/>
        <a:defRPr lang="en-US" sz="16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7713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25" descr="STOXX_Logo_schwarz"/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368300" y="6443663"/>
            <a:ext cx="116998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8"/>
          <p:cNvSpPr>
            <a:spLocks noChangeShapeType="1"/>
          </p:cNvSpPr>
          <p:nvPr/>
        </p:nvSpPr>
        <p:spPr bwMode="auto">
          <a:xfrm flipH="1">
            <a:off x="368300" y="6286500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68299" y="1836738"/>
            <a:ext cx="9158289" cy="4264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8716358" y="6477000"/>
            <a:ext cx="810230" cy="17543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lnSpc>
                <a:spcPct val="95000"/>
              </a:lnSpc>
              <a:spcBef>
                <a:spcPct val="0"/>
              </a:spcBef>
            </a:pPr>
            <a:fld id="{81716DA3-D217-4102-A658-097EFE5BB414}" type="slidenum">
              <a:rPr lang="en-US" sz="1200" smtClean="0">
                <a:solidFill>
                  <a:prstClr val="black"/>
                </a:solidFill>
              </a:rPr>
              <a:pPr algn="r">
                <a:lnSpc>
                  <a:spcPct val="95000"/>
                </a:lnSpc>
                <a:spcBef>
                  <a:spcPct val="0"/>
                </a:spcBef>
              </a:pPr>
              <a:t>‹#›</a:t>
            </a:fld>
            <a:endParaRPr lang="it-IT" sz="1200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962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6" r:id="rId1"/>
    <p:sldLayoutId id="2147484827" r:id="rId2"/>
    <p:sldLayoutId id="2147484828" r:id="rId3"/>
    <p:sldLayoutId id="2147484829" r:id="rId4"/>
    <p:sldLayoutId id="2147484830" r:id="rId5"/>
    <p:sldLayoutId id="2147484831" r:id="rId6"/>
    <p:sldLayoutId id="2147484832" r:id="rId7"/>
    <p:sldLayoutId id="2147484833" r:id="rId8"/>
    <p:sldLayoutId id="2147484834" r:id="rId9"/>
    <p:sldLayoutId id="2147484835" r:id="rId10"/>
    <p:sldLayoutId id="2147484836" r:id="rId11"/>
    <p:sldLayoutId id="2147484837" r:id="rId12"/>
    <p:sldLayoutId id="2147484838" r:id="rId13"/>
    <p:sldLayoutId id="2147484839" r:id="rId14"/>
    <p:sldLayoutId id="2147484840" r:id="rId15"/>
    <p:sldLayoutId id="2147484841" r:id="rId16"/>
    <p:sldLayoutId id="2147484842" r:id="rId17"/>
    <p:sldLayoutId id="2147484843" r:id="rId18"/>
    <p:sldLayoutId id="2147484844" r:id="rId19"/>
    <p:sldLayoutId id="2147484845" r:id="rId20"/>
    <p:sldLayoutId id="2147484846" r:id="rId21"/>
    <p:sldLayoutId id="2147484847" r:id="rId22"/>
    <p:sldLayoutId id="2147484848" r:id="rId23"/>
    <p:sldLayoutId id="2147484849" r:id="rId24"/>
    <p:sldLayoutId id="2147484850" r:id="rId25"/>
    <p:sldLayoutId id="2147484851" r:id="rId26"/>
    <p:sldLayoutId id="2147484852" r:id="rId27"/>
    <p:sldLayoutId id="2147484853" r:id="rId28"/>
    <p:sldLayoutId id="2147484854" r:id="rId29"/>
    <p:sldLayoutId id="2147484855" r:id="rId30"/>
    <p:sldLayoutId id="2147484856" r:id="rId31"/>
    <p:sldLayoutId id="2147484857" r:id="rId32"/>
    <p:sldLayoutId id="2147484858" r:id="rId33"/>
    <p:sldLayoutId id="2147484859" r:id="rId34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None/>
        <a:defRPr lang="en-US" sz="16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7713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25" descr="STOXX_Logo_schwarz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68300" y="6443663"/>
            <a:ext cx="116998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8"/>
          <p:cNvSpPr>
            <a:spLocks noChangeShapeType="1"/>
          </p:cNvSpPr>
          <p:nvPr/>
        </p:nvSpPr>
        <p:spPr bwMode="auto">
          <a:xfrm flipH="1">
            <a:off x="368300" y="6286500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l" fontAlgn="auto">
              <a:spcBef>
                <a:spcPct val="0"/>
              </a:spcBef>
              <a:spcAft>
                <a:spcPts val="0"/>
              </a:spcAft>
              <a:defRPr/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68299" y="1836738"/>
            <a:ext cx="9158289" cy="4264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8716358" y="6477000"/>
            <a:ext cx="810230" cy="17543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fontAlgn="auto">
              <a:lnSpc>
                <a:spcPct val="95000"/>
              </a:lnSpc>
              <a:spcBef>
                <a:spcPct val="0"/>
              </a:spcBef>
              <a:spcAft>
                <a:spcPts val="0"/>
              </a:spcAft>
            </a:pPr>
            <a:fld id="{81716DA3-D217-4102-A658-097EFE5BB414}" type="slidenum">
              <a:rPr lang="en-US" sz="1200" b="0" smtClean="0">
                <a:solidFill>
                  <a:prstClr val="black"/>
                </a:solidFill>
                <a:latin typeface="Arial"/>
              </a:rPr>
              <a:pPr algn="r" fontAlgn="auto">
                <a:lnSpc>
                  <a:spcPct val="95000"/>
                </a:lnSpc>
                <a:spcBef>
                  <a:spcPct val="0"/>
                </a:spcBef>
                <a:spcAft>
                  <a:spcPts val="0"/>
                </a:spcAft>
              </a:pPr>
              <a:t>‹#›</a:t>
            </a:fld>
            <a:endParaRPr lang="it-IT" sz="12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7067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1" r:id="rId1"/>
    <p:sldLayoutId id="2147484862" r:id="rId2"/>
    <p:sldLayoutId id="2147484863" r:id="rId3"/>
    <p:sldLayoutId id="2147484864" r:id="rId4"/>
    <p:sldLayoutId id="2147484865" r:id="rId5"/>
    <p:sldLayoutId id="2147484866" r:id="rId6"/>
    <p:sldLayoutId id="2147484867" r:id="rId7"/>
    <p:sldLayoutId id="2147484868" r:id="rId8"/>
    <p:sldLayoutId id="2147484869" r:id="rId9"/>
    <p:sldLayoutId id="2147484870" r:id="rId10"/>
    <p:sldLayoutId id="2147484871" r:id="rId11"/>
    <p:sldLayoutId id="2147484872" r:id="rId12"/>
    <p:sldLayoutId id="2147484873" r:id="rId13"/>
    <p:sldLayoutId id="2147484874" r:id="rId14"/>
    <p:sldLayoutId id="2147484875" r:id="rId15"/>
    <p:sldLayoutId id="2147484876" r:id="rId16"/>
    <p:sldLayoutId id="2147484877" r:id="rId17"/>
    <p:sldLayoutId id="2147484878" r:id="rId18"/>
    <p:sldLayoutId id="2147484879" r:id="rId19"/>
    <p:sldLayoutId id="2147484880" r:id="rId20"/>
    <p:sldLayoutId id="2147484881" r:id="rId21"/>
    <p:sldLayoutId id="2147484882" r:id="rId22"/>
    <p:sldLayoutId id="2147484883" r:id="rId23"/>
    <p:sldLayoutId id="2147484884" r:id="rId24"/>
    <p:sldLayoutId id="2147484885" r:id="rId25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None/>
        <a:defRPr lang="en-US" sz="16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7713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25" descr="STOXX_Logo_schwarz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68300" y="6443663"/>
            <a:ext cx="116998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8"/>
          <p:cNvSpPr>
            <a:spLocks noChangeShapeType="1"/>
          </p:cNvSpPr>
          <p:nvPr/>
        </p:nvSpPr>
        <p:spPr bwMode="auto">
          <a:xfrm flipH="1">
            <a:off x="368300" y="6286500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l" fontAlgn="auto">
              <a:spcBef>
                <a:spcPct val="0"/>
              </a:spcBef>
              <a:spcAft>
                <a:spcPts val="0"/>
              </a:spcAft>
              <a:defRPr/>
            </a:pPr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68299" y="1836738"/>
            <a:ext cx="9158289" cy="4264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8716358" y="6477000"/>
            <a:ext cx="810230" cy="17543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fontAlgn="auto">
              <a:lnSpc>
                <a:spcPct val="95000"/>
              </a:lnSpc>
              <a:spcBef>
                <a:spcPct val="0"/>
              </a:spcBef>
              <a:spcAft>
                <a:spcPts val="0"/>
              </a:spcAft>
            </a:pPr>
            <a:fld id="{81716DA3-D217-4102-A658-097EFE5BB414}" type="slidenum">
              <a:rPr lang="en-US" sz="1200" b="0" smtClean="0">
                <a:solidFill>
                  <a:prstClr val="black"/>
                </a:solidFill>
                <a:latin typeface="Arial"/>
              </a:rPr>
              <a:pPr algn="r" fontAlgn="auto">
                <a:lnSpc>
                  <a:spcPct val="95000"/>
                </a:lnSpc>
                <a:spcBef>
                  <a:spcPct val="0"/>
                </a:spcBef>
                <a:spcAft>
                  <a:spcPts val="0"/>
                </a:spcAft>
              </a:pPr>
              <a:t>‹#›</a:t>
            </a:fld>
            <a:endParaRPr lang="it-IT" sz="12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6085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61" r:id="rId1"/>
    <p:sldLayoutId id="2147485862" r:id="rId2"/>
    <p:sldLayoutId id="2147485863" r:id="rId3"/>
    <p:sldLayoutId id="2147485864" r:id="rId4"/>
    <p:sldLayoutId id="2147485865" r:id="rId5"/>
    <p:sldLayoutId id="2147485866" r:id="rId6"/>
    <p:sldLayoutId id="2147485867" r:id="rId7"/>
    <p:sldLayoutId id="2147485868" r:id="rId8"/>
    <p:sldLayoutId id="2147485869" r:id="rId9"/>
    <p:sldLayoutId id="2147485870" r:id="rId10"/>
    <p:sldLayoutId id="2147485871" r:id="rId11"/>
    <p:sldLayoutId id="2147485872" r:id="rId12"/>
    <p:sldLayoutId id="2147485873" r:id="rId13"/>
    <p:sldLayoutId id="2147485874" r:id="rId14"/>
    <p:sldLayoutId id="2147485875" r:id="rId15"/>
    <p:sldLayoutId id="2147485876" r:id="rId16"/>
    <p:sldLayoutId id="2147485877" r:id="rId17"/>
    <p:sldLayoutId id="2147485878" r:id="rId18"/>
    <p:sldLayoutId id="2147485879" r:id="rId19"/>
    <p:sldLayoutId id="2147485880" r:id="rId20"/>
    <p:sldLayoutId id="2147485881" r:id="rId21"/>
    <p:sldLayoutId id="2147485882" r:id="rId22"/>
    <p:sldLayoutId id="2147485883" r:id="rId23"/>
    <p:sldLayoutId id="2147485884" r:id="rId24"/>
    <p:sldLayoutId id="2147485885" r:id="rId25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None/>
        <a:defRPr lang="en-US" sz="16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8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33910"/>
          </a:xfrm>
        </p:spPr>
        <p:txBody>
          <a:bodyPr/>
          <a:lstStyle/>
          <a:p>
            <a:r>
              <a:rPr lang="en-US" dirty="0" smtClean="0"/>
              <a:t>March, 2014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TOXX</a:t>
            </a:r>
            <a:r>
              <a:rPr lang="en-US" baseline="30000" dirty="0" smtClean="0"/>
              <a:t>®</a:t>
            </a:r>
            <a:r>
              <a:rPr lang="en-US" b="0" baseline="30000" dirty="0" smtClean="0"/>
              <a:t> </a:t>
            </a:r>
            <a:r>
              <a:rPr lang="en-US" dirty="0" smtClean="0"/>
              <a:t> SELECT DIVIDEND IND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3541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3</a:t>
            </a:r>
            <a:r>
              <a:rPr lang="en-US" dirty="0" smtClean="0">
                <a:solidFill>
                  <a:schemeClr val="accent5"/>
                </a:solidFill>
              </a:rPr>
              <a:t>.</a:t>
            </a:r>
            <a:r>
              <a:rPr lang="en-US" dirty="0">
                <a:solidFill>
                  <a:schemeClr val="accent5"/>
                </a:solidFill>
              </a:rPr>
              <a:t>	</a:t>
            </a:r>
            <a:r>
              <a:rPr lang="en-US" dirty="0" smtClean="0">
                <a:solidFill>
                  <a:schemeClr val="accent5"/>
                </a:solidFill>
              </a:rPr>
              <a:t>PERFORMANCE AND KEY FIGURES</a:t>
            </a:r>
            <a:endParaRPr lang="en-US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454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solidFill>
                  <a:schemeClr val="tx1"/>
                </a:solidFill>
              </a:rPr>
              <a:t>STOXX</a:t>
            </a:r>
            <a:r>
              <a:rPr lang="en-US" baseline="30000" dirty="0" smtClean="0">
                <a:solidFill>
                  <a:schemeClr val="tx1"/>
                </a:solidFill>
              </a:rPr>
              <a:t>®</a:t>
            </a:r>
            <a:r>
              <a:rPr lang="en-US" dirty="0" smtClean="0">
                <a:solidFill>
                  <a:schemeClr val="tx1"/>
                </a:solidFill>
              </a:rPr>
              <a:t> Europe Select Dividend 30 significantly outperforms STOXX benchmark, MSCI Europe</a:t>
            </a:r>
          </a:p>
        </p:txBody>
      </p:sp>
      <p:sp>
        <p:nvSpPr>
          <p:cNvPr id="32771" name="Rectangle 3"/>
          <p:cNvSpPr>
            <a:spLocks noChangeArrowheads="1"/>
          </p:cNvSpPr>
          <p:nvPr/>
        </p:nvSpPr>
        <p:spPr bwMode="auto">
          <a:xfrm>
            <a:off x="368300" y="2211388"/>
            <a:ext cx="4357688" cy="2326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90500" lvl="1" indent="-188913" algn="l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en-US" sz="1400" b="0" dirty="0"/>
              <a:t>Index universe: STOXX Europe 600 index</a:t>
            </a:r>
          </a:p>
          <a:p>
            <a:pPr marL="190500" lvl="1" indent="-188913" algn="l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en-US" sz="1400" b="0" dirty="0"/>
              <a:t>Covers the highest dividend-paying stocks relative to </a:t>
            </a:r>
            <a:r>
              <a:rPr lang="en-US" sz="1400" b="0" dirty="0" smtClean="0"/>
              <a:t>the </a:t>
            </a:r>
            <a:r>
              <a:rPr lang="en-US" sz="1400" b="0" dirty="0"/>
              <a:t>home market in Europe (18 countries: Austria, Belgium, Denmark, Finland, France, Germany, Greece, Iceland, Ireland, Italy, Luxembourg, </a:t>
            </a:r>
            <a:r>
              <a:rPr lang="en-US" sz="1400" b="0" dirty="0" smtClean="0"/>
              <a:t>Netherlands</a:t>
            </a:r>
            <a:r>
              <a:rPr lang="en-US" sz="1400" b="0" dirty="0"/>
              <a:t>, Norway, Portugal, Spain, Sweden, Switzerland and </a:t>
            </a:r>
            <a:r>
              <a:rPr lang="en-US" sz="1400" b="0" dirty="0" smtClean="0"/>
              <a:t>UK)</a:t>
            </a:r>
            <a:endParaRPr lang="en-US" sz="1400" b="0" dirty="0"/>
          </a:p>
          <a:p>
            <a:pPr marL="190500" lvl="1" indent="-188913" algn="l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en-US" sz="1400" b="0" dirty="0"/>
              <a:t>Cap </a:t>
            </a:r>
            <a:r>
              <a:rPr lang="en-US" sz="1400" b="0" dirty="0" smtClean="0"/>
              <a:t>factor </a:t>
            </a:r>
            <a:r>
              <a:rPr lang="en-US" sz="1400" b="0" dirty="0"/>
              <a:t>of </a:t>
            </a:r>
            <a:r>
              <a:rPr lang="en-US" sz="1400" b="0" dirty="0" smtClean="0"/>
              <a:t>15% ensures UCITS compliance</a:t>
            </a:r>
            <a:endParaRPr lang="en-US" sz="1400" b="0" dirty="0"/>
          </a:p>
          <a:p>
            <a:pPr marL="190500" lvl="1" indent="-188913" algn="l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en-US" sz="1400" b="0" dirty="0" smtClean="0"/>
              <a:t>Indices weighted </a:t>
            </a:r>
            <a:r>
              <a:rPr lang="en-US" sz="1400" b="0" dirty="0"/>
              <a:t>according to net dividend yields</a:t>
            </a:r>
          </a:p>
          <a:p>
            <a:pPr marL="190500" lvl="1" indent="-188913" algn="l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en-US" sz="1400" b="0" dirty="0"/>
              <a:t>Launched: April 13, 2005</a:t>
            </a:r>
          </a:p>
        </p:txBody>
      </p:sp>
      <p:graphicFrame>
        <p:nvGraphicFramePr>
          <p:cNvPr id="127047" name="Group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8244066"/>
              </p:ext>
            </p:extLst>
          </p:nvPr>
        </p:nvGraphicFramePr>
        <p:xfrm>
          <a:off x="368300" y="4533643"/>
          <a:ext cx="4357688" cy="1690718"/>
        </p:xfrm>
        <a:graphic>
          <a:graphicData uri="http://schemas.openxmlformats.org/drawingml/2006/table">
            <a:tbl>
              <a:tblPr/>
              <a:tblGrid>
                <a:gridCol w="1755841"/>
                <a:gridCol w="1067317"/>
                <a:gridCol w="767265"/>
                <a:gridCol w="767265"/>
              </a:tblGrid>
              <a:tr h="5738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Index</a:t>
                      </a:r>
                      <a:endParaRPr kumimoji="0" lang="en-GB" sz="1100" b="1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72000" marR="0" marT="71989" marB="71989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Performance</a:t>
                      </a:r>
                    </a:p>
                  </a:txBody>
                  <a:tcPr marL="72000" marR="0" marT="71989" marB="719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Volatility</a:t>
                      </a:r>
                    </a:p>
                  </a:txBody>
                  <a:tcPr marL="72000" marR="0" marT="71989" marB="719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et Dividend Yield</a:t>
                      </a:r>
                    </a:p>
                  </a:txBody>
                  <a:tcPr marL="72000" marR="0" marT="71989" marB="719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44675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STOXX Europe Select Div. 30 NR</a:t>
                      </a:r>
                      <a:r>
                        <a:rPr kumimoji="0" lang="en-GB" sz="1100" b="1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)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72000" marR="0" marT="71989" marB="71989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5.87%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2.91%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5.44%</a:t>
                      </a:r>
                      <a:endParaRPr lang="en-GB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92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STOXX Europe 600 NR</a:t>
                      </a:r>
                      <a:r>
                        <a:rPr kumimoji="0" lang="en-GB" sz="1100" b="1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)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72000" marR="0" marT="71989" marB="71989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3.57%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4.20%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.82%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92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MSCI Europe NR</a:t>
                      </a:r>
                      <a:r>
                        <a:rPr kumimoji="0" lang="en-GB" sz="1100" b="1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2)</a:t>
                      </a:r>
                    </a:p>
                  </a:txBody>
                  <a:tcPr marL="72000" marR="0" marT="71989" marB="71989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3.28%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4.14%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.88%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2788" name="Text Box 46"/>
          <p:cNvSpPr txBox="1">
            <a:spLocks noChangeArrowheads="1"/>
          </p:cNvSpPr>
          <p:nvPr/>
        </p:nvSpPr>
        <p:spPr bwMode="auto">
          <a:xfrm>
            <a:off x="368300" y="1293813"/>
            <a:ext cx="91614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en-US" sz="2000" b="0" dirty="0" smtClean="0"/>
              <a:t>Index also shows lower volatility </a:t>
            </a:r>
            <a:endParaRPr lang="en-US" sz="2000" b="0" dirty="0"/>
          </a:p>
        </p:txBody>
      </p:sp>
      <p:sp>
        <p:nvSpPr>
          <p:cNvPr id="32789" name="Rectangle 2"/>
          <p:cNvSpPr>
            <a:spLocks noChangeArrowheads="1"/>
          </p:cNvSpPr>
          <p:nvPr/>
        </p:nvSpPr>
        <p:spPr bwMode="auto">
          <a:xfrm>
            <a:off x="368300" y="1846263"/>
            <a:ext cx="4357688" cy="284162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lIns="90487" tIns="0" rIns="0" bIns="0" anchor="ctr"/>
          <a:lstStyle/>
          <a:p>
            <a:pPr algn="l">
              <a:spcBef>
                <a:spcPct val="0"/>
              </a:spcBef>
            </a:pPr>
            <a:r>
              <a:rPr lang="de-DE" dirty="0" err="1">
                <a:solidFill>
                  <a:schemeClr val="bg1"/>
                </a:solidFill>
              </a:rPr>
              <a:t>Stated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Objectiv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2790" name="Rectangle 2"/>
          <p:cNvSpPr>
            <a:spLocks noChangeArrowheads="1"/>
          </p:cNvSpPr>
          <p:nvPr/>
        </p:nvSpPr>
        <p:spPr bwMode="auto">
          <a:xfrm>
            <a:off x="4953000" y="1846263"/>
            <a:ext cx="4573588" cy="284162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lIns="90487" tIns="0" rIns="0" bIns="0" anchor="ctr"/>
          <a:lstStyle/>
          <a:p>
            <a:pPr algn="l">
              <a:spcBef>
                <a:spcPct val="0"/>
              </a:spcBef>
            </a:pPr>
            <a:r>
              <a:rPr lang="en-US" dirty="0" smtClean="0">
                <a:solidFill>
                  <a:schemeClr val="bg1"/>
                </a:solidFill>
              </a:rPr>
              <a:t>Index Performance</a:t>
            </a:r>
            <a:r>
              <a:rPr lang="en-US" baseline="30000" dirty="0" smtClean="0">
                <a:solidFill>
                  <a:schemeClr val="bg1"/>
                </a:solidFill>
              </a:rPr>
              <a:t>1)</a:t>
            </a:r>
            <a:r>
              <a:rPr lang="en-US" dirty="0" smtClean="0">
                <a:solidFill>
                  <a:schemeClr val="bg1"/>
                </a:solidFill>
              </a:rPr>
              <a:t>  (USD)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2791" name="Text Box 150"/>
          <p:cNvSpPr txBox="1">
            <a:spLocks noChangeArrowheads="1"/>
          </p:cNvSpPr>
          <p:nvPr/>
        </p:nvSpPr>
        <p:spPr bwMode="auto">
          <a:xfrm>
            <a:off x="2022475" y="6407150"/>
            <a:ext cx="6540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de-DE" sz="1000" b="0" baseline="30000" dirty="0" smtClean="0">
                <a:solidFill>
                  <a:srgbClr val="AFAFAF"/>
                </a:solidFill>
              </a:rPr>
              <a:t>1)</a:t>
            </a:r>
            <a:r>
              <a:rPr lang="de-DE" sz="1000" b="0" dirty="0">
                <a:solidFill>
                  <a:srgbClr val="AFAFAF"/>
                </a:solidFill>
              </a:rPr>
              <a:t> </a:t>
            </a:r>
            <a:r>
              <a:rPr lang="de-DE" sz="1000" b="0" dirty="0" smtClean="0">
                <a:solidFill>
                  <a:srgbClr val="AFAFAF"/>
                </a:solidFill>
              </a:rPr>
              <a:t>Source: STOXX </a:t>
            </a:r>
            <a:r>
              <a:rPr lang="de-DE" sz="1000" b="0" dirty="0" err="1" smtClean="0">
                <a:solidFill>
                  <a:srgbClr val="AFAFAF"/>
                </a:solidFill>
              </a:rPr>
              <a:t>data</a:t>
            </a:r>
            <a:r>
              <a:rPr lang="de-DE" sz="1000" b="0" dirty="0" smtClean="0">
                <a:solidFill>
                  <a:srgbClr val="AFAFAF"/>
                </a:solidFill>
              </a:rPr>
              <a:t> </a:t>
            </a:r>
            <a:r>
              <a:rPr lang="de-DE" sz="1000" b="0" dirty="0" err="1" smtClean="0">
                <a:solidFill>
                  <a:srgbClr val="AFAFAF"/>
                </a:solidFill>
              </a:rPr>
              <a:t>from</a:t>
            </a:r>
            <a:r>
              <a:rPr lang="de-DE" sz="1000" b="0" dirty="0" smtClean="0">
                <a:solidFill>
                  <a:srgbClr val="AFAFAF"/>
                </a:solidFill>
              </a:rPr>
              <a:t> Jan. 2, 2001 </a:t>
            </a:r>
            <a:r>
              <a:rPr lang="de-DE" sz="1000" b="0" dirty="0" err="1" smtClean="0">
                <a:solidFill>
                  <a:srgbClr val="AFAFAF"/>
                </a:solidFill>
              </a:rPr>
              <a:t>to</a:t>
            </a:r>
            <a:r>
              <a:rPr lang="de-DE" sz="1000" b="0" dirty="0" smtClean="0">
                <a:solidFill>
                  <a:srgbClr val="AFAFAF"/>
                </a:solidFill>
              </a:rPr>
              <a:t> Jul. 5, 2013 (</a:t>
            </a:r>
            <a:r>
              <a:rPr lang="de-DE" sz="1000" b="0" dirty="0" err="1" smtClean="0">
                <a:solidFill>
                  <a:srgbClr val="AFAFAF"/>
                </a:solidFill>
              </a:rPr>
              <a:t>annualized</a:t>
            </a:r>
            <a:r>
              <a:rPr lang="de-DE" sz="1000" b="0" dirty="0" smtClean="0">
                <a:solidFill>
                  <a:srgbClr val="AFAFAF"/>
                </a:solidFill>
              </a:rPr>
              <a:t> </a:t>
            </a:r>
            <a:r>
              <a:rPr lang="de-DE" sz="1000" b="0" dirty="0" err="1" smtClean="0">
                <a:solidFill>
                  <a:srgbClr val="AFAFAF"/>
                </a:solidFill>
              </a:rPr>
              <a:t>performance</a:t>
            </a:r>
            <a:r>
              <a:rPr lang="de-DE" sz="1000" b="0" dirty="0" smtClean="0">
                <a:solidFill>
                  <a:srgbClr val="AFAFAF"/>
                </a:solidFill>
              </a:rPr>
              <a:t>)</a:t>
            </a:r>
            <a:endParaRPr lang="de-DE" sz="1000" b="0" dirty="0">
              <a:solidFill>
                <a:srgbClr val="AFAFAF"/>
              </a:solidFill>
            </a:endParaRPr>
          </a:p>
        </p:txBody>
      </p:sp>
      <p:grpSp>
        <p:nvGrpSpPr>
          <p:cNvPr id="32792" name="Group 3"/>
          <p:cNvGrpSpPr>
            <a:grpSpLocks/>
          </p:cNvGrpSpPr>
          <p:nvPr/>
        </p:nvGrpSpPr>
        <p:grpSpPr bwMode="auto">
          <a:xfrm>
            <a:off x="5259723" y="5942010"/>
            <a:ext cx="1421226" cy="276224"/>
            <a:chOff x="176" y="3865"/>
            <a:chExt cx="1361" cy="174"/>
          </a:xfrm>
        </p:grpSpPr>
        <p:sp>
          <p:nvSpPr>
            <p:cNvPr id="32797" name="Rectangle 4"/>
            <p:cNvSpPr>
              <a:spLocks noChangeArrowheads="1"/>
            </p:cNvSpPr>
            <p:nvPr/>
          </p:nvSpPr>
          <p:spPr bwMode="auto">
            <a:xfrm>
              <a:off x="176" y="3896"/>
              <a:ext cx="136" cy="91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spcBef>
                  <a:spcPct val="0"/>
                </a:spcBef>
              </a:pPr>
              <a:endParaRPr lang="en-US"/>
            </a:p>
          </p:txBody>
        </p:sp>
        <p:sp>
          <p:nvSpPr>
            <p:cNvPr id="32798" name="Legend"/>
            <p:cNvSpPr txBox="1">
              <a:spLocks noChangeArrowheads="1"/>
            </p:cNvSpPr>
            <p:nvPr/>
          </p:nvSpPr>
          <p:spPr bwMode="auto">
            <a:xfrm>
              <a:off x="376" y="3865"/>
              <a:ext cx="116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b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spcBef>
                  <a:spcPct val="0"/>
                </a:spcBef>
              </a:pPr>
              <a:r>
                <a:rPr lang="en-US" sz="900" b="0" dirty="0"/>
                <a:t>STOXX  Europe Select </a:t>
              </a:r>
              <a:endParaRPr lang="en-US" sz="900" b="0" dirty="0" smtClean="0"/>
            </a:p>
            <a:p>
              <a:pPr algn="l" eaLnBrk="1" hangingPunct="1">
                <a:spcBef>
                  <a:spcPct val="0"/>
                </a:spcBef>
              </a:pPr>
              <a:r>
                <a:rPr lang="en-US" sz="900" b="0" dirty="0" smtClean="0"/>
                <a:t>Div</a:t>
              </a:r>
              <a:r>
                <a:rPr lang="en-US" sz="900" b="0" dirty="0"/>
                <a:t>. </a:t>
              </a:r>
              <a:r>
                <a:rPr lang="en-US" sz="900" b="0" dirty="0" smtClean="0"/>
                <a:t>30 NR</a:t>
              </a:r>
              <a:endParaRPr lang="en-US" sz="900" b="0" dirty="0"/>
            </a:p>
          </p:txBody>
        </p:sp>
      </p:grpSp>
      <p:grpSp>
        <p:nvGrpSpPr>
          <p:cNvPr id="32793" name="Group 6"/>
          <p:cNvGrpSpPr>
            <a:grpSpLocks/>
          </p:cNvGrpSpPr>
          <p:nvPr/>
        </p:nvGrpSpPr>
        <p:grpSpPr bwMode="auto">
          <a:xfrm>
            <a:off x="6840757" y="5990898"/>
            <a:ext cx="1655543" cy="149585"/>
            <a:chOff x="189" y="3910"/>
            <a:chExt cx="1298" cy="80"/>
          </a:xfrm>
        </p:grpSpPr>
        <p:sp>
          <p:nvSpPr>
            <p:cNvPr id="32795" name="Rectangle 7"/>
            <p:cNvSpPr>
              <a:spLocks noChangeArrowheads="1"/>
            </p:cNvSpPr>
            <p:nvPr/>
          </p:nvSpPr>
          <p:spPr bwMode="auto">
            <a:xfrm>
              <a:off x="189" y="3910"/>
              <a:ext cx="112" cy="75"/>
            </a:xfrm>
            <a:prstGeom prst="rect">
              <a:avLst/>
            </a:prstGeom>
            <a:solidFill>
              <a:schemeClr val="accent2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spcBef>
                  <a:spcPct val="0"/>
                </a:spcBef>
              </a:pPr>
              <a:endParaRPr lang="en-US"/>
            </a:p>
          </p:txBody>
        </p:sp>
        <p:sp>
          <p:nvSpPr>
            <p:cNvPr id="32796" name="Legend"/>
            <p:cNvSpPr txBox="1">
              <a:spLocks noChangeArrowheads="1"/>
            </p:cNvSpPr>
            <p:nvPr/>
          </p:nvSpPr>
          <p:spPr bwMode="auto">
            <a:xfrm>
              <a:off x="376" y="3916"/>
              <a:ext cx="1111" cy="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spcBef>
                  <a:spcPct val="0"/>
                </a:spcBef>
              </a:pPr>
              <a:r>
                <a:rPr lang="en-US" sz="900" b="0" dirty="0"/>
                <a:t>STOXX Europe </a:t>
              </a:r>
              <a:r>
                <a:rPr lang="en-US" sz="900" b="0" dirty="0" smtClean="0"/>
                <a:t>600 NR</a:t>
              </a:r>
              <a:endParaRPr lang="en-US" sz="900" b="0" dirty="0"/>
            </a:p>
          </p:txBody>
        </p:sp>
      </p:grpSp>
      <p:graphicFrame>
        <p:nvGraphicFramePr>
          <p:cNvPr id="2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244865"/>
              </p:ext>
            </p:extLst>
          </p:nvPr>
        </p:nvGraphicFramePr>
        <p:xfrm>
          <a:off x="4906963" y="2211388"/>
          <a:ext cx="4622800" cy="3643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6" name="Group 6"/>
          <p:cNvGrpSpPr>
            <a:grpSpLocks/>
          </p:cNvGrpSpPr>
          <p:nvPr/>
        </p:nvGrpSpPr>
        <p:grpSpPr bwMode="auto">
          <a:xfrm>
            <a:off x="8412017" y="6000850"/>
            <a:ext cx="1108115" cy="139817"/>
            <a:chOff x="151" y="3934"/>
            <a:chExt cx="1336" cy="57"/>
          </a:xfrm>
        </p:grpSpPr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151" y="3935"/>
              <a:ext cx="172" cy="56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spcBef>
                  <a:spcPct val="0"/>
                </a:spcBef>
              </a:pPr>
              <a:endParaRPr lang="en-US"/>
            </a:p>
          </p:txBody>
        </p:sp>
        <p:sp>
          <p:nvSpPr>
            <p:cNvPr id="18" name="Legend"/>
            <p:cNvSpPr txBox="1">
              <a:spLocks noChangeArrowheads="1"/>
            </p:cNvSpPr>
            <p:nvPr/>
          </p:nvSpPr>
          <p:spPr bwMode="auto">
            <a:xfrm>
              <a:off x="376" y="3934"/>
              <a:ext cx="1111" cy="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spcBef>
                  <a:spcPct val="0"/>
                </a:spcBef>
              </a:pPr>
              <a:r>
                <a:rPr lang="en-US" sz="900" b="0" dirty="0" smtClean="0"/>
                <a:t>MSCI Europe NR</a:t>
              </a:r>
              <a:endParaRPr lang="en-US" sz="900" b="0" dirty="0"/>
            </a:p>
          </p:txBody>
        </p:sp>
      </p:grpSp>
      <p:sp>
        <p:nvSpPr>
          <p:cNvPr id="19" name="Text Box 150"/>
          <p:cNvSpPr txBox="1">
            <a:spLocks noChangeArrowheads="1"/>
          </p:cNvSpPr>
          <p:nvPr/>
        </p:nvSpPr>
        <p:spPr bwMode="auto">
          <a:xfrm>
            <a:off x="2022475" y="6581140"/>
            <a:ext cx="6540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de-DE" sz="1000" b="0" baseline="30000" dirty="0">
                <a:solidFill>
                  <a:srgbClr val="AFAFAF"/>
                </a:solidFill>
              </a:rPr>
              <a:t>2</a:t>
            </a:r>
            <a:r>
              <a:rPr lang="de-DE" sz="1000" b="0" baseline="30000" dirty="0" smtClean="0">
                <a:solidFill>
                  <a:srgbClr val="AFAFAF"/>
                </a:solidFill>
              </a:rPr>
              <a:t>)</a:t>
            </a:r>
            <a:r>
              <a:rPr lang="de-DE" sz="1000" b="0" dirty="0" smtClean="0">
                <a:solidFill>
                  <a:srgbClr val="AFAFAF"/>
                </a:solidFill>
              </a:rPr>
              <a:t> Source: Bloomberg </a:t>
            </a:r>
            <a:r>
              <a:rPr lang="de-DE" sz="1000" b="0" dirty="0" err="1" smtClean="0">
                <a:solidFill>
                  <a:srgbClr val="AFAFAF"/>
                </a:solidFill>
              </a:rPr>
              <a:t>data</a:t>
            </a:r>
            <a:r>
              <a:rPr lang="de-DE" sz="1000" b="0" dirty="0" smtClean="0">
                <a:solidFill>
                  <a:srgbClr val="AFAFAF"/>
                </a:solidFill>
              </a:rPr>
              <a:t> </a:t>
            </a:r>
            <a:r>
              <a:rPr lang="de-DE" sz="1000" b="0" dirty="0" err="1" smtClean="0">
                <a:solidFill>
                  <a:srgbClr val="AFAFAF"/>
                </a:solidFill>
              </a:rPr>
              <a:t>from</a:t>
            </a:r>
            <a:r>
              <a:rPr lang="de-DE" sz="1000" b="0" dirty="0" smtClean="0">
                <a:solidFill>
                  <a:srgbClr val="AFAFAF"/>
                </a:solidFill>
              </a:rPr>
              <a:t> Jan. 2, 2001 </a:t>
            </a:r>
            <a:r>
              <a:rPr lang="de-DE" sz="1000" b="0" dirty="0" err="1" smtClean="0">
                <a:solidFill>
                  <a:srgbClr val="AFAFAF"/>
                </a:solidFill>
              </a:rPr>
              <a:t>to</a:t>
            </a:r>
            <a:r>
              <a:rPr lang="de-DE" sz="1000" b="0" dirty="0" smtClean="0">
                <a:solidFill>
                  <a:srgbClr val="AFAFAF"/>
                </a:solidFill>
              </a:rPr>
              <a:t> Jul. 5, 2013 (</a:t>
            </a:r>
            <a:r>
              <a:rPr lang="de-DE" sz="1000" b="0" dirty="0" err="1" smtClean="0">
                <a:solidFill>
                  <a:srgbClr val="AFAFAF"/>
                </a:solidFill>
              </a:rPr>
              <a:t>annualized</a:t>
            </a:r>
            <a:r>
              <a:rPr lang="de-DE" sz="1000" b="0" dirty="0" smtClean="0">
                <a:solidFill>
                  <a:srgbClr val="AFAFAF"/>
                </a:solidFill>
              </a:rPr>
              <a:t> </a:t>
            </a:r>
            <a:r>
              <a:rPr lang="de-DE" sz="1000" b="0" dirty="0" err="1" smtClean="0">
                <a:solidFill>
                  <a:srgbClr val="AFAFAF"/>
                </a:solidFill>
              </a:rPr>
              <a:t>performance</a:t>
            </a:r>
            <a:r>
              <a:rPr lang="de-DE" sz="1000" b="0" dirty="0" smtClean="0">
                <a:solidFill>
                  <a:srgbClr val="AFAFAF"/>
                </a:solidFill>
              </a:rPr>
              <a:t>)</a:t>
            </a:r>
            <a:endParaRPr lang="de-DE" sz="1000" b="0" dirty="0">
              <a:solidFill>
                <a:srgbClr val="AFAFA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8013272"/>
              </p:ext>
            </p:extLst>
          </p:nvPr>
        </p:nvGraphicFramePr>
        <p:xfrm>
          <a:off x="415925" y="2170113"/>
          <a:ext cx="5840413" cy="3705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368300" y="390525"/>
            <a:ext cx="9158288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l">
              <a:spcBef>
                <a:spcPct val="0"/>
              </a:spcBef>
              <a:defRPr/>
            </a:pPr>
            <a:r>
              <a:rPr lang="de-CH" sz="2400" dirty="0" smtClean="0"/>
              <a:t>Europe </a:t>
            </a:r>
            <a:r>
              <a:rPr lang="de-CH" sz="2400" dirty="0" err="1" smtClean="0"/>
              <a:t>offering</a:t>
            </a:r>
            <a:r>
              <a:rPr lang="de-CH" sz="2400" dirty="0" smtClean="0"/>
              <a:t> </a:t>
            </a:r>
            <a:r>
              <a:rPr lang="de-CH" sz="2400" dirty="0" err="1" smtClean="0"/>
              <a:t>has</a:t>
            </a:r>
            <a:r>
              <a:rPr lang="de-CH" sz="2400" dirty="0" smtClean="0"/>
              <a:t> </a:t>
            </a:r>
            <a:r>
              <a:rPr lang="de-CH" sz="2400" dirty="0" err="1" smtClean="0"/>
              <a:t>higher</a:t>
            </a:r>
            <a:r>
              <a:rPr lang="de-CH" sz="2400" dirty="0" smtClean="0"/>
              <a:t> </a:t>
            </a:r>
            <a:r>
              <a:rPr lang="de-CH" sz="2400" dirty="0" err="1" smtClean="0"/>
              <a:t>allocation</a:t>
            </a:r>
            <a:r>
              <a:rPr lang="de-CH" sz="2400" dirty="0" smtClean="0"/>
              <a:t> </a:t>
            </a:r>
            <a:r>
              <a:rPr lang="de-CH" sz="2400" dirty="0" err="1" smtClean="0"/>
              <a:t>to</a:t>
            </a:r>
            <a:r>
              <a:rPr lang="de-CH" sz="2400" dirty="0" smtClean="0"/>
              <a:t> utilities, </a:t>
            </a:r>
            <a:r>
              <a:rPr lang="de-CH" sz="2400" dirty="0" err="1" smtClean="0"/>
              <a:t>telecoms</a:t>
            </a:r>
            <a:r>
              <a:rPr lang="de-CH" sz="2400" dirty="0" smtClean="0"/>
              <a:t>, </a:t>
            </a:r>
            <a:r>
              <a:rPr lang="de-CH" sz="2400" dirty="0" err="1" smtClean="0"/>
              <a:t>insurance</a:t>
            </a:r>
            <a:r>
              <a:rPr lang="de-CH" sz="2400" dirty="0" smtClean="0"/>
              <a:t>, </a:t>
            </a:r>
            <a:r>
              <a:rPr lang="de-CH" sz="2400" dirty="0" err="1" smtClean="0"/>
              <a:t>financial</a:t>
            </a:r>
            <a:r>
              <a:rPr lang="de-CH" sz="2400" dirty="0" smtClean="0"/>
              <a:t> </a:t>
            </a:r>
            <a:r>
              <a:rPr lang="de-CH" sz="2400" dirty="0" err="1" smtClean="0"/>
              <a:t>services</a:t>
            </a:r>
            <a:r>
              <a:rPr lang="de-CH" sz="2400" dirty="0" smtClean="0"/>
              <a:t> </a:t>
            </a:r>
            <a:r>
              <a:rPr lang="de-CH" sz="2400" dirty="0" err="1" smtClean="0"/>
              <a:t>compared</a:t>
            </a:r>
            <a:r>
              <a:rPr lang="de-CH" sz="2400" dirty="0" smtClean="0"/>
              <a:t> </a:t>
            </a:r>
            <a:r>
              <a:rPr lang="de-CH" sz="2400" dirty="0" err="1" smtClean="0"/>
              <a:t>to</a:t>
            </a:r>
            <a:r>
              <a:rPr lang="de-CH" sz="2400" dirty="0" smtClean="0"/>
              <a:t> </a:t>
            </a:r>
            <a:r>
              <a:rPr lang="de-CH" sz="2400" dirty="0" err="1" smtClean="0"/>
              <a:t>benchmark</a:t>
            </a:r>
            <a:endParaRPr lang="en-US" sz="2400" kern="0" dirty="0">
              <a:latin typeface="+mj-lt"/>
              <a:ea typeface="+mj-ea"/>
              <a:cs typeface="+mj-cs"/>
            </a:endParaRPr>
          </a:p>
        </p:txBody>
      </p:sp>
      <p:sp>
        <p:nvSpPr>
          <p:cNvPr id="33796" name="Text Box 46"/>
          <p:cNvSpPr txBox="1">
            <a:spLocks noChangeArrowheads="1"/>
          </p:cNvSpPr>
          <p:nvPr/>
        </p:nvSpPr>
        <p:spPr bwMode="auto">
          <a:xfrm>
            <a:off x="368300" y="1293813"/>
            <a:ext cx="91614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en-US" sz="2000" b="0"/>
              <a:t>Supersector allocation </a:t>
            </a:r>
          </a:p>
        </p:txBody>
      </p:sp>
      <p:sp>
        <p:nvSpPr>
          <p:cNvPr id="33797" name="Rectangle 2"/>
          <p:cNvSpPr>
            <a:spLocks noChangeArrowheads="1"/>
          </p:cNvSpPr>
          <p:nvPr/>
        </p:nvSpPr>
        <p:spPr bwMode="auto">
          <a:xfrm>
            <a:off x="368300" y="1836738"/>
            <a:ext cx="5938838" cy="284162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487" tIns="0" rIns="0" bIns="0" anchor="ctr"/>
          <a:lstStyle/>
          <a:p>
            <a:pPr algn="l">
              <a:spcBef>
                <a:spcPct val="0"/>
              </a:spcBef>
            </a:pPr>
            <a:r>
              <a:rPr lang="de-DE" sz="1400" dirty="0" err="1">
                <a:solidFill>
                  <a:schemeClr val="bg1"/>
                </a:solidFill>
              </a:rPr>
              <a:t>Supersector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allocation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of</a:t>
            </a:r>
            <a:r>
              <a:rPr lang="de-DE" sz="1400" dirty="0" smtClean="0">
                <a:solidFill>
                  <a:schemeClr val="bg1"/>
                </a:solidFill>
              </a:rPr>
              <a:t> STOXX </a:t>
            </a:r>
            <a:r>
              <a:rPr lang="de-DE" sz="1400" dirty="0">
                <a:solidFill>
                  <a:schemeClr val="bg1"/>
                </a:solidFill>
              </a:rPr>
              <a:t>Europe Select Dividend </a:t>
            </a:r>
            <a:r>
              <a:rPr lang="de-DE" sz="1400" dirty="0" smtClean="0">
                <a:solidFill>
                  <a:schemeClr val="bg1"/>
                </a:solidFill>
              </a:rPr>
              <a:t>30 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3798" name="Rectangle 15"/>
          <p:cNvSpPr>
            <a:spLocks noChangeArrowheads="1"/>
          </p:cNvSpPr>
          <p:nvPr/>
        </p:nvSpPr>
        <p:spPr bwMode="auto">
          <a:xfrm>
            <a:off x="6613525" y="1836738"/>
            <a:ext cx="2532063" cy="4335462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D9D9D9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/>
          </a:p>
        </p:txBody>
      </p:sp>
      <p:grpSp>
        <p:nvGrpSpPr>
          <p:cNvPr id="33799" name="Group 9"/>
          <p:cNvGrpSpPr>
            <a:grpSpLocks/>
          </p:cNvGrpSpPr>
          <p:nvPr/>
        </p:nvGrpSpPr>
        <p:grpSpPr bwMode="auto">
          <a:xfrm>
            <a:off x="6864350" y="1946275"/>
            <a:ext cx="339725" cy="307975"/>
            <a:chOff x="1603" y="2418"/>
            <a:chExt cx="198" cy="194"/>
          </a:xfrm>
        </p:grpSpPr>
        <p:sp>
          <p:nvSpPr>
            <p:cNvPr id="33808" name="Freeform 10"/>
            <p:cNvSpPr>
              <a:spLocks/>
            </p:cNvSpPr>
            <p:nvPr/>
          </p:nvSpPr>
          <p:spPr bwMode="auto">
            <a:xfrm>
              <a:off x="1603" y="2418"/>
              <a:ext cx="108" cy="194"/>
            </a:xfrm>
            <a:custGeom>
              <a:avLst/>
              <a:gdLst>
                <a:gd name="T0" fmla="*/ 0 w 80"/>
                <a:gd name="T1" fmla="*/ 0 h 162"/>
                <a:gd name="T2" fmla="*/ 18846 w 80"/>
                <a:gd name="T3" fmla="*/ 0 h 162"/>
                <a:gd name="T4" fmla="*/ 59034 w 80"/>
                <a:gd name="T5" fmla="*/ 4215 h 162"/>
                <a:gd name="T6" fmla="*/ 19783 w 80"/>
                <a:gd name="T7" fmla="*/ 8540 h 162"/>
                <a:gd name="T8" fmla="*/ 0 w 80"/>
                <a:gd name="T9" fmla="*/ 8540 h 162"/>
                <a:gd name="T10" fmla="*/ 35740 w 80"/>
                <a:gd name="T11" fmla="*/ 4311 h 162"/>
                <a:gd name="T12" fmla="*/ 0 w 80"/>
                <a:gd name="T13" fmla="*/ 0 h 16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0"/>
                <a:gd name="T22" fmla="*/ 0 h 162"/>
                <a:gd name="T23" fmla="*/ 80 w 80"/>
                <a:gd name="T24" fmla="*/ 162 h 16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0" h="162">
                  <a:moveTo>
                    <a:pt x="0" y="0"/>
                  </a:moveTo>
                  <a:lnTo>
                    <a:pt x="26" y="0"/>
                  </a:lnTo>
                  <a:lnTo>
                    <a:pt x="80" y="79"/>
                  </a:lnTo>
                  <a:lnTo>
                    <a:pt x="27" y="162"/>
                  </a:lnTo>
                  <a:lnTo>
                    <a:pt x="0" y="162"/>
                  </a:lnTo>
                  <a:lnTo>
                    <a:pt x="48" y="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B602"/>
            </a:solidFill>
            <a:ln w="3175">
              <a:solidFill>
                <a:srgbClr val="92B60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33809" name="Freeform 11"/>
            <p:cNvSpPr>
              <a:spLocks/>
            </p:cNvSpPr>
            <p:nvPr/>
          </p:nvSpPr>
          <p:spPr bwMode="auto">
            <a:xfrm>
              <a:off x="1693" y="2418"/>
              <a:ext cx="108" cy="194"/>
            </a:xfrm>
            <a:custGeom>
              <a:avLst/>
              <a:gdLst>
                <a:gd name="T0" fmla="*/ 0 w 80"/>
                <a:gd name="T1" fmla="*/ 0 h 162"/>
                <a:gd name="T2" fmla="*/ 18846 w 80"/>
                <a:gd name="T3" fmla="*/ 0 h 162"/>
                <a:gd name="T4" fmla="*/ 59034 w 80"/>
                <a:gd name="T5" fmla="*/ 4215 h 162"/>
                <a:gd name="T6" fmla="*/ 19783 w 80"/>
                <a:gd name="T7" fmla="*/ 8540 h 162"/>
                <a:gd name="T8" fmla="*/ 0 w 80"/>
                <a:gd name="T9" fmla="*/ 8540 h 162"/>
                <a:gd name="T10" fmla="*/ 35740 w 80"/>
                <a:gd name="T11" fmla="*/ 4311 h 162"/>
                <a:gd name="T12" fmla="*/ 0 w 80"/>
                <a:gd name="T13" fmla="*/ 0 h 16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0"/>
                <a:gd name="T22" fmla="*/ 0 h 162"/>
                <a:gd name="T23" fmla="*/ 80 w 80"/>
                <a:gd name="T24" fmla="*/ 162 h 16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0" h="162">
                  <a:moveTo>
                    <a:pt x="0" y="0"/>
                  </a:moveTo>
                  <a:lnTo>
                    <a:pt x="26" y="0"/>
                  </a:lnTo>
                  <a:lnTo>
                    <a:pt x="80" y="79"/>
                  </a:lnTo>
                  <a:lnTo>
                    <a:pt x="27" y="162"/>
                  </a:lnTo>
                  <a:lnTo>
                    <a:pt x="0" y="162"/>
                  </a:lnTo>
                  <a:lnTo>
                    <a:pt x="48" y="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B602"/>
            </a:solidFill>
            <a:ln w="3175">
              <a:solidFill>
                <a:srgbClr val="92B60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/>
            </a:p>
          </p:txBody>
        </p:sp>
      </p:grpSp>
      <p:sp>
        <p:nvSpPr>
          <p:cNvPr id="33800" name="Rectangle 12"/>
          <p:cNvSpPr>
            <a:spLocks noChangeArrowheads="1"/>
          </p:cNvSpPr>
          <p:nvPr/>
        </p:nvSpPr>
        <p:spPr bwMode="auto">
          <a:xfrm>
            <a:off x="6864350" y="2379663"/>
            <a:ext cx="2090738" cy="3090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90500" lvl="1" indent="-188913" algn="l">
              <a:lnSpc>
                <a:spcPct val="95000"/>
              </a:lnSpc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en-US" b="0" dirty="0" err="1" smtClean="0"/>
              <a:t>Supersector</a:t>
            </a:r>
            <a:r>
              <a:rPr lang="en-US" b="0" dirty="0" smtClean="0"/>
              <a:t> weights </a:t>
            </a:r>
            <a:r>
              <a:rPr lang="en-US" b="0" dirty="0"/>
              <a:t>in </a:t>
            </a:r>
            <a:r>
              <a:rPr lang="en-US" b="0" dirty="0" smtClean="0"/>
              <a:t>utilities</a:t>
            </a:r>
            <a:r>
              <a:rPr lang="en-US" b="0" dirty="0"/>
              <a:t>, </a:t>
            </a:r>
            <a:r>
              <a:rPr lang="en-US" b="0" dirty="0" smtClean="0"/>
              <a:t>telecommunications, insurance, financial services and real estate are significantly higher compared </a:t>
            </a:r>
            <a:r>
              <a:rPr lang="en-US" b="0" dirty="0"/>
              <a:t>to </a:t>
            </a:r>
            <a:r>
              <a:rPr lang="en-US" b="0" dirty="0" smtClean="0"/>
              <a:t>the STOXX </a:t>
            </a:r>
            <a:r>
              <a:rPr lang="en-US" b="0" dirty="0"/>
              <a:t>Europe </a:t>
            </a:r>
            <a:r>
              <a:rPr lang="en-US" b="0" dirty="0" smtClean="0"/>
              <a:t>600</a:t>
            </a:r>
            <a:endParaRPr lang="en-US" b="0" dirty="0"/>
          </a:p>
          <a:p>
            <a:pPr marL="190500" lvl="1" indent="-188913" algn="l">
              <a:lnSpc>
                <a:spcPct val="95000"/>
              </a:lnSpc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en-US" b="0" dirty="0" smtClean="0"/>
              <a:t>Nevertheless, the </a:t>
            </a:r>
            <a:r>
              <a:rPr lang="en-US" b="0" dirty="0"/>
              <a:t>index portfolio is well diversified across </a:t>
            </a:r>
            <a:r>
              <a:rPr lang="en-US" b="0" dirty="0" err="1" smtClean="0"/>
              <a:t>supersectors</a:t>
            </a:r>
            <a:endParaRPr lang="en-US" b="0" dirty="0"/>
          </a:p>
        </p:txBody>
      </p:sp>
      <p:sp>
        <p:nvSpPr>
          <p:cNvPr id="33801" name="Text Box 150"/>
          <p:cNvSpPr txBox="1">
            <a:spLocks noChangeArrowheads="1"/>
          </p:cNvSpPr>
          <p:nvPr/>
        </p:nvSpPr>
        <p:spPr bwMode="auto">
          <a:xfrm>
            <a:off x="2022475" y="6481862"/>
            <a:ext cx="654050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de-DE" sz="1000" b="0" dirty="0" smtClean="0">
                <a:solidFill>
                  <a:srgbClr val="AFAFAF"/>
                </a:solidFill>
              </a:rPr>
              <a:t>Source: STOXX </a:t>
            </a:r>
            <a:r>
              <a:rPr lang="de-DE" sz="1000" b="0" dirty="0" err="1" smtClean="0">
                <a:solidFill>
                  <a:srgbClr val="AFAFAF"/>
                </a:solidFill>
              </a:rPr>
              <a:t>data</a:t>
            </a:r>
            <a:r>
              <a:rPr lang="de-DE" sz="1000" b="0" dirty="0" smtClean="0">
                <a:solidFill>
                  <a:srgbClr val="AFAFAF"/>
                </a:solidFill>
              </a:rPr>
              <a:t> (</a:t>
            </a:r>
            <a:r>
              <a:rPr lang="de-DE" sz="1000" b="0" dirty="0" err="1" smtClean="0">
                <a:solidFill>
                  <a:srgbClr val="AFAFAF"/>
                </a:solidFill>
              </a:rPr>
              <a:t>Supersector</a:t>
            </a:r>
            <a:r>
              <a:rPr lang="de-DE" sz="1000" b="0" dirty="0" smtClean="0">
                <a:solidFill>
                  <a:srgbClr val="AFAFAF"/>
                </a:solidFill>
              </a:rPr>
              <a:t> </a:t>
            </a:r>
            <a:r>
              <a:rPr lang="de-DE" sz="1000" b="0" dirty="0" err="1" smtClean="0">
                <a:solidFill>
                  <a:srgbClr val="AFAFAF"/>
                </a:solidFill>
              </a:rPr>
              <a:t>allocation</a:t>
            </a:r>
            <a:r>
              <a:rPr lang="de-DE" sz="1000" b="0" dirty="0" smtClean="0">
                <a:solidFill>
                  <a:srgbClr val="AFAFAF"/>
                </a:solidFill>
              </a:rPr>
              <a:t> </a:t>
            </a:r>
            <a:r>
              <a:rPr lang="de-DE" sz="1000" b="0" dirty="0" err="1" smtClean="0">
                <a:solidFill>
                  <a:srgbClr val="AFAFAF"/>
                </a:solidFill>
              </a:rPr>
              <a:t>as</a:t>
            </a:r>
            <a:r>
              <a:rPr lang="de-DE" sz="1000" b="0" dirty="0" smtClean="0">
                <a:solidFill>
                  <a:srgbClr val="AFAFAF"/>
                </a:solidFill>
              </a:rPr>
              <a:t> </a:t>
            </a:r>
            <a:r>
              <a:rPr lang="de-DE" sz="1000" b="0" dirty="0" err="1" smtClean="0">
                <a:solidFill>
                  <a:srgbClr val="AFAFAF"/>
                </a:solidFill>
              </a:rPr>
              <a:t>of</a:t>
            </a:r>
            <a:r>
              <a:rPr lang="de-DE" sz="1000" b="0" dirty="0" smtClean="0">
                <a:solidFill>
                  <a:srgbClr val="AFAFAF"/>
                </a:solidFill>
              </a:rPr>
              <a:t> Jul. 2, 2013)</a:t>
            </a:r>
            <a:endParaRPr lang="de-DE" sz="1000" b="0" dirty="0">
              <a:solidFill>
                <a:srgbClr val="AFAFAF"/>
              </a:solidFill>
            </a:endParaRPr>
          </a:p>
        </p:txBody>
      </p:sp>
      <p:grpSp>
        <p:nvGrpSpPr>
          <p:cNvPr id="33802" name="Group 3"/>
          <p:cNvGrpSpPr>
            <a:grpSpLocks/>
          </p:cNvGrpSpPr>
          <p:nvPr/>
        </p:nvGrpSpPr>
        <p:grpSpPr bwMode="auto">
          <a:xfrm>
            <a:off x="488950" y="5986463"/>
            <a:ext cx="2079625" cy="153987"/>
            <a:chOff x="176" y="3893"/>
            <a:chExt cx="1211" cy="97"/>
          </a:xfrm>
        </p:grpSpPr>
        <p:sp>
          <p:nvSpPr>
            <p:cNvPr id="33806" name="Rectangle 4"/>
            <p:cNvSpPr>
              <a:spLocks noChangeArrowheads="1"/>
            </p:cNvSpPr>
            <p:nvPr/>
          </p:nvSpPr>
          <p:spPr bwMode="auto">
            <a:xfrm>
              <a:off x="176" y="3896"/>
              <a:ext cx="136" cy="91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spcBef>
                  <a:spcPct val="0"/>
                </a:spcBef>
              </a:pPr>
              <a:endParaRPr lang="en-US"/>
            </a:p>
          </p:txBody>
        </p:sp>
        <p:sp>
          <p:nvSpPr>
            <p:cNvPr id="33807" name="Legend"/>
            <p:cNvSpPr txBox="1">
              <a:spLocks noChangeArrowheads="1"/>
            </p:cNvSpPr>
            <p:nvPr/>
          </p:nvSpPr>
          <p:spPr bwMode="auto">
            <a:xfrm>
              <a:off x="376" y="3893"/>
              <a:ext cx="101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b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spcBef>
                  <a:spcPct val="0"/>
                </a:spcBef>
              </a:pPr>
              <a:r>
                <a:rPr lang="en-US" sz="1000" b="0"/>
                <a:t>STOXX  Europe Select Div. 30</a:t>
              </a:r>
            </a:p>
          </p:txBody>
        </p:sp>
      </p:grpSp>
      <p:grpSp>
        <p:nvGrpSpPr>
          <p:cNvPr id="33803" name="Group 6"/>
          <p:cNvGrpSpPr>
            <a:grpSpLocks/>
          </p:cNvGrpSpPr>
          <p:nvPr/>
        </p:nvGrpSpPr>
        <p:grpSpPr bwMode="auto">
          <a:xfrm>
            <a:off x="2922588" y="5986463"/>
            <a:ext cx="2254250" cy="153987"/>
            <a:chOff x="176" y="3893"/>
            <a:chExt cx="1311" cy="97"/>
          </a:xfrm>
        </p:grpSpPr>
        <p:sp>
          <p:nvSpPr>
            <p:cNvPr id="33804" name="Rectangle 7"/>
            <p:cNvSpPr>
              <a:spLocks noChangeArrowheads="1"/>
            </p:cNvSpPr>
            <p:nvPr/>
          </p:nvSpPr>
          <p:spPr bwMode="auto">
            <a:xfrm>
              <a:off x="176" y="3896"/>
              <a:ext cx="136" cy="91"/>
            </a:xfrm>
            <a:prstGeom prst="rect">
              <a:avLst/>
            </a:prstGeom>
            <a:solidFill>
              <a:schemeClr val="accent2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spcBef>
                  <a:spcPct val="0"/>
                </a:spcBef>
              </a:pPr>
              <a:endParaRPr lang="en-US"/>
            </a:p>
          </p:txBody>
        </p:sp>
        <p:sp>
          <p:nvSpPr>
            <p:cNvPr id="33805" name="Legend"/>
            <p:cNvSpPr txBox="1">
              <a:spLocks noChangeArrowheads="1"/>
            </p:cNvSpPr>
            <p:nvPr/>
          </p:nvSpPr>
          <p:spPr bwMode="auto">
            <a:xfrm>
              <a:off x="376" y="3893"/>
              <a:ext cx="111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spcBef>
                  <a:spcPct val="0"/>
                </a:spcBef>
              </a:pPr>
              <a:r>
                <a:rPr lang="en-US" sz="1000" b="0"/>
                <a:t>STOXX Europe 600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69"/>
          <p:cNvGrpSpPr>
            <a:grpSpLocks/>
          </p:cNvGrpSpPr>
          <p:nvPr/>
        </p:nvGrpSpPr>
        <p:grpSpPr bwMode="auto">
          <a:xfrm>
            <a:off x="735016" y="1548286"/>
            <a:ext cx="8124868" cy="4260869"/>
            <a:chOff x="463" y="754"/>
            <a:chExt cx="5118" cy="2684"/>
          </a:xfrm>
          <a:solidFill>
            <a:schemeClr val="bg2"/>
          </a:solidFill>
        </p:grpSpPr>
        <p:sp>
          <p:nvSpPr>
            <p:cNvPr id="18453" name="Freeform 570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1719" y="3398"/>
              <a:ext cx="23" cy="36"/>
            </a:xfrm>
            <a:custGeom>
              <a:avLst/>
              <a:gdLst>
                <a:gd name="T0" fmla="*/ 0 w 73"/>
                <a:gd name="T1" fmla="*/ 0 h 20"/>
                <a:gd name="T2" fmla="*/ 0 w 73"/>
                <a:gd name="T3" fmla="*/ 632963 h 20"/>
                <a:gd name="T4" fmla="*/ 0 w 73"/>
                <a:gd name="T5" fmla="*/ 1264306 h 20"/>
                <a:gd name="T6" fmla="*/ 0 w 73"/>
                <a:gd name="T7" fmla="*/ 1772300 h 20"/>
                <a:gd name="T8" fmla="*/ 0 w 73"/>
                <a:gd name="T9" fmla="*/ 2563537 h 20"/>
                <a:gd name="T10" fmla="*/ 0 w 73"/>
                <a:gd name="T11" fmla="*/ 2212252 h 20"/>
                <a:gd name="T12" fmla="*/ 0 w 73"/>
                <a:gd name="T13" fmla="*/ 1611236 h 20"/>
                <a:gd name="T14" fmla="*/ 0 w 73"/>
                <a:gd name="T15" fmla="*/ 1424187 h 20"/>
                <a:gd name="T16" fmla="*/ 0 w 73"/>
                <a:gd name="T17" fmla="*/ 1264306 h 20"/>
                <a:gd name="T18" fmla="*/ 0 w 73"/>
                <a:gd name="T19" fmla="*/ 984611 h 20"/>
                <a:gd name="T20" fmla="*/ 0 w 73"/>
                <a:gd name="T21" fmla="*/ 895131 h 20"/>
                <a:gd name="T22" fmla="*/ 0 w 73"/>
                <a:gd name="T23" fmla="*/ 895131 h 20"/>
                <a:gd name="T24" fmla="*/ 0 w 73"/>
                <a:gd name="T25" fmla="*/ 791215 h 20"/>
                <a:gd name="T26" fmla="*/ 0 w 73"/>
                <a:gd name="T27" fmla="*/ 632963 h 20"/>
                <a:gd name="T28" fmla="*/ 0 w 73"/>
                <a:gd name="T29" fmla="*/ 497295 h 20"/>
                <a:gd name="T30" fmla="*/ 0 w 73"/>
                <a:gd name="T31" fmla="*/ 276275 h 20"/>
                <a:gd name="T32" fmla="*/ 0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3"/>
                <a:gd name="T55" fmla="*/ 0 h 20"/>
                <a:gd name="T56" fmla="*/ 73 w 73"/>
                <a:gd name="T57" fmla="*/ 20 h 2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54" name="Freeform 571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463" y="942"/>
              <a:ext cx="535" cy="281"/>
            </a:xfrm>
            <a:custGeom>
              <a:avLst/>
              <a:gdLst>
                <a:gd name="T0" fmla="*/ 0 w 1808"/>
                <a:gd name="T1" fmla="*/ 0 h 850"/>
                <a:gd name="T2" fmla="*/ 0 w 1808"/>
                <a:gd name="T3" fmla="*/ 0 h 850"/>
                <a:gd name="T4" fmla="*/ 0 w 1808"/>
                <a:gd name="T5" fmla="*/ 0 h 850"/>
                <a:gd name="T6" fmla="*/ 0 w 1808"/>
                <a:gd name="T7" fmla="*/ 0 h 850"/>
                <a:gd name="T8" fmla="*/ 0 w 1808"/>
                <a:gd name="T9" fmla="*/ 0 h 850"/>
                <a:gd name="T10" fmla="*/ 0 w 1808"/>
                <a:gd name="T11" fmla="*/ 0 h 850"/>
                <a:gd name="T12" fmla="*/ 0 w 1808"/>
                <a:gd name="T13" fmla="*/ 0 h 850"/>
                <a:gd name="T14" fmla="*/ 0 w 1808"/>
                <a:gd name="T15" fmla="*/ 0 h 850"/>
                <a:gd name="T16" fmla="*/ 0 w 1808"/>
                <a:gd name="T17" fmla="*/ 0 h 850"/>
                <a:gd name="T18" fmla="*/ 0 w 1808"/>
                <a:gd name="T19" fmla="*/ 0 h 850"/>
                <a:gd name="T20" fmla="*/ 0 w 1808"/>
                <a:gd name="T21" fmla="*/ 0 h 850"/>
                <a:gd name="T22" fmla="*/ 0 w 1808"/>
                <a:gd name="T23" fmla="*/ 0 h 850"/>
                <a:gd name="T24" fmla="*/ 0 w 1808"/>
                <a:gd name="T25" fmla="*/ 0 h 850"/>
                <a:gd name="T26" fmla="*/ 0 w 1808"/>
                <a:gd name="T27" fmla="*/ 0 h 850"/>
                <a:gd name="T28" fmla="*/ 0 w 1808"/>
                <a:gd name="T29" fmla="*/ 0 h 850"/>
                <a:gd name="T30" fmla="*/ 0 w 1808"/>
                <a:gd name="T31" fmla="*/ 0 h 850"/>
                <a:gd name="T32" fmla="*/ 0 w 1808"/>
                <a:gd name="T33" fmla="*/ 0 h 850"/>
                <a:gd name="T34" fmla="*/ 0 w 1808"/>
                <a:gd name="T35" fmla="*/ 0 h 850"/>
                <a:gd name="T36" fmla="*/ 0 w 1808"/>
                <a:gd name="T37" fmla="*/ 0 h 850"/>
                <a:gd name="T38" fmla="*/ 0 w 1808"/>
                <a:gd name="T39" fmla="*/ 0 h 850"/>
                <a:gd name="T40" fmla="*/ 0 w 1808"/>
                <a:gd name="T41" fmla="*/ 0 h 850"/>
                <a:gd name="T42" fmla="*/ 0 w 1808"/>
                <a:gd name="T43" fmla="*/ 0 h 850"/>
                <a:gd name="T44" fmla="*/ 0 w 1808"/>
                <a:gd name="T45" fmla="*/ 0 h 850"/>
                <a:gd name="T46" fmla="*/ 0 w 1808"/>
                <a:gd name="T47" fmla="*/ 0 h 850"/>
                <a:gd name="T48" fmla="*/ 0 w 1808"/>
                <a:gd name="T49" fmla="*/ 0 h 850"/>
                <a:gd name="T50" fmla="*/ 0 w 1808"/>
                <a:gd name="T51" fmla="*/ 0 h 850"/>
                <a:gd name="T52" fmla="*/ 0 w 1808"/>
                <a:gd name="T53" fmla="*/ 0 h 850"/>
                <a:gd name="T54" fmla="*/ 0 w 1808"/>
                <a:gd name="T55" fmla="*/ 0 h 850"/>
                <a:gd name="T56" fmla="*/ 0 w 1808"/>
                <a:gd name="T57" fmla="*/ 0 h 850"/>
                <a:gd name="T58" fmla="*/ 0 w 1808"/>
                <a:gd name="T59" fmla="*/ 0 h 850"/>
                <a:gd name="T60" fmla="*/ 0 w 1808"/>
                <a:gd name="T61" fmla="*/ 0 h 850"/>
                <a:gd name="T62" fmla="*/ 0 w 1808"/>
                <a:gd name="T63" fmla="*/ 0 h 850"/>
                <a:gd name="T64" fmla="*/ 0 w 1808"/>
                <a:gd name="T65" fmla="*/ 0 h 850"/>
                <a:gd name="T66" fmla="*/ 0 w 1808"/>
                <a:gd name="T67" fmla="*/ 0 h 850"/>
                <a:gd name="T68" fmla="*/ 0 w 1808"/>
                <a:gd name="T69" fmla="*/ 0 h 850"/>
                <a:gd name="T70" fmla="*/ 0 w 1808"/>
                <a:gd name="T71" fmla="*/ 0 h 850"/>
                <a:gd name="T72" fmla="*/ 0 w 1808"/>
                <a:gd name="T73" fmla="*/ 0 h 850"/>
                <a:gd name="T74" fmla="*/ 0 w 1808"/>
                <a:gd name="T75" fmla="*/ 0 h 850"/>
                <a:gd name="T76" fmla="*/ 0 w 1808"/>
                <a:gd name="T77" fmla="*/ 0 h 850"/>
                <a:gd name="T78" fmla="*/ 0 w 1808"/>
                <a:gd name="T79" fmla="*/ 0 h 850"/>
                <a:gd name="T80" fmla="*/ 0 w 1808"/>
                <a:gd name="T81" fmla="*/ 0 h 850"/>
                <a:gd name="T82" fmla="*/ 0 w 1808"/>
                <a:gd name="T83" fmla="*/ 0 h 850"/>
                <a:gd name="T84" fmla="*/ 0 w 1808"/>
                <a:gd name="T85" fmla="*/ 0 h 850"/>
                <a:gd name="T86" fmla="*/ 0 w 1808"/>
                <a:gd name="T87" fmla="*/ 0 h 850"/>
                <a:gd name="T88" fmla="*/ 0 w 1808"/>
                <a:gd name="T89" fmla="*/ 0 h 850"/>
                <a:gd name="T90" fmla="*/ 0 w 1808"/>
                <a:gd name="T91" fmla="*/ 0 h 850"/>
                <a:gd name="T92" fmla="*/ 0 w 1808"/>
                <a:gd name="T93" fmla="*/ 0 h 850"/>
                <a:gd name="T94" fmla="*/ 0 w 1808"/>
                <a:gd name="T95" fmla="*/ 0 h 850"/>
                <a:gd name="T96" fmla="*/ 0 w 1808"/>
                <a:gd name="T97" fmla="*/ 0 h 850"/>
                <a:gd name="T98" fmla="*/ 0 w 1808"/>
                <a:gd name="T99" fmla="*/ 0 h 850"/>
                <a:gd name="T100" fmla="*/ 0 w 1808"/>
                <a:gd name="T101" fmla="*/ 0 h 850"/>
                <a:gd name="T102" fmla="*/ 0 w 1808"/>
                <a:gd name="T103" fmla="*/ 0 h 850"/>
                <a:gd name="T104" fmla="*/ 0 w 1808"/>
                <a:gd name="T105" fmla="*/ 0 h 850"/>
                <a:gd name="T106" fmla="*/ 0 w 1808"/>
                <a:gd name="T107" fmla="*/ 0 h 850"/>
                <a:gd name="T108" fmla="*/ 0 w 1808"/>
                <a:gd name="T109" fmla="*/ 0 h 850"/>
                <a:gd name="T110" fmla="*/ 0 w 1808"/>
                <a:gd name="T111" fmla="*/ 0 h 850"/>
                <a:gd name="T112" fmla="*/ 0 w 1808"/>
                <a:gd name="T113" fmla="*/ 0 h 850"/>
                <a:gd name="T114" fmla="*/ 0 w 1808"/>
                <a:gd name="T115" fmla="*/ 0 h 850"/>
                <a:gd name="T116" fmla="*/ 0 w 1808"/>
                <a:gd name="T117" fmla="*/ 0 h 850"/>
                <a:gd name="T118" fmla="*/ 0 w 1808"/>
                <a:gd name="T119" fmla="*/ 0 h 850"/>
                <a:gd name="T120" fmla="*/ 0 w 1808"/>
                <a:gd name="T121" fmla="*/ 0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08"/>
                <a:gd name="T184" fmla="*/ 0 h 850"/>
                <a:gd name="T185" fmla="*/ 1808 w 1808"/>
                <a:gd name="T186" fmla="*/ 850 h 85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55" name="Freeform 57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777" y="1330"/>
              <a:ext cx="942" cy="485"/>
            </a:xfrm>
            <a:custGeom>
              <a:avLst/>
              <a:gdLst>
                <a:gd name="T0" fmla="*/ 0 w 3175"/>
                <a:gd name="T1" fmla="*/ 0 h 1472"/>
                <a:gd name="T2" fmla="*/ 0 w 3175"/>
                <a:gd name="T3" fmla="*/ 0 h 1472"/>
                <a:gd name="T4" fmla="*/ 0 w 3175"/>
                <a:gd name="T5" fmla="*/ 0 h 1472"/>
                <a:gd name="T6" fmla="*/ 0 w 3175"/>
                <a:gd name="T7" fmla="*/ 0 h 1472"/>
                <a:gd name="T8" fmla="*/ 0 w 3175"/>
                <a:gd name="T9" fmla="*/ 0 h 1472"/>
                <a:gd name="T10" fmla="*/ 0 w 3175"/>
                <a:gd name="T11" fmla="*/ 0 h 1472"/>
                <a:gd name="T12" fmla="*/ 0 w 3175"/>
                <a:gd name="T13" fmla="*/ 0 h 1472"/>
                <a:gd name="T14" fmla="*/ 0 w 3175"/>
                <a:gd name="T15" fmla="*/ 0 h 1472"/>
                <a:gd name="T16" fmla="*/ 0 w 3175"/>
                <a:gd name="T17" fmla="*/ 0 h 1472"/>
                <a:gd name="T18" fmla="*/ 0 w 3175"/>
                <a:gd name="T19" fmla="*/ 0 h 1472"/>
                <a:gd name="T20" fmla="*/ 0 w 3175"/>
                <a:gd name="T21" fmla="*/ 0 h 1472"/>
                <a:gd name="T22" fmla="*/ 0 w 3175"/>
                <a:gd name="T23" fmla="*/ 0 h 1472"/>
                <a:gd name="T24" fmla="*/ 0 w 3175"/>
                <a:gd name="T25" fmla="*/ 0 h 1472"/>
                <a:gd name="T26" fmla="*/ 0 w 3175"/>
                <a:gd name="T27" fmla="*/ 0 h 1472"/>
                <a:gd name="T28" fmla="*/ 0 w 3175"/>
                <a:gd name="T29" fmla="*/ 0 h 1472"/>
                <a:gd name="T30" fmla="*/ 0 w 3175"/>
                <a:gd name="T31" fmla="*/ 0 h 1472"/>
                <a:gd name="T32" fmla="*/ 0 w 3175"/>
                <a:gd name="T33" fmla="*/ 0 h 1472"/>
                <a:gd name="T34" fmla="*/ 0 w 3175"/>
                <a:gd name="T35" fmla="*/ 0 h 1472"/>
                <a:gd name="T36" fmla="*/ 0 w 3175"/>
                <a:gd name="T37" fmla="*/ 0 h 1472"/>
                <a:gd name="T38" fmla="*/ 0 w 3175"/>
                <a:gd name="T39" fmla="*/ 0 h 1472"/>
                <a:gd name="T40" fmla="*/ 0 w 3175"/>
                <a:gd name="T41" fmla="*/ 0 h 1472"/>
                <a:gd name="T42" fmla="*/ 0 w 3175"/>
                <a:gd name="T43" fmla="*/ 0 h 1472"/>
                <a:gd name="T44" fmla="*/ 0 w 3175"/>
                <a:gd name="T45" fmla="*/ 0 h 1472"/>
                <a:gd name="T46" fmla="*/ 0 w 3175"/>
                <a:gd name="T47" fmla="*/ 0 h 1472"/>
                <a:gd name="T48" fmla="*/ 0 w 3175"/>
                <a:gd name="T49" fmla="*/ 0 h 1472"/>
                <a:gd name="T50" fmla="*/ 0 w 3175"/>
                <a:gd name="T51" fmla="*/ 0 h 1472"/>
                <a:gd name="T52" fmla="*/ 0 w 3175"/>
                <a:gd name="T53" fmla="*/ 0 h 1472"/>
                <a:gd name="T54" fmla="*/ 0 w 3175"/>
                <a:gd name="T55" fmla="*/ 0 h 1472"/>
                <a:gd name="T56" fmla="*/ 0 w 3175"/>
                <a:gd name="T57" fmla="*/ 0 h 1472"/>
                <a:gd name="T58" fmla="*/ 0 w 3175"/>
                <a:gd name="T59" fmla="*/ 0 h 1472"/>
                <a:gd name="T60" fmla="*/ 0 w 3175"/>
                <a:gd name="T61" fmla="*/ 0 h 1472"/>
                <a:gd name="T62" fmla="*/ 0 w 3175"/>
                <a:gd name="T63" fmla="*/ 0 h 1472"/>
                <a:gd name="T64" fmla="*/ 0 w 3175"/>
                <a:gd name="T65" fmla="*/ 0 h 1472"/>
                <a:gd name="T66" fmla="*/ 0 w 3175"/>
                <a:gd name="T67" fmla="*/ 0 h 1472"/>
                <a:gd name="T68" fmla="*/ 0 w 3175"/>
                <a:gd name="T69" fmla="*/ 0 h 1472"/>
                <a:gd name="T70" fmla="*/ 0 w 3175"/>
                <a:gd name="T71" fmla="*/ 0 h 1472"/>
                <a:gd name="T72" fmla="*/ 0 w 3175"/>
                <a:gd name="T73" fmla="*/ 0 h 1472"/>
                <a:gd name="T74" fmla="*/ 0 w 3175"/>
                <a:gd name="T75" fmla="*/ 0 h 1472"/>
                <a:gd name="T76" fmla="*/ 0 w 3175"/>
                <a:gd name="T77" fmla="*/ 0 h 1472"/>
                <a:gd name="T78" fmla="*/ 0 w 3175"/>
                <a:gd name="T79" fmla="*/ 0 h 1472"/>
                <a:gd name="T80" fmla="*/ 0 w 3175"/>
                <a:gd name="T81" fmla="*/ 0 h 1472"/>
                <a:gd name="T82" fmla="*/ 0 w 3175"/>
                <a:gd name="T83" fmla="*/ 0 h 1472"/>
                <a:gd name="T84" fmla="*/ 0 w 3175"/>
                <a:gd name="T85" fmla="*/ 0 h 1472"/>
                <a:gd name="T86" fmla="*/ 0 w 3175"/>
                <a:gd name="T87" fmla="*/ 0 h 1472"/>
                <a:gd name="T88" fmla="*/ 0 w 3175"/>
                <a:gd name="T89" fmla="*/ 0 h 1472"/>
                <a:gd name="T90" fmla="*/ 0 w 3175"/>
                <a:gd name="T91" fmla="*/ 0 h 1472"/>
                <a:gd name="T92" fmla="*/ 0 w 3175"/>
                <a:gd name="T93" fmla="*/ 0 h 1472"/>
                <a:gd name="T94" fmla="*/ 0 w 3175"/>
                <a:gd name="T95" fmla="*/ 0 h 1472"/>
                <a:gd name="T96" fmla="*/ 0 w 3175"/>
                <a:gd name="T97" fmla="*/ 0 h 1472"/>
                <a:gd name="T98" fmla="*/ 0 w 3175"/>
                <a:gd name="T99" fmla="*/ 0 h 1472"/>
                <a:gd name="T100" fmla="*/ 0 w 3175"/>
                <a:gd name="T101" fmla="*/ 0 h 1472"/>
                <a:gd name="T102" fmla="*/ 0 w 3175"/>
                <a:gd name="T103" fmla="*/ 0 h 1472"/>
                <a:gd name="T104" fmla="*/ 0 w 3175"/>
                <a:gd name="T105" fmla="*/ 0 h 1472"/>
                <a:gd name="T106" fmla="*/ 0 w 3175"/>
                <a:gd name="T107" fmla="*/ 0 h 1472"/>
                <a:gd name="T108" fmla="*/ 0 w 3175"/>
                <a:gd name="T109" fmla="*/ 0 h 1472"/>
                <a:gd name="T110" fmla="*/ 0 w 3175"/>
                <a:gd name="T111" fmla="*/ 0 h 1472"/>
                <a:gd name="T112" fmla="*/ 0 w 3175"/>
                <a:gd name="T113" fmla="*/ 0 h 1472"/>
                <a:gd name="T114" fmla="*/ 0 w 3175"/>
                <a:gd name="T115" fmla="*/ 0 h 1472"/>
                <a:gd name="T116" fmla="*/ 0 w 3175"/>
                <a:gd name="T117" fmla="*/ 0 h 1472"/>
                <a:gd name="T118" fmla="*/ 0 w 3175"/>
                <a:gd name="T119" fmla="*/ 0 h 1472"/>
                <a:gd name="T120" fmla="*/ 0 w 3175"/>
                <a:gd name="T121" fmla="*/ 0 h 1472"/>
                <a:gd name="T122" fmla="*/ 0 w 3175"/>
                <a:gd name="T123" fmla="*/ 0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75"/>
                <a:gd name="T187" fmla="*/ 0 h 1472"/>
                <a:gd name="T188" fmla="*/ 3175 w 3175"/>
                <a:gd name="T189" fmla="*/ 1472 h 147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56" name="Freeform 573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346" y="2307"/>
              <a:ext cx="231" cy="372"/>
            </a:xfrm>
            <a:custGeom>
              <a:avLst/>
              <a:gdLst>
                <a:gd name="T0" fmla="*/ 0 w 784"/>
                <a:gd name="T1" fmla="*/ 0 h 1128"/>
                <a:gd name="T2" fmla="*/ 0 w 784"/>
                <a:gd name="T3" fmla="*/ 0 h 1128"/>
                <a:gd name="T4" fmla="*/ 0 w 784"/>
                <a:gd name="T5" fmla="*/ 0 h 1128"/>
                <a:gd name="T6" fmla="*/ 0 w 784"/>
                <a:gd name="T7" fmla="*/ 0 h 1128"/>
                <a:gd name="T8" fmla="*/ 0 w 784"/>
                <a:gd name="T9" fmla="*/ 0 h 1128"/>
                <a:gd name="T10" fmla="*/ 0 w 784"/>
                <a:gd name="T11" fmla="*/ 0 h 1128"/>
                <a:gd name="T12" fmla="*/ 0 w 784"/>
                <a:gd name="T13" fmla="*/ 0 h 1128"/>
                <a:gd name="T14" fmla="*/ 0 w 784"/>
                <a:gd name="T15" fmla="*/ 0 h 1128"/>
                <a:gd name="T16" fmla="*/ 0 w 784"/>
                <a:gd name="T17" fmla="*/ 0 h 1128"/>
                <a:gd name="T18" fmla="*/ 0 w 784"/>
                <a:gd name="T19" fmla="*/ 0 h 1128"/>
                <a:gd name="T20" fmla="*/ 0 w 784"/>
                <a:gd name="T21" fmla="*/ 0 h 1128"/>
                <a:gd name="T22" fmla="*/ 0 w 784"/>
                <a:gd name="T23" fmla="*/ 0 h 1128"/>
                <a:gd name="T24" fmla="*/ 0 w 784"/>
                <a:gd name="T25" fmla="*/ 0 h 1128"/>
                <a:gd name="T26" fmla="*/ 0 w 784"/>
                <a:gd name="T27" fmla="*/ 0 h 1128"/>
                <a:gd name="T28" fmla="*/ 0 w 784"/>
                <a:gd name="T29" fmla="*/ 0 h 1128"/>
                <a:gd name="T30" fmla="*/ 0 w 784"/>
                <a:gd name="T31" fmla="*/ 0 h 1128"/>
                <a:gd name="T32" fmla="*/ 0 w 784"/>
                <a:gd name="T33" fmla="*/ 0 h 1128"/>
                <a:gd name="T34" fmla="*/ 0 w 784"/>
                <a:gd name="T35" fmla="*/ 0 h 1128"/>
                <a:gd name="T36" fmla="*/ 0 w 784"/>
                <a:gd name="T37" fmla="*/ 0 h 1128"/>
                <a:gd name="T38" fmla="*/ 0 w 784"/>
                <a:gd name="T39" fmla="*/ 0 h 1128"/>
                <a:gd name="T40" fmla="*/ 0 w 784"/>
                <a:gd name="T41" fmla="*/ 0 h 1128"/>
                <a:gd name="T42" fmla="*/ 0 w 784"/>
                <a:gd name="T43" fmla="*/ 0 h 1128"/>
                <a:gd name="T44" fmla="*/ 0 w 784"/>
                <a:gd name="T45" fmla="*/ 0 h 1128"/>
                <a:gd name="T46" fmla="*/ 0 w 784"/>
                <a:gd name="T47" fmla="*/ 0 h 1128"/>
                <a:gd name="T48" fmla="*/ 0 w 784"/>
                <a:gd name="T49" fmla="*/ 0 h 1128"/>
                <a:gd name="T50" fmla="*/ 0 w 784"/>
                <a:gd name="T51" fmla="*/ 0 h 1128"/>
                <a:gd name="T52" fmla="*/ 0 w 784"/>
                <a:gd name="T53" fmla="*/ 0 h 1128"/>
                <a:gd name="T54" fmla="*/ 0 w 784"/>
                <a:gd name="T55" fmla="*/ 0 h 1128"/>
                <a:gd name="T56" fmla="*/ 0 w 784"/>
                <a:gd name="T57" fmla="*/ 0 h 1128"/>
                <a:gd name="T58" fmla="*/ 0 w 784"/>
                <a:gd name="T59" fmla="*/ 0 h 1128"/>
                <a:gd name="T60" fmla="*/ 0 w 784"/>
                <a:gd name="T61" fmla="*/ 0 h 1128"/>
                <a:gd name="T62" fmla="*/ 0 w 784"/>
                <a:gd name="T63" fmla="*/ 0 h 1128"/>
                <a:gd name="T64" fmla="*/ 0 w 784"/>
                <a:gd name="T65" fmla="*/ 0 h 1128"/>
                <a:gd name="T66" fmla="*/ 0 w 784"/>
                <a:gd name="T67" fmla="*/ 0 h 1128"/>
                <a:gd name="T68" fmla="*/ 0 w 784"/>
                <a:gd name="T69" fmla="*/ 0 h 1128"/>
                <a:gd name="T70" fmla="*/ 0 w 784"/>
                <a:gd name="T71" fmla="*/ 0 h 1128"/>
                <a:gd name="T72" fmla="*/ 0 w 784"/>
                <a:gd name="T73" fmla="*/ 0 h 1128"/>
                <a:gd name="T74" fmla="*/ 0 w 784"/>
                <a:gd name="T75" fmla="*/ 0 h 1128"/>
                <a:gd name="T76" fmla="*/ 0 w 784"/>
                <a:gd name="T77" fmla="*/ 0 h 1128"/>
                <a:gd name="T78" fmla="*/ 0 w 784"/>
                <a:gd name="T79" fmla="*/ 0 h 1128"/>
                <a:gd name="T80" fmla="*/ 0 w 784"/>
                <a:gd name="T81" fmla="*/ 0 h 1128"/>
                <a:gd name="T82" fmla="*/ 0 w 784"/>
                <a:gd name="T83" fmla="*/ 0 h 1128"/>
                <a:gd name="T84" fmla="*/ 0 w 784"/>
                <a:gd name="T85" fmla="*/ 0 h 1128"/>
                <a:gd name="T86" fmla="*/ 0 w 784"/>
                <a:gd name="T87" fmla="*/ 0 h 1128"/>
                <a:gd name="T88" fmla="*/ 0 w 784"/>
                <a:gd name="T89" fmla="*/ 0 h 1128"/>
                <a:gd name="T90" fmla="*/ 0 w 784"/>
                <a:gd name="T91" fmla="*/ 0 h 1128"/>
                <a:gd name="T92" fmla="*/ 0 w 784"/>
                <a:gd name="T93" fmla="*/ 0 h 1128"/>
                <a:gd name="T94" fmla="*/ 0 w 784"/>
                <a:gd name="T95" fmla="*/ 0 h 1128"/>
                <a:gd name="T96" fmla="*/ 0 w 784"/>
                <a:gd name="T97" fmla="*/ 0 h 1128"/>
                <a:gd name="T98" fmla="*/ 0 w 784"/>
                <a:gd name="T99" fmla="*/ 0 h 1128"/>
                <a:gd name="T100" fmla="*/ 0 w 784"/>
                <a:gd name="T101" fmla="*/ 0 h 1128"/>
                <a:gd name="T102" fmla="*/ 0 w 784"/>
                <a:gd name="T103" fmla="*/ 0 h 1128"/>
                <a:gd name="T104" fmla="*/ 0 w 784"/>
                <a:gd name="T105" fmla="*/ 0 h 1128"/>
                <a:gd name="T106" fmla="*/ 0 w 784"/>
                <a:gd name="T107" fmla="*/ 0 h 1128"/>
                <a:gd name="T108" fmla="*/ 0 w 784"/>
                <a:gd name="T109" fmla="*/ 0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84"/>
                <a:gd name="T166" fmla="*/ 0 h 1128"/>
                <a:gd name="T167" fmla="*/ 784 w 784"/>
                <a:gd name="T168" fmla="*/ 1128 h 112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57" name="Freeform 574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550" y="2662"/>
              <a:ext cx="179" cy="712"/>
            </a:xfrm>
            <a:custGeom>
              <a:avLst/>
              <a:gdLst>
                <a:gd name="T0" fmla="*/ 0 w 598"/>
                <a:gd name="T1" fmla="*/ 0 h 2158"/>
                <a:gd name="T2" fmla="*/ 0 w 598"/>
                <a:gd name="T3" fmla="*/ 0 h 2158"/>
                <a:gd name="T4" fmla="*/ 0 w 598"/>
                <a:gd name="T5" fmla="*/ 0 h 2158"/>
                <a:gd name="T6" fmla="*/ 0 w 598"/>
                <a:gd name="T7" fmla="*/ 0 h 2158"/>
                <a:gd name="T8" fmla="*/ 0 w 598"/>
                <a:gd name="T9" fmla="*/ 0 h 2158"/>
                <a:gd name="T10" fmla="*/ 0 w 598"/>
                <a:gd name="T11" fmla="*/ 0 h 2158"/>
                <a:gd name="T12" fmla="*/ 0 w 598"/>
                <a:gd name="T13" fmla="*/ 0 h 2158"/>
                <a:gd name="T14" fmla="*/ 0 w 598"/>
                <a:gd name="T15" fmla="*/ 0 h 2158"/>
                <a:gd name="T16" fmla="*/ 0 w 598"/>
                <a:gd name="T17" fmla="*/ 0 h 2158"/>
                <a:gd name="T18" fmla="*/ 0 w 598"/>
                <a:gd name="T19" fmla="*/ 0 h 2158"/>
                <a:gd name="T20" fmla="*/ 0 w 598"/>
                <a:gd name="T21" fmla="*/ 0 h 2158"/>
                <a:gd name="T22" fmla="*/ 0 w 598"/>
                <a:gd name="T23" fmla="*/ 0 h 2158"/>
                <a:gd name="T24" fmla="*/ 0 w 598"/>
                <a:gd name="T25" fmla="*/ 0 h 2158"/>
                <a:gd name="T26" fmla="*/ 0 w 598"/>
                <a:gd name="T27" fmla="*/ 0 h 2158"/>
                <a:gd name="T28" fmla="*/ 0 w 598"/>
                <a:gd name="T29" fmla="*/ 0 h 2158"/>
                <a:gd name="T30" fmla="*/ 0 w 598"/>
                <a:gd name="T31" fmla="*/ 0 h 2158"/>
                <a:gd name="T32" fmla="*/ 0 w 598"/>
                <a:gd name="T33" fmla="*/ 0 h 2158"/>
                <a:gd name="T34" fmla="*/ 0 w 598"/>
                <a:gd name="T35" fmla="*/ 0 h 2158"/>
                <a:gd name="T36" fmla="*/ 0 w 598"/>
                <a:gd name="T37" fmla="*/ 0 h 2158"/>
                <a:gd name="T38" fmla="*/ 0 w 598"/>
                <a:gd name="T39" fmla="*/ 0 h 2158"/>
                <a:gd name="T40" fmla="*/ 0 w 598"/>
                <a:gd name="T41" fmla="*/ 0 h 2158"/>
                <a:gd name="T42" fmla="*/ 0 w 598"/>
                <a:gd name="T43" fmla="*/ 0 h 2158"/>
                <a:gd name="T44" fmla="*/ 0 w 598"/>
                <a:gd name="T45" fmla="*/ 0 h 2158"/>
                <a:gd name="T46" fmla="*/ 0 w 598"/>
                <a:gd name="T47" fmla="*/ 0 h 2158"/>
                <a:gd name="T48" fmla="*/ 0 w 598"/>
                <a:gd name="T49" fmla="*/ 0 h 2158"/>
                <a:gd name="T50" fmla="*/ 0 w 598"/>
                <a:gd name="T51" fmla="*/ 0 h 2158"/>
                <a:gd name="T52" fmla="*/ 0 w 598"/>
                <a:gd name="T53" fmla="*/ 0 h 2158"/>
                <a:gd name="T54" fmla="*/ 0 w 598"/>
                <a:gd name="T55" fmla="*/ 0 h 2158"/>
                <a:gd name="T56" fmla="*/ 0 w 598"/>
                <a:gd name="T57" fmla="*/ 0 h 2158"/>
                <a:gd name="T58" fmla="*/ 0 w 598"/>
                <a:gd name="T59" fmla="*/ 0 h 2158"/>
                <a:gd name="T60" fmla="*/ 0 w 598"/>
                <a:gd name="T61" fmla="*/ 0 h 2158"/>
                <a:gd name="T62" fmla="*/ 0 w 598"/>
                <a:gd name="T63" fmla="*/ 0 h 2158"/>
                <a:gd name="T64" fmla="*/ 0 w 598"/>
                <a:gd name="T65" fmla="*/ 0 h 2158"/>
                <a:gd name="T66" fmla="*/ 0 w 598"/>
                <a:gd name="T67" fmla="*/ 0 h 2158"/>
                <a:gd name="T68" fmla="*/ 0 w 598"/>
                <a:gd name="T69" fmla="*/ 0 h 2158"/>
                <a:gd name="T70" fmla="*/ 0 w 598"/>
                <a:gd name="T71" fmla="*/ 0 h 2158"/>
                <a:gd name="T72" fmla="*/ 0 w 598"/>
                <a:gd name="T73" fmla="*/ 0 h 2158"/>
                <a:gd name="T74" fmla="*/ 0 w 598"/>
                <a:gd name="T75" fmla="*/ 0 h 2158"/>
                <a:gd name="T76" fmla="*/ 0 w 598"/>
                <a:gd name="T77" fmla="*/ 0 h 2158"/>
                <a:gd name="T78" fmla="*/ 0 w 598"/>
                <a:gd name="T79" fmla="*/ 0 h 2158"/>
                <a:gd name="T80" fmla="*/ 0 w 598"/>
                <a:gd name="T81" fmla="*/ 0 h 2158"/>
                <a:gd name="T82" fmla="*/ 0 w 598"/>
                <a:gd name="T83" fmla="*/ 0 h 2158"/>
                <a:gd name="T84" fmla="*/ 0 w 598"/>
                <a:gd name="T85" fmla="*/ 0 h 2158"/>
                <a:gd name="T86" fmla="*/ 0 w 598"/>
                <a:gd name="T87" fmla="*/ 0 h 2158"/>
                <a:gd name="T88" fmla="*/ 0 w 598"/>
                <a:gd name="T89" fmla="*/ 0 h 2158"/>
                <a:gd name="T90" fmla="*/ 0 w 598"/>
                <a:gd name="T91" fmla="*/ 0 h 2158"/>
                <a:gd name="T92" fmla="*/ 0 w 598"/>
                <a:gd name="T93" fmla="*/ 0 h 2158"/>
                <a:gd name="T94" fmla="*/ 0 w 598"/>
                <a:gd name="T95" fmla="*/ 0 h 2158"/>
                <a:gd name="T96" fmla="*/ 0 w 598"/>
                <a:gd name="T97" fmla="*/ 0 h 2158"/>
                <a:gd name="T98" fmla="*/ 0 w 598"/>
                <a:gd name="T99" fmla="*/ 0 h 2158"/>
                <a:gd name="T100" fmla="*/ 0 w 598"/>
                <a:gd name="T101" fmla="*/ 0 h 2158"/>
                <a:gd name="T102" fmla="*/ 0 w 598"/>
                <a:gd name="T103" fmla="*/ 0 h 2158"/>
                <a:gd name="T104" fmla="*/ 0 w 598"/>
                <a:gd name="T105" fmla="*/ 0 h 2158"/>
                <a:gd name="T106" fmla="*/ 0 w 598"/>
                <a:gd name="T107" fmla="*/ 0 h 2158"/>
                <a:gd name="T108" fmla="*/ 0 w 598"/>
                <a:gd name="T109" fmla="*/ 0 h 2158"/>
                <a:gd name="T110" fmla="*/ 0 w 598"/>
                <a:gd name="T111" fmla="*/ 0 h 2158"/>
                <a:gd name="T112" fmla="*/ 0 w 598"/>
                <a:gd name="T113" fmla="*/ 0 h 2158"/>
                <a:gd name="T114" fmla="*/ 0 w 598"/>
                <a:gd name="T115" fmla="*/ 0 h 2158"/>
                <a:gd name="T116" fmla="*/ 0 w 598"/>
                <a:gd name="T117" fmla="*/ 0 h 2158"/>
                <a:gd name="T118" fmla="*/ 0 w 598"/>
                <a:gd name="T119" fmla="*/ 0 h 2158"/>
                <a:gd name="T120" fmla="*/ 0 w 598"/>
                <a:gd name="T121" fmla="*/ 0 h 2158"/>
                <a:gd name="T122" fmla="*/ 0 w 598"/>
                <a:gd name="T123" fmla="*/ 0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98"/>
                <a:gd name="T187" fmla="*/ 0 h 2158"/>
                <a:gd name="T188" fmla="*/ 598 w 598"/>
                <a:gd name="T189" fmla="*/ 2158 h 215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58" name="Freeform 575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485" y="2210"/>
              <a:ext cx="660" cy="758"/>
            </a:xfrm>
            <a:custGeom>
              <a:avLst/>
              <a:gdLst>
                <a:gd name="T0" fmla="*/ 0 w 2226"/>
                <a:gd name="T1" fmla="*/ 0 h 2292"/>
                <a:gd name="T2" fmla="*/ 0 w 2226"/>
                <a:gd name="T3" fmla="*/ 0 h 2292"/>
                <a:gd name="T4" fmla="*/ 0 w 2226"/>
                <a:gd name="T5" fmla="*/ 0 h 2292"/>
                <a:gd name="T6" fmla="*/ 0 w 2226"/>
                <a:gd name="T7" fmla="*/ 0 h 2292"/>
                <a:gd name="T8" fmla="*/ 0 w 2226"/>
                <a:gd name="T9" fmla="*/ 0 h 2292"/>
                <a:gd name="T10" fmla="*/ 0 w 2226"/>
                <a:gd name="T11" fmla="*/ 0 h 2292"/>
                <a:gd name="T12" fmla="*/ 0 w 2226"/>
                <a:gd name="T13" fmla="*/ 0 h 2292"/>
                <a:gd name="T14" fmla="*/ 0 w 2226"/>
                <a:gd name="T15" fmla="*/ 0 h 2292"/>
                <a:gd name="T16" fmla="*/ 0 w 2226"/>
                <a:gd name="T17" fmla="*/ 0 h 2292"/>
                <a:gd name="T18" fmla="*/ 0 w 2226"/>
                <a:gd name="T19" fmla="*/ 0 h 2292"/>
                <a:gd name="T20" fmla="*/ 0 w 2226"/>
                <a:gd name="T21" fmla="*/ 0 h 2292"/>
                <a:gd name="T22" fmla="*/ 0 w 2226"/>
                <a:gd name="T23" fmla="*/ 0 h 2292"/>
                <a:gd name="T24" fmla="*/ 0 w 2226"/>
                <a:gd name="T25" fmla="*/ 0 h 2292"/>
                <a:gd name="T26" fmla="*/ 0 w 2226"/>
                <a:gd name="T27" fmla="*/ 0 h 2292"/>
                <a:gd name="T28" fmla="*/ 0 w 2226"/>
                <a:gd name="T29" fmla="*/ 0 h 2292"/>
                <a:gd name="T30" fmla="*/ 0 w 2226"/>
                <a:gd name="T31" fmla="*/ 0 h 2292"/>
                <a:gd name="T32" fmla="*/ 0 w 2226"/>
                <a:gd name="T33" fmla="*/ 0 h 2292"/>
                <a:gd name="T34" fmla="*/ 0 w 2226"/>
                <a:gd name="T35" fmla="*/ 0 h 2292"/>
                <a:gd name="T36" fmla="*/ 0 w 2226"/>
                <a:gd name="T37" fmla="*/ 0 h 2292"/>
                <a:gd name="T38" fmla="*/ 0 w 2226"/>
                <a:gd name="T39" fmla="*/ 0 h 2292"/>
                <a:gd name="T40" fmla="*/ 0 w 2226"/>
                <a:gd name="T41" fmla="*/ 0 h 2292"/>
                <a:gd name="T42" fmla="*/ 0 w 2226"/>
                <a:gd name="T43" fmla="*/ 0 h 2292"/>
                <a:gd name="T44" fmla="*/ 0 w 2226"/>
                <a:gd name="T45" fmla="*/ 0 h 2292"/>
                <a:gd name="T46" fmla="*/ 0 w 2226"/>
                <a:gd name="T47" fmla="*/ 0 h 2292"/>
                <a:gd name="T48" fmla="*/ 0 w 2226"/>
                <a:gd name="T49" fmla="*/ 0 h 2292"/>
                <a:gd name="T50" fmla="*/ 0 w 2226"/>
                <a:gd name="T51" fmla="*/ 0 h 2292"/>
                <a:gd name="T52" fmla="*/ 0 w 2226"/>
                <a:gd name="T53" fmla="*/ 0 h 2292"/>
                <a:gd name="T54" fmla="*/ 0 w 2226"/>
                <a:gd name="T55" fmla="*/ 0 h 2292"/>
                <a:gd name="T56" fmla="*/ 0 w 2226"/>
                <a:gd name="T57" fmla="*/ 0 h 2292"/>
                <a:gd name="T58" fmla="*/ 0 w 2226"/>
                <a:gd name="T59" fmla="*/ 0 h 2292"/>
                <a:gd name="T60" fmla="*/ 0 w 2226"/>
                <a:gd name="T61" fmla="*/ 0 h 2292"/>
                <a:gd name="T62" fmla="*/ 0 w 2226"/>
                <a:gd name="T63" fmla="*/ 0 h 2292"/>
                <a:gd name="T64" fmla="*/ 0 w 2226"/>
                <a:gd name="T65" fmla="*/ 0 h 2292"/>
                <a:gd name="T66" fmla="*/ 0 w 2226"/>
                <a:gd name="T67" fmla="*/ 0 h 2292"/>
                <a:gd name="T68" fmla="*/ 0 w 2226"/>
                <a:gd name="T69" fmla="*/ 0 h 2292"/>
                <a:gd name="T70" fmla="*/ 0 w 2226"/>
                <a:gd name="T71" fmla="*/ 0 h 2292"/>
                <a:gd name="T72" fmla="*/ 0 w 2226"/>
                <a:gd name="T73" fmla="*/ 0 h 2292"/>
                <a:gd name="T74" fmla="*/ 0 w 2226"/>
                <a:gd name="T75" fmla="*/ 0 h 2292"/>
                <a:gd name="T76" fmla="*/ 0 w 2226"/>
                <a:gd name="T77" fmla="*/ 0 h 2292"/>
                <a:gd name="T78" fmla="*/ 0 w 2226"/>
                <a:gd name="T79" fmla="*/ 0 h 2292"/>
                <a:gd name="T80" fmla="*/ 0 w 2226"/>
                <a:gd name="T81" fmla="*/ 0 h 2292"/>
                <a:gd name="T82" fmla="*/ 0 w 2226"/>
                <a:gd name="T83" fmla="*/ 0 h 2292"/>
                <a:gd name="T84" fmla="*/ 0 w 2226"/>
                <a:gd name="T85" fmla="*/ 0 h 2292"/>
                <a:gd name="T86" fmla="*/ 0 w 2226"/>
                <a:gd name="T87" fmla="*/ 0 h 2292"/>
                <a:gd name="T88" fmla="*/ 0 w 2226"/>
                <a:gd name="T89" fmla="*/ 0 h 2292"/>
                <a:gd name="T90" fmla="*/ 0 w 2226"/>
                <a:gd name="T91" fmla="*/ 0 h 2292"/>
                <a:gd name="T92" fmla="*/ 0 w 2226"/>
                <a:gd name="T93" fmla="*/ 0 h 2292"/>
                <a:gd name="T94" fmla="*/ 0 w 2226"/>
                <a:gd name="T95" fmla="*/ 0 h 2292"/>
                <a:gd name="T96" fmla="*/ 0 w 2226"/>
                <a:gd name="T97" fmla="*/ 0 h 2292"/>
                <a:gd name="T98" fmla="*/ 0 w 2226"/>
                <a:gd name="T99" fmla="*/ 0 h 2292"/>
                <a:gd name="T100" fmla="*/ 0 w 2226"/>
                <a:gd name="T101" fmla="*/ 0 h 2292"/>
                <a:gd name="T102" fmla="*/ 0 w 2226"/>
                <a:gd name="T103" fmla="*/ 0 h 2292"/>
                <a:gd name="T104" fmla="*/ 0 w 2226"/>
                <a:gd name="T105" fmla="*/ 0 h 2292"/>
                <a:gd name="T106" fmla="*/ 0 w 2226"/>
                <a:gd name="T107" fmla="*/ 0 h 2292"/>
                <a:gd name="T108" fmla="*/ 0 w 2226"/>
                <a:gd name="T109" fmla="*/ 0 h 2292"/>
                <a:gd name="T110" fmla="*/ 0 w 2226"/>
                <a:gd name="T111" fmla="*/ 0 h 2292"/>
                <a:gd name="T112" fmla="*/ 0 w 2226"/>
                <a:gd name="T113" fmla="*/ 0 h 2292"/>
                <a:gd name="T114" fmla="*/ 0 w 2226"/>
                <a:gd name="T115" fmla="*/ 0 h 2292"/>
                <a:gd name="T116" fmla="*/ 0 w 2226"/>
                <a:gd name="T117" fmla="*/ 0 h 2292"/>
                <a:gd name="T118" fmla="*/ 0 w 2226"/>
                <a:gd name="T119" fmla="*/ 0 h 2292"/>
                <a:gd name="T120" fmla="*/ 0 w 2226"/>
                <a:gd name="T121" fmla="*/ 0 h 2292"/>
                <a:gd name="T122" fmla="*/ 0 w 2226"/>
                <a:gd name="T123" fmla="*/ 0 h 2292"/>
                <a:gd name="T124" fmla="*/ 0 w 2226"/>
                <a:gd name="T125" fmla="*/ 0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2292"/>
                <a:gd name="T191" fmla="*/ 2226 w 2226"/>
                <a:gd name="T192" fmla="*/ 2292 h 22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59" name="Freeform 576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927" y="1546"/>
              <a:ext cx="48" cy="31"/>
            </a:xfrm>
            <a:custGeom>
              <a:avLst/>
              <a:gdLst>
                <a:gd name="T0" fmla="*/ 0 w 161"/>
                <a:gd name="T1" fmla="*/ 0 h 93"/>
                <a:gd name="T2" fmla="*/ 0 w 161"/>
                <a:gd name="T3" fmla="*/ 0 h 93"/>
                <a:gd name="T4" fmla="*/ 0 w 161"/>
                <a:gd name="T5" fmla="*/ 0 h 93"/>
                <a:gd name="T6" fmla="*/ 0 w 161"/>
                <a:gd name="T7" fmla="*/ 0 h 93"/>
                <a:gd name="T8" fmla="*/ 0 w 161"/>
                <a:gd name="T9" fmla="*/ 0 h 93"/>
                <a:gd name="T10" fmla="*/ 0 w 161"/>
                <a:gd name="T11" fmla="*/ 0 h 93"/>
                <a:gd name="T12" fmla="*/ 0 w 161"/>
                <a:gd name="T13" fmla="*/ 0 h 93"/>
                <a:gd name="T14" fmla="*/ 0 w 161"/>
                <a:gd name="T15" fmla="*/ 0 h 93"/>
                <a:gd name="T16" fmla="*/ 0 w 161"/>
                <a:gd name="T17" fmla="*/ 0 h 93"/>
                <a:gd name="T18" fmla="*/ 0 w 161"/>
                <a:gd name="T19" fmla="*/ 0 h 93"/>
                <a:gd name="T20" fmla="*/ 0 w 161"/>
                <a:gd name="T21" fmla="*/ 0 h 93"/>
                <a:gd name="T22" fmla="*/ 0 w 161"/>
                <a:gd name="T23" fmla="*/ 0 h 93"/>
                <a:gd name="T24" fmla="*/ 0 w 161"/>
                <a:gd name="T25" fmla="*/ 0 h 93"/>
                <a:gd name="T26" fmla="*/ 0 w 161"/>
                <a:gd name="T27" fmla="*/ 0 h 93"/>
                <a:gd name="T28" fmla="*/ 0 w 161"/>
                <a:gd name="T29" fmla="*/ 0 h 93"/>
                <a:gd name="T30" fmla="*/ 0 w 161"/>
                <a:gd name="T31" fmla="*/ 0 h 93"/>
                <a:gd name="T32" fmla="*/ 0 w 161"/>
                <a:gd name="T33" fmla="*/ 0 h 93"/>
                <a:gd name="T34" fmla="*/ 0 w 161"/>
                <a:gd name="T35" fmla="*/ 0 h 93"/>
                <a:gd name="T36" fmla="*/ 0 w 161"/>
                <a:gd name="T37" fmla="*/ 0 h 93"/>
                <a:gd name="T38" fmla="*/ 0 w 161"/>
                <a:gd name="T39" fmla="*/ 0 h 93"/>
                <a:gd name="T40" fmla="*/ 0 w 161"/>
                <a:gd name="T41" fmla="*/ 0 h 93"/>
                <a:gd name="T42" fmla="*/ 0 w 161"/>
                <a:gd name="T43" fmla="*/ 0 h 93"/>
                <a:gd name="T44" fmla="*/ 0 w 161"/>
                <a:gd name="T45" fmla="*/ 0 h 93"/>
                <a:gd name="T46" fmla="*/ 0 w 161"/>
                <a:gd name="T47" fmla="*/ 0 h 93"/>
                <a:gd name="T48" fmla="*/ 0 w 161"/>
                <a:gd name="T49" fmla="*/ 0 h 93"/>
                <a:gd name="T50" fmla="*/ 0 w 161"/>
                <a:gd name="T51" fmla="*/ 0 h 93"/>
                <a:gd name="T52" fmla="*/ 0 w 161"/>
                <a:gd name="T53" fmla="*/ 0 h 93"/>
                <a:gd name="T54" fmla="*/ 0 w 161"/>
                <a:gd name="T55" fmla="*/ 0 h 93"/>
                <a:gd name="T56" fmla="*/ 0 w 161"/>
                <a:gd name="T57" fmla="*/ 0 h 93"/>
                <a:gd name="T58" fmla="*/ 0 w 161"/>
                <a:gd name="T59" fmla="*/ 0 h 93"/>
                <a:gd name="T60" fmla="*/ 0 w 161"/>
                <a:gd name="T61" fmla="*/ 0 h 93"/>
                <a:gd name="T62" fmla="*/ 0 w 161"/>
                <a:gd name="T63" fmla="*/ 0 h 93"/>
                <a:gd name="T64" fmla="*/ 0 w 161"/>
                <a:gd name="T65" fmla="*/ 0 h 93"/>
                <a:gd name="T66" fmla="*/ 0 w 161"/>
                <a:gd name="T67" fmla="*/ 0 h 93"/>
                <a:gd name="T68" fmla="*/ 0 w 161"/>
                <a:gd name="T69" fmla="*/ 0 h 93"/>
                <a:gd name="T70" fmla="*/ 0 w 161"/>
                <a:gd name="T71" fmla="*/ 0 h 93"/>
                <a:gd name="T72" fmla="*/ 0 w 161"/>
                <a:gd name="T73" fmla="*/ 0 h 93"/>
                <a:gd name="T74" fmla="*/ 0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61"/>
                <a:gd name="T115" fmla="*/ 0 h 93"/>
                <a:gd name="T116" fmla="*/ 161 w 161"/>
                <a:gd name="T117" fmla="*/ 93 h 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60" name="Freeform 577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585" y="1467"/>
              <a:ext cx="56" cy="101"/>
            </a:xfrm>
            <a:custGeom>
              <a:avLst/>
              <a:gdLst>
                <a:gd name="T0" fmla="*/ 0 w 192"/>
                <a:gd name="T1" fmla="*/ 0 h 307"/>
                <a:gd name="T2" fmla="*/ 0 w 192"/>
                <a:gd name="T3" fmla="*/ 0 h 307"/>
                <a:gd name="T4" fmla="*/ 0 w 192"/>
                <a:gd name="T5" fmla="*/ 0 h 307"/>
                <a:gd name="T6" fmla="*/ 0 w 192"/>
                <a:gd name="T7" fmla="*/ 0 h 307"/>
                <a:gd name="T8" fmla="*/ 0 w 192"/>
                <a:gd name="T9" fmla="*/ 0 h 307"/>
                <a:gd name="T10" fmla="*/ 0 w 192"/>
                <a:gd name="T11" fmla="*/ 0 h 307"/>
                <a:gd name="T12" fmla="*/ 0 w 192"/>
                <a:gd name="T13" fmla="*/ 0 h 307"/>
                <a:gd name="T14" fmla="*/ 0 w 192"/>
                <a:gd name="T15" fmla="*/ 0 h 307"/>
                <a:gd name="T16" fmla="*/ 0 w 192"/>
                <a:gd name="T17" fmla="*/ 0 h 307"/>
                <a:gd name="T18" fmla="*/ 0 w 192"/>
                <a:gd name="T19" fmla="*/ 0 h 307"/>
                <a:gd name="T20" fmla="*/ 0 w 192"/>
                <a:gd name="T21" fmla="*/ 0 h 307"/>
                <a:gd name="T22" fmla="*/ 0 w 192"/>
                <a:gd name="T23" fmla="*/ 0 h 307"/>
                <a:gd name="T24" fmla="*/ 0 w 192"/>
                <a:gd name="T25" fmla="*/ 0 h 307"/>
                <a:gd name="T26" fmla="*/ 0 w 192"/>
                <a:gd name="T27" fmla="*/ 0 h 307"/>
                <a:gd name="T28" fmla="*/ 0 w 192"/>
                <a:gd name="T29" fmla="*/ 0 h 307"/>
                <a:gd name="T30" fmla="*/ 0 w 192"/>
                <a:gd name="T31" fmla="*/ 0 h 307"/>
                <a:gd name="T32" fmla="*/ 0 w 192"/>
                <a:gd name="T33" fmla="*/ 0 h 307"/>
                <a:gd name="T34" fmla="*/ 0 w 192"/>
                <a:gd name="T35" fmla="*/ 0 h 307"/>
                <a:gd name="T36" fmla="*/ 0 w 192"/>
                <a:gd name="T37" fmla="*/ 0 h 307"/>
                <a:gd name="T38" fmla="*/ 0 w 192"/>
                <a:gd name="T39" fmla="*/ 0 h 307"/>
                <a:gd name="T40" fmla="*/ 0 w 192"/>
                <a:gd name="T41" fmla="*/ 0 h 307"/>
                <a:gd name="T42" fmla="*/ 0 w 192"/>
                <a:gd name="T43" fmla="*/ 0 h 307"/>
                <a:gd name="T44" fmla="*/ 0 w 192"/>
                <a:gd name="T45" fmla="*/ 0 h 307"/>
                <a:gd name="T46" fmla="*/ 0 w 192"/>
                <a:gd name="T47" fmla="*/ 0 h 307"/>
                <a:gd name="T48" fmla="*/ 0 w 192"/>
                <a:gd name="T49" fmla="*/ 0 h 307"/>
                <a:gd name="T50" fmla="*/ 0 w 192"/>
                <a:gd name="T51" fmla="*/ 0 h 307"/>
                <a:gd name="T52" fmla="*/ 0 w 192"/>
                <a:gd name="T53" fmla="*/ 0 h 307"/>
                <a:gd name="T54" fmla="*/ 0 w 192"/>
                <a:gd name="T55" fmla="*/ 0 h 307"/>
                <a:gd name="T56" fmla="*/ 0 w 192"/>
                <a:gd name="T57" fmla="*/ 0 h 307"/>
                <a:gd name="T58" fmla="*/ 0 w 192"/>
                <a:gd name="T59" fmla="*/ 0 h 307"/>
                <a:gd name="T60" fmla="*/ 0 w 192"/>
                <a:gd name="T61" fmla="*/ 0 h 307"/>
                <a:gd name="T62" fmla="*/ 0 w 192"/>
                <a:gd name="T63" fmla="*/ 0 h 307"/>
                <a:gd name="T64" fmla="*/ 0 w 192"/>
                <a:gd name="T65" fmla="*/ 0 h 307"/>
                <a:gd name="T66" fmla="*/ 0 w 192"/>
                <a:gd name="T67" fmla="*/ 0 h 307"/>
                <a:gd name="T68" fmla="*/ 0 w 192"/>
                <a:gd name="T69" fmla="*/ 0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2"/>
                <a:gd name="T106" fmla="*/ 0 h 307"/>
                <a:gd name="T107" fmla="*/ 192 w 192"/>
                <a:gd name="T108" fmla="*/ 307 h 30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61" name="Freeform 578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640" y="1143"/>
              <a:ext cx="117" cy="170"/>
            </a:xfrm>
            <a:custGeom>
              <a:avLst/>
              <a:gdLst>
                <a:gd name="T0" fmla="*/ 0 w 398"/>
                <a:gd name="T1" fmla="*/ 0 h 518"/>
                <a:gd name="T2" fmla="*/ 0 w 398"/>
                <a:gd name="T3" fmla="*/ 0 h 518"/>
                <a:gd name="T4" fmla="*/ 0 w 398"/>
                <a:gd name="T5" fmla="*/ 0 h 518"/>
                <a:gd name="T6" fmla="*/ 0 w 398"/>
                <a:gd name="T7" fmla="*/ 0 h 518"/>
                <a:gd name="T8" fmla="*/ 0 w 398"/>
                <a:gd name="T9" fmla="*/ 0 h 518"/>
                <a:gd name="T10" fmla="*/ 0 w 398"/>
                <a:gd name="T11" fmla="*/ 0 h 518"/>
                <a:gd name="T12" fmla="*/ 0 w 398"/>
                <a:gd name="T13" fmla="*/ 0 h 518"/>
                <a:gd name="T14" fmla="*/ 0 w 398"/>
                <a:gd name="T15" fmla="*/ 0 h 518"/>
                <a:gd name="T16" fmla="*/ 0 w 398"/>
                <a:gd name="T17" fmla="*/ 0 h 518"/>
                <a:gd name="T18" fmla="*/ 0 w 398"/>
                <a:gd name="T19" fmla="*/ 0 h 518"/>
                <a:gd name="T20" fmla="*/ 0 w 398"/>
                <a:gd name="T21" fmla="*/ 0 h 518"/>
                <a:gd name="T22" fmla="*/ 0 w 398"/>
                <a:gd name="T23" fmla="*/ 0 h 518"/>
                <a:gd name="T24" fmla="*/ 0 w 398"/>
                <a:gd name="T25" fmla="*/ 0 h 518"/>
                <a:gd name="T26" fmla="*/ 0 w 398"/>
                <a:gd name="T27" fmla="*/ 0 h 518"/>
                <a:gd name="T28" fmla="*/ 0 w 398"/>
                <a:gd name="T29" fmla="*/ 0 h 518"/>
                <a:gd name="T30" fmla="*/ 0 w 398"/>
                <a:gd name="T31" fmla="*/ 0 h 518"/>
                <a:gd name="T32" fmla="*/ 0 w 398"/>
                <a:gd name="T33" fmla="*/ 0 h 518"/>
                <a:gd name="T34" fmla="*/ 0 w 398"/>
                <a:gd name="T35" fmla="*/ 0 h 518"/>
                <a:gd name="T36" fmla="*/ 0 w 398"/>
                <a:gd name="T37" fmla="*/ 0 h 518"/>
                <a:gd name="T38" fmla="*/ 0 w 398"/>
                <a:gd name="T39" fmla="*/ 0 h 518"/>
                <a:gd name="T40" fmla="*/ 0 w 398"/>
                <a:gd name="T41" fmla="*/ 0 h 518"/>
                <a:gd name="T42" fmla="*/ 0 w 398"/>
                <a:gd name="T43" fmla="*/ 0 h 518"/>
                <a:gd name="T44" fmla="*/ 0 w 398"/>
                <a:gd name="T45" fmla="*/ 0 h 518"/>
                <a:gd name="T46" fmla="*/ 0 w 398"/>
                <a:gd name="T47" fmla="*/ 0 h 518"/>
                <a:gd name="T48" fmla="*/ 0 w 398"/>
                <a:gd name="T49" fmla="*/ 0 h 518"/>
                <a:gd name="T50" fmla="*/ 0 w 398"/>
                <a:gd name="T51" fmla="*/ 0 h 518"/>
                <a:gd name="T52" fmla="*/ 0 w 398"/>
                <a:gd name="T53" fmla="*/ 0 h 518"/>
                <a:gd name="T54" fmla="*/ 0 w 398"/>
                <a:gd name="T55" fmla="*/ 0 h 518"/>
                <a:gd name="T56" fmla="*/ 0 w 398"/>
                <a:gd name="T57" fmla="*/ 0 h 518"/>
                <a:gd name="T58" fmla="*/ 0 w 398"/>
                <a:gd name="T59" fmla="*/ 0 h 518"/>
                <a:gd name="T60" fmla="*/ 0 w 398"/>
                <a:gd name="T61" fmla="*/ 0 h 518"/>
                <a:gd name="T62" fmla="*/ 0 w 398"/>
                <a:gd name="T63" fmla="*/ 0 h 518"/>
                <a:gd name="T64" fmla="*/ 0 w 398"/>
                <a:gd name="T65" fmla="*/ 0 h 518"/>
                <a:gd name="T66" fmla="*/ 0 w 398"/>
                <a:gd name="T67" fmla="*/ 0 h 518"/>
                <a:gd name="T68" fmla="*/ 0 w 398"/>
                <a:gd name="T69" fmla="*/ 0 h 518"/>
                <a:gd name="T70" fmla="*/ 0 w 398"/>
                <a:gd name="T71" fmla="*/ 0 h 518"/>
                <a:gd name="T72" fmla="*/ 0 w 398"/>
                <a:gd name="T73" fmla="*/ 0 h 518"/>
                <a:gd name="T74" fmla="*/ 0 w 398"/>
                <a:gd name="T75" fmla="*/ 0 h 518"/>
                <a:gd name="T76" fmla="*/ 0 w 398"/>
                <a:gd name="T77" fmla="*/ 0 h 518"/>
                <a:gd name="T78" fmla="*/ 0 w 398"/>
                <a:gd name="T79" fmla="*/ 0 h 518"/>
                <a:gd name="T80" fmla="*/ 0 w 398"/>
                <a:gd name="T81" fmla="*/ 0 h 518"/>
                <a:gd name="T82" fmla="*/ 0 w 398"/>
                <a:gd name="T83" fmla="*/ 0 h 518"/>
                <a:gd name="T84" fmla="*/ 0 w 398"/>
                <a:gd name="T85" fmla="*/ 0 h 518"/>
                <a:gd name="T86" fmla="*/ 0 w 398"/>
                <a:gd name="T87" fmla="*/ 0 h 518"/>
                <a:gd name="T88" fmla="*/ 0 w 398"/>
                <a:gd name="T89" fmla="*/ 0 h 518"/>
                <a:gd name="T90" fmla="*/ 0 w 398"/>
                <a:gd name="T91" fmla="*/ 0 h 518"/>
                <a:gd name="T92" fmla="*/ 0 w 398"/>
                <a:gd name="T93" fmla="*/ 0 h 518"/>
                <a:gd name="T94" fmla="*/ 0 w 398"/>
                <a:gd name="T95" fmla="*/ 0 h 518"/>
                <a:gd name="T96" fmla="*/ 0 w 398"/>
                <a:gd name="T97" fmla="*/ 0 h 518"/>
                <a:gd name="T98" fmla="*/ 0 w 398"/>
                <a:gd name="T99" fmla="*/ 0 h 518"/>
                <a:gd name="T100" fmla="*/ 0 w 398"/>
                <a:gd name="T101" fmla="*/ 0 h 518"/>
                <a:gd name="T102" fmla="*/ 0 w 398"/>
                <a:gd name="T103" fmla="*/ 0 h 518"/>
                <a:gd name="T104" fmla="*/ 0 w 398"/>
                <a:gd name="T105" fmla="*/ 0 h 518"/>
                <a:gd name="T106" fmla="*/ 0 w 398"/>
                <a:gd name="T107" fmla="*/ 0 h 518"/>
                <a:gd name="T108" fmla="*/ 0 w 398"/>
                <a:gd name="T109" fmla="*/ 0 h 518"/>
                <a:gd name="T110" fmla="*/ 0 w 398"/>
                <a:gd name="T111" fmla="*/ 0 h 518"/>
                <a:gd name="T112" fmla="*/ 0 w 398"/>
                <a:gd name="T113" fmla="*/ 0 h 518"/>
                <a:gd name="T114" fmla="*/ 0 w 398"/>
                <a:gd name="T115" fmla="*/ 0 h 518"/>
                <a:gd name="T116" fmla="*/ 0 w 398"/>
                <a:gd name="T117" fmla="*/ 0 h 518"/>
                <a:gd name="T118" fmla="*/ 0 w 398"/>
                <a:gd name="T119" fmla="*/ 0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98"/>
                <a:gd name="T181" fmla="*/ 0 h 518"/>
                <a:gd name="T182" fmla="*/ 398 w 398"/>
                <a:gd name="T183" fmla="*/ 518 h 51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62" name="Freeform 579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885" y="1334"/>
              <a:ext cx="116" cy="48"/>
            </a:xfrm>
            <a:custGeom>
              <a:avLst/>
              <a:gdLst>
                <a:gd name="T0" fmla="*/ 0 w 382"/>
                <a:gd name="T1" fmla="*/ 0 h 148"/>
                <a:gd name="T2" fmla="*/ 0 w 382"/>
                <a:gd name="T3" fmla="*/ 0 h 148"/>
                <a:gd name="T4" fmla="*/ 0 w 382"/>
                <a:gd name="T5" fmla="*/ 0 h 148"/>
                <a:gd name="T6" fmla="*/ 0 w 382"/>
                <a:gd name="T7" fmla="*/ 0 h 148"/>
                <a:gd name="T8" fmla="*/ 0 w 382"/>
                <a:gd name="T9" fmla="*/ 0 h 148"/>
                <a:gd name="T10" fmla="*/ 0 w 382"/>
                <a:gd name="T11" fmla="*/ 0 h 148"/>
                <a:gd name="T12" fmla="*/ 0 w 382"/>
                <a:gd name="T13" fmla="*/ 0 h 148"/>
                <a:gd name="T14" fmla="*/ 0 w 382"/>
                <a:gd name="T15" fmla="*/ 0 h 148"/>
                <a:gd name="T16" fmla="*/ 0 w 382"/>
                <a:gd name="T17" fmla="*/ 0 h 148"/>
                <a:gd name="T18" fmla="*/ 0 w 382"/>
                <a:gd name="T19" fmla="*/ 0 h 148"/>
                <a:gd name="T20" fmla="*/ 0 w 382"/>
                <a:gd name="T21" fmla="*/ 0 h 148"/>
                <a:gd name="T22" fmla="*/ 0 w 382"/>
                <a:gd name="T23" fmla="*/ 0 h 148"/>
                <a:gd name="T24" fmla="*/ 0 w 382"/>
                <a:gd name="T25" fmla="*/ 0 h 148"/>
                <a:gd name="T26" fmla="*/ 0 w 382"/>
                <a:gd name="T27" fmla="*/ 0 h 148"/>
                <a:gd name="T28" fmla="*/ 0 w 382"/>
                <a:gd name="T29" fmla="*/ 0 h 148"/>
                <a:gd name="T30" fmla="*/ 0 w 382"/>
                <a:gd name="T31" fmla="*/ 0 h 148"/>
                <a:gd name="T32" fmla="*/ 0 w 382"/>
                <a:gd name="T33" fmla="*/ 0 h 148"/>
                <a:gd name="T34" fmla="*/ 0 w 382"/>
                <a:gd name="T35" fmla="*/ 0 h 148"/>
                <a:gd name="T36" fmla="*/ 0 w 382"/>
                <a:gd name="T37" fmla="*/ 0 h 148"/>
                <a:gd name="T38" fmla="*/ 0 w 382"/>
                <a:gd name="T39" fmla="*/ 0 h 148"/>
                <a:gd name="T40" fmla="*/ 0 w 382"/>
                <a:gd name="T41" fmla="*/ 0 h 148"/>
                <a:gd name="T42" fmla="*/ 0 w 382"/>
                <a:gd name="T43" fmla="*/ 0 h 148"/>
                <a:gd name="T44" fmla="*/ 0 w 382"/>
                <a:gd name="T45" fmla="*/ 0 h 148"/>
                <a:gd name="T46" fmla="*/ 0 w 382"/>
                <a:gd name="T47" fmla="*/ 0 h 148"/>
                <a:gd name="T48" fmla="*/ 0 w 382"/>
                <a:gd name="T49" fmla="*/ 0 h 148"/>
                <a:gd name="T50" fmla="*/ 0 w 382"/>
                <a:gd name="T51" fmla="*/ 0 h 148"/>
                <a:gd name="T52" fmla="*/ 0 w 382"/>
                <a:gd name="T53" fmla="*/ 0 h 148"/>
                <a:gd name="T54" fmla="*/ 0 w 382"/>
                <a:gd name="T55" fmla="*/ 0 h 148"/>
                <a:gd name="T56" fmla="*/ 0 w 382"/>
                <a:gd name="T57" fmla="*/ 0 h 148"/>
                <a:gd name="T58" fmla="*/ 0 w 382"/>
                <a:gd name="T59" fmla="*/ 0 h 148"/>
                <a:gd name="T60" fmla="*/ 0 w 382"/>
                <a:gd name="T61" fmla="*/ 0 h 148"/>
                <a:gd name="T62" fmla="*/ 0 w 382"/>
                <a:gd name="T63" fmla="*/ 0 h 148"/>
                <a:gd name="T64" fmla="*/ 0 w 382"/>
                <a:gd name="T65" fmla="*/ 0 h 148"/>
                <a:gd name="T66" fmla="*/ 0 w 382"/>
                <a:gd name="T67" fmla="*/ 0 h 148"/>
                <a:gd name="T68" fmla="*/ 0 w 382"/>
                <a:gd name="T69" fmla="*/ 0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82"/>
                <a:gd name="T106" fmla="*/ 0 h 148"/>
                <a:gd name="T107" fmla="*/ 382 w 382"/>
                <a:gd name="T108" fmla="*/ 148 h 14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63" name="Freeform 580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3903" y="1239"/>
              <a:ext cx="875" cy="654"/>
            </a:xfrm>
            <a:custGeom>
              <a:avLst/>
              <a:gdLst>
                <a:gd name="T0" fmla="*/ 0 w 2936"/>
                <a:gd name="T1" fmla="*/ 0 h 1983"/>
                <a:gd name="T2" fmla="*/ 0 w 2936"/>
                <a:gd name="T3" fmla="*/ 0 h 1983"/>
                <a:gd name="T4" fmla="*/ 0 w 2936"/>
                <a:gd name="T5" fmla="*/ 0 h 1983"/>
                <a:gd name="T6" fmla="*/ 0 w 2936"/>
                <a:gd name="T7" fmla="*/ 0 h 1983"/>
                <a:gd name="T8" fmla="*/ 0 w 2936"/>
                <a:gd name="T9" fmla="*/ 0 h 1983"/>
                <a:gd name="T10" fmla="*/ 0 w 2936"/>
                <a:gd name="T11" fmla="*/ 0 h 1983"/>
                <a:gd name="T12" fmla="*/ 0 w 2936"/>
                <a:gd name="T13" fmla="*/ 0 h 1983"/>
                <a:gd name="T14" fmla="*/ 0 w 2936"/>
                <a:gd name="T15" fmla="*/ 0 h 1983"/>
                <a:gd name="T16" fmla="*/ 0 w 2936"/>
                <a:gd name="T17" fmla="*/ 0 h 1983"/>
                <a:gd name="T18" fmla="*/ 0 w 2936"/>
                <a:gd name="T19" fmla="*/ 0 h 1983"/>
                <a:gd name="T20" fmla="*/ 0 w 2936"/>
                <a:gd name="T21" fmla="*/ 0 h 1983"/>
                <a:gd name="T22" fmla="*/ 0 w 2936"/>
                <a:gd name="T23" fmla="*/ 0 h 1983"/>
                <a:gd name="T24" fmla="*/ 0 w 2936"/>
                <a:gd name="T25" fmla="*/ 0 h 1983"/>
                <a:gd name="T26" fmla="*/ 0 w 2936"/>
                <a:gd name="T27" fmla="*/ 0 h 1983"/>
                <a:gd name="T28" fmla="*/ 0 w 2936"/>
                <a:gd name="T29" fmla="*/ 0 h 1983"/>
                <a:gd name="T30" fmla="*/ 0 w 2936"/>
                <a:gd name="T31" fmla="*/ 0 h 1983"/>
                <a:gd name="T32" fmla="*/ 0 w 2936"/>
                <a:gd name="T33" fmla="*/ 0 h 1983"/>
                <a:gd name="T34" fmla="*/ 0 w 2936"/>
                <a:gd name="T35" fmla="*/ 0 h 1983"/>
                <a:gd name="T36" fmla="*/ 0 w 2936"/>
                <a:gd name="T37" fmla="*/ 0 h 1983"/>
                <a:gd name="T38" fmla="*/ 0 w 2936"/>
                <a:gd name="T39" fmla="*/ 0 h 1983"/>
                <a:gd name="T40" fmla="*/ 0 w 2936"/>
                <a:gd name="T41" fmla="*/ 0 h 1983"/>
                <a:gd name="T42" fmla="*/ 0 w 2936"/>
                <a:gd name="T43" fmla="*/ 0 h 1983"/>
                <a:gd name="T44" fmla="*/ 0 w 2936"/>
                <a:gd name="T45" fmla="*/ 0 h 1983"/>
                <a:gd name="T46" fmla="*/ 0 w 2936"/>
                <a:gd name="T47" fmla="*/ 0 h 1983"/>
                <a:gd name="T48" fmla="*/ 0 w 2936"/>
                <a:gd name="T49" fmla="*/ 0 h 1983"/>
                <a:gd name="T50" fmla="*/ 0 w 2936"/>
                <a:gd name="T51" fmla="*/ 0 h 1983"/>
                <a:gd name="T52" fmla="*/ 0 w 2936"/>
                <a:gd name="T53" fmla="*/ 0 h 1983"/>
                <a:gd name="T54" fmla="*/ 0 w 2936"/>
                <a:gd name="T55" fmla="*/ 0 h 1983"/>
                <a:gd name="T56" fmla="*/ 0 w 2936"/>
                <a:gd name="T57" fmla="*/ 0 h 1983"/>
                <a:gd name="T58" fmla="*/ 0 w 2936"/>
                <a:gd name="T59" fmla="*/ 0 h 1983"/>
                <a:gd name="T60" fmla="*/ 0 w 2936"/>
                <a:gd name="T61" fmla="*/ 0 h 1983"/>
                <a:gd name="T62" fmla="*/ 0 w 2936"/>
                <a:gd name="T63" fmla="*/ 0 h 1983"/>
                <a:gd name="T64" fmla="*/ 0 w 2936"/>
                <a:gd name="T65" fmla="*/ 0 h 1983"/>
                <a:gd name="T66" fmla="*/ 0 w 2936"/>
                <a:gd name="T67" fmla="*/ 0 h 1983"/>
                <a:gd name="T68" fmla="*/ 0 w 2936"/>
                <a:gd name="T69" fmla="*/ 0 h 1983"/>
                <a:gd name="T70" fmla="*/ 0 w 2936"/>
                <a:gd name="T71" fmla="*/ 0 h 1983"/>
                <a:gd name="T72" fmla="*/ 0 w 2936"/>
                <a:gd name="T73" fmla="*/ 0 h 1983"/>
                <a:gd name="T74" fmla="*/ 0 w 2936"/>
                <a:gd name="T75" fmla="*/ 0 h 1983"/>
                <a:gd name="T76" fmla="*/ 0 w 2936"/>
                <a:gd name="T77" fmla="*/ 0 h 1983"/>
                <a:gd name="T78" fmla="*/ 0 w 2936"/>
                <a:gd name="T79" fmla="*/ 0 h 1983"/>
                <a:gd name="T80" fmla="*/ 0 w 2936"/>
                <a:gd name="T81" fmla="*/ 0 h 1983"/>
                <a:gd name="T82" fmla="*/ 0 w 2936"/>
                <a:gd name="T83" fmla="*/ 0 h 1983"/>
                <a:gd name="T84" fmla="*/ 0 w 2936"/>
                <a:gd name="T85" fmla="*/ 0 h 1983"/>
                <a:gd name="T86" fmla="*/ 0 w 2936"/>
                <a:gd name="T87" fmla="*/ 0 h 1983"/>
                <a:gd name="T88" fmla="*/ 0 w 2936"/>
                <a:gd name="T89" fmla="*/ 0 h 1983"/>
                <a:gd name="T90" fmla="*/ 0 w 2936"/>
                <a:gd name="T91" fmla="*/ 0 h 1983"/>
                <a:gd name="T92" fmla="*/ 0 w 2936"/>
                <a:gd name="T93" fmla="*/ 0 h 1983"/>
                <a:gd name="T94" fmla="*/ 0 w 2936"/>
                <a:gd name="T95" fmla="*/ 0 h 1983"/>
                <a:gd name="T96" fmla="*/ 0 w 2936"/>
                <a:gd name="T97" fmla="*/ 0 h 1983"/>
                <a:gd name="T98" fmla="*/ 0 w 2936"/>
                <a:gd name="T99" fmla="*/ 0 h 1983"/>
                <a:gd name="T100" fmla="*/ 0 w 2936"/>
                <a:gd name="T101" fmla="*/ 0 h 1983"/>
                <a:gd name="T102" fmla="*/ 0 w 2936"/>
                <a:gd name="T103" fmla="*/ 0 h 1983"/>
                <a:gd name="T104" fmla="*/ 0 w 2936"/>
                <a:gd name="T105" fmla="*/ 0 h 1983"/>
                <a:gd name="T106" fmla="*/ 0 w 2936"/>
                <a:gd name="T107" fmla="*/ 0 h 1983"/>
                <a:gd name="T108" fmla="*/ 0 w 2936"/>
                <a:gd name="T109" fmla="*/ 0 h 1983"/>
                <a:gd name="T110" fmla="*/ 0 w 2936"/>
                <a:gd name="T111" fmla="*/ 0 h 1983"/>
                <a:gd name="T112" fmla="*/ 0 w 2936"/>
                <a:gd name="T113" fmla="*/ 0 h 1983"/>
                <a:gd name="T114" fmla="*/ 0 w 2936"/>
                <a:gd name="T115" fmla="*/ 0 h 1983"/>
                <a:gd name="T116" fmla="*/ 0 w 2936"/>
                <a:gd name="T117" fmla="*/ 0 h 1983"/>
                <a:gd name="T118" fmla="*/ 0 w 2936"/>
                <a:gd name="T119" fmla="*/ 0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36"/>
                <a:gd name="T181" fmla="*/ 0 h 1983"/>
                <a:gd name="T182" fmla="*/ 2936 w 2936"/>
                <a:gd name="T183" fmla="*/ 1983 h 198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64" name="Freeform 581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3011" y="950"/>
              <a:ext cx="150" cy="172"/>
            </a:xfrm>
            <a:custGeom>
              <a:avLst/>
              <a:gdLst>
                <a:gd name="T0" fmla="*/ 0 w 504"/>
                <a:gd name="T1" fmla="*/ 0 h 524"/>
                <a:gd name="T2" fmla="*/ 0 w 504"/>
                <a:gd name="T3" fmla="*/ 0 h 524"/>
                <a:gd name="T4" fmla="*/ 0 w 504"/>
                <a:gd name="T5" fmla="*/ 0 h 524"/>
                <a:gd name="T6" fmla="*/ 0 w 504"/>
                <a:gd name="T7" fmla="*/ 0 h 524"/>
                <a:gd name="T8" fmla="*/ 0 w 504"/>
                <a:gd name="T9" fmla="*/ 0 h 524"/>
                <a:gd name="T10" fmla="*/ 0 w 504"/>
                <a:gd name="T11" fmla="*/ 0 h 524"/>
                <a:gd name="T12" fmla="*/ 0 w 504"/>
                <a:gd name="T13" fmla="*/ 0 h 524"/>
                <a:gd name="T14" fmla="*/ 0 w 504"/>
                <a:gd name="T15" fmla="*/ 0 h 524"/>
                <a:gd name="T16" fmla="*/ 0 w 504"/>
                <a:gd name="T17" fmla="*/ 0 h 524"/>
                <a:gd name="T18" fmla="*/ 0 w 504"/>
                <a:gd name="T19" fmla="*/ 0 h 524"/>
                <a:gd name="T20" fmla="*/ 0 w 504"/>
                <a:gd name="T21" fmla="*/ 0 h 524"/>
                <a:gd name="T22" fmla="*/ 0 w 504"/>
                <a:gd name="T23" fmla="*/ 0 h 524"/>
                <a:gd name="T24" fmla="*/ 0 w 504"/>
                <a:gd name="T25" fmla="*/ 0 h 524"/>
                <a:gd name="T26" fmla="*/ 0 w 504"/>
                <a:gd name="T27" fmla="*/ 0 h 524"/>
                <a:gd name="T28" fmla="*/ 0 w 504"/>
                <a:gd name="T29" fmla="*/ 0 h 524"/>
                <a:gd name="T30" fmla="*/ 0 w 504"/>
                <a:gd name="T31" fmla="*/ 0 h 524"/>
                <a:gd name="T32" fmla="*/ 0 w 504"/>
                <a:gd name="T33" fmla="*/ 0 h 524"/>
                <a:gd name="T34" fmla="*/ 0 w 504"/>
                <a:gd name="T35" fmla="*/ 0 h 524"/>
                <a:gd name="T36" fmla="*/ 0 w 504"/>
                <a:gd name="T37" fmla="*/ 0 h 524"/>
                <a:gd name="T38" fmla="*/ 0 w 504"/>
                <a:gd name="T39" fmla="*/ 0 h 524"/>
                <a:gd name="T40" fmla="*/ 0 w 504"/>
                <a:gd name="T41" fmla="*/ 0 h 524"/>
                <a:gd name="T42" fmla="*/ 0 w 504"/>
                <a:gd name="T43" fmla="*/ 0 h 524"/>
                <a:gd name="T44" fmla="*/ 0 w 504"/>
                <a:gd name="T45" fmla="*/ 0 h 524"/>
                <a:gd name="T46" fmla="*/ 0 w 504"/>
                <a:gd name="T47" fmla="*/ 0 h 524"/>
                <a:gd name="T48" fmla="*/ 0 w 504"/>
                <a:gd name="T49" fmla="*/ 0 h 524"/>
                <a:gd name="T50" fmla="*/ 0 w 504"/>
                <a:gd name="T51" fmla="*/ 0 h 524"/>
                <a:gd name="T52" fmla="*/ 0 w 504"/>
                <a:gd name="T53" fmla="*/ 0 h 524"/>
                <a:gd name="T54" fmla="*/ 0 w 504"/>
                <a:gd name="T55" fmla="*/ 0 h 524"/>
                <a:gd name="T56" fmla="*/ 0 w 504"/>
                <a:gd name="T57" fmla="*/ 0 h 524"/>
                <a:gd name="T58" fmla="*/ 0 w 504"/>
                <a:gd name="T59" fmla="*/ 0 h 524"/>
                <a:gd name="T60" fmla="*/ 0 w 504"/>
                <a:gd name="T61" fmla="*/ 0 h 524"/>
                <a:gd name="T62" fmla="*/ 0 w 504"/>
                <a:gd name="T63" fmla="*/ 0 h 524"/>
                <a:gd name="T64" fmla="*/ 0 w 504"/>
                <a:gd name="T65" fmla="*/ 0 h 524"/>
                <a:gd name="T66" fmla="*/ 0 w 504"/>
                <a:gd name="T67" fmla="*/ 0 h 524"/>
                <a:gd name="T68" fmla="*/ 0 w 504"/>
                <a:gd name="T69" fmla="*/ 0 h 524"/>
                <a:gd name="T70" fmla="*/ 0 w 504"/>
                <a:gd name="T71" fmla="*/ 0 h 524"/>
                <a:gd name="T72" fmla="*/ 0 w 504"/>
                <a:gd name="T73" fmla="*/ 0 h 524"/>
                <a:gd name="T74" fmla="*/ 0 w 504"/>
                <a:gd name="T75" fmla="*/ 0 h 524"/>
                <a:gd name="T76" fmla="*/ 0 w 504"/>
                <a:gd name="T77" fmla="*/ 0 h 524"/>
                <a:gd name="T78" fmla="*/ 0 w 504"/>
                <a:gd name="T79" fmla="*/ 0 h 524"/>
                <a:gd name="T80" fmla="*/ 0 w 504"/>
                <a:gd name="T81" fmla="*/ 0 h 524"/>
                <a:gd name="T82" fmla="*/ 0 w 504"/>
                <a:gd name="T83" fmla="*/ 0 h 524"/>
                <a:gd name="T84" fmla="*/ 0 w 504"/>
                <a:gd name="T85" fmla="*/ 0 h 524"/>
                <a:gd name="T86" fmla="*/ 0 w 504"/>
                <a:gd name="T87" fmla="*/ 0 h 524"/>
                <a:gd name="T88" fmla="*/ 0 w 504"/>
                <a:gd name="T89" fmla="*/ 0 h 524"/>
                <a:gd name="T90" fmla="*/ 0 w 504"/>
                <a:gd name="T91" fmla="*/ 0 h 524"/>
                <a:gd name="T92" fmla="*/ 0 w 504"/>
                <a:gd name="T93" fmla="*/ 0 h 524"/>
                <a:gd name="T94" fmla="*/ 0 w 504"/>
                <a:gd name="T95" fmla="*/ 0 h 524"/>
                <a:gd name="T96" fmla="*/ 0 w 504"/>
                <a:gd name="T97" fmla="*/ 0 h 524"/>
                <a:gd name="T98" fmla="*/ 0 w 504"/>
                <a:gd name="T99" fmla="*/ 0 h 524"/>
                <a:gd name="T100" fmla="*/ 0 w 504"/>
                <a:gd name="T101" fmla="*/ 0 h 524"/>
                <a:gd name="T102" fmla="*/ 0 w 504"/>
                <a:gd name="T103" fmla="*/ 0 h 524"/>
                <a:gd name="T104" fmla="*/ 0 w 504"/>
                <a:gd name="T105" fmla="*/ 0 h 524"/>
                <a:gd name="T106" fmla="*/ 0 w 504"/>
                <a:gd name="T107" fmla="*/ 0 h 524"/>
                <a:gd name="T108" fmla="*/ 0 w 504"/>
                <a:gd name="T109" fmla="*/ 0 h 524"/>
                <a:gd name="T110" fmla="*/ 0 w 504"/>
                <a:gd name="T111" fmla="*/ 0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04"/>
                <a:gd name="T169" fmla="*/ 0 h 524"/>
                <a:gd name="T170" fmla="*/ 504 w 504"/>
                <a:gd name="T171" fmla="*/ 524 h 5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65" name="Freeform 582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831" y="1213"/>
              <a:ext cx="124" cy="150"/>
            </a:xfrm>
            <a:custGeom>
              <a:avLst/>
              <a:gdLst>
                <a:gd name="T0" fmla="*/ 0 w 438"/>
                <a:gd name="T1" fmla="*/ 0 h 451"/>
                <a:gd name="T2" fmla="*/ 0 w 438"/>
                <a:gd name="T3" fmla="*/ 0 h 451"/>
                <a:gd name="T4" fmla="*/ 0 w 438"/>
                <a:gd name="T5" fmla="*/ 0 h 451"/>
                <a:gd name="T6" fmla="*/ 0 w 438"/>
                <a:gd name="T7" fmla="*/ 0 h 451"/>
                <a:gd name="T8" fmla="*/ 0 w 438"/>
                <a:gd name="T9" fmla="*/ 0 h 451"/>
                <a:gd name="T10" fmla="*/ 0 w 438"/>
                <a:gd name="T11" fmla="*/ 0 h 451"/>
                <a:gd name="T12" fmla="*/ 0 w 438"/>
                <a:gd name="T13" fmla="*/ 0 h 451"/>
                <a:gd name="T14" fmla="*/ 0 w 438"/>
                <a:gd name="T15" fmla="*/ 0 h 451"/>
                <a:gd name="T16" fmla="*/ 0 w 438"/>
                <a:gd name="T17" fmla="*/ 0 h 451"/>
                <a:gd name="T18" fmla="*/ 0 w 438"/>
                <a:gd name="T19" fmla="*/ 0 h 451"/>
                <a:gd name="T20" fmla="*/ 0 w 438"/>
                <a:gd name="T21" fmla="*/ 0 h 451"/>
                <a:gd name="T22" fmla="*/ 0 w 438"/>
                <a:gd name="T23" fmla="*/ 0 h 451"/>
                <a:gd name="T24" fmla="*/ 0 w 438"/>
                <a:gd name="T25" fmla="*/ 0 h 451"/>
                <a:gd name="T26" fmla="*/ 0 w 438"/>
                <a:gd name="T27" fmla="*/ 0 h 451"/>
                <a:gd name="T28" fmla="*/ 0 w 438"/>
                <a:gd name="T29" fmla="*/ 0 h 451"/>
                <a:gd name="T30" fmla="*/ 0 w 438"/>
                <a:gd name="T31" fmla="*/ 0 h 451"/>
                <a:gd name="T32" fmla="*/ 0 w 438"/>
                <a:gd name="T33" fmla="*/ 0 h 451"/>
                <a:gd name="T34" fmla="*/ 0 w 438"/>
                <a:gd name="T35" fmla="*/ 0 h 451"/>
                <a:gd name="T36" fmla="*/ 0 w 438"/>
                <a:gd name="T37" fmla="*/ 0 h 451"/>
                <a:gd name="T38" fmla="*/ 0 w 438"/>
                <a:gd name="T39" fmla="*/ 0 h 451"/>
                <a:gd name="T40" fmla="*/ 0 w 438"/>
                <a:gd name="T41" fmla="*/ 0 h 451"/>
                <a:gd name="T42" fmla="*/ 0 w 438"/>
                <a:gd name="T43" fmla="*/ 0 h 451"/>
                <a:gd name="T44" fmla="*/ 0 w 438"/>
                <a:gd name="T45" fmla="*/ 0 h 451"/>
                <a:gd name="T46" fmla="*/ 0 w 438"/>
                <a:gd name="T47" fmla="*/ 0 h 451"/>
                <a:gd name="T48" fmla="*/ 0 w 438"/>
                <a:gd name="T49" fmla="*/ 0 h 451"/>
                <a:gd name="T50" fmla="*/ 0 w 438"/>
                <a:gd name="T51" fmla="*/ 0 h 451"/>
                <a:gd name="T52" fmla="*/ 0 w 438"/>
                <a:gd name="T53" fmla="*/ 0 h 451"/>
                <a:gd name="T54" fmla="*/ 0 w 438"/>
                <a:gd name="T55" fmla="*/ 0 h 451"/>
                <a:gd name="T56" fmla="*/ 0 w 438"/>
                <a:gd name="T57" fmla="*/ 0 h 451"/>
                <a:gd name="T58" fmla="*/ 0 w 438"/>
                <a:gd name="T59" fmla="*/ 0 h 451"/>
                <a:gd name="T60" fmla="*/ 0 w 438"/>
                <a:gd name="T61" fmla="*/ 0 h 451"/>
                <a:gd name="T62" fmla="*/ 0 w 438"/>
                <a:gd name="T63" fmla="*/ 0 h 451"/>
                <a:gd name="T64" fmla="*/ 0 w 438"/>
                <a:gd name="T65" fmla="*/ 0 h 451"/>
                <a:gd name="T66" fmla="*/ 0 w 438"/>
                <a:gd name="T67" fmla="*/ 0 h 451"/>
                <a:gd name="T68" fmla="*/ 0 w 438"/>
                <a:gd name="T69" fmla="*/ 0 h 451"/>
                <a:gd name="T70" fmla="*/ 0 w 438"/>
                <a:gd name="T71" fmla="*/ 0 h 451"/>
                <a:gd name="T72" fmla="*/ 0 w 438"/>
                <a:gd name="T73" fmla="*/ 0 h 451"/>
                <a:gd name="T74" fmla="*/ 0 w 438"/>
                <a:gd name="T75" fmla="*/ 0 h 451"/>
                <a:gd name="T76" fmla="*/ 0 w 438"/>
                <a:gd name="T77" fmla="*/ 0 h 451"/>
                <a:gd name="T78" fmla="*/ 0 w 438"/>
                <a:gd name="T79" fmla="*/ 0 h 451"/>
                <a:gd name="T80" fmla="*/ 0 w 438"/>
                <a:gd name="T81" fmla="*/ 0 h 451"/>
                <a:gd name="T82" fmla="*/ 0 w 438"/>
                <a:gd name="T83" fmla="*/ 0 h 451"/>
                <a:gd name="T84" fmla="*/ 0 w 438"/>
                <a:gd name="T85" fmla="*/ 0 h 451"/>
                <a:gd name="T86" fmla="*/ 0 w 438"/>
                <a:gd name="T87" fmla="*/ 0 h 451"/>
                <a:gd name="T88" fmla="*/ 0 w 438"/>
                <a:gd name="T89" fmla="*/ 0 h 451"/>
                <a:gd name="T90" fmla="*/ 0 w 438"/>
                <a:gd name="T91" fmla="*/ 0 h 451"/>
                <a:gd name="T92" fmla="*/ 0 w 438"/>
                <a:gd name="T93" fmla="*/ 0 h 451"/>
                <a:gd name="T94" fmla="*/ 0 w 438"/>
                <a:gd name="T95" fmla="*/ 0 h 451"/>
                <a:gd name="T96" fmla="*/ 0 w 438"/>
                <a:gd name="T97" fmla="*/ 0 h 451"/>
                <a:gd name="T98" fmla="*/ 0 w 438"/>
                <a:gd name="T99" fmla="*/ 0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38"/>
                <a:gd name="T151" fmla="*/ 0 h 451"/>
                <a:gd name="T152" fmla="*/ 438 w 438"/>
                <a:gd name="T153" fmla="*/ 451 h 45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66" name="Freeform 583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848" y="1375"/>
              <a:ext cx="171" cy="173"/>
            </a:xfrm>
            <a:custGeom>
              <a:avLst/>
              <a:gdLst>
                <a:gd name="T0" fmla="*/ 0 w 578"/>
                <a:gd name="T1" fmla="*/ 0 h 524"/>
                <a:gd name="T2" fmla="*/ 0 w 578"/>
                <a:gd name="T3" fmla="*/ 0 h 524"/>
                <a:gd name="T4" fmla="*/ 0 w 578"/>
                <a:gd name="T5" fmla="*/ 0 h 524"/>
                <a:gd name="T6" fmla="*/ 0 w 578"/>
                <a:gd name="T7" fmla="*/ 0 h 524"/>
                <a:gd name="T8" fmla="*/ 0 w 578"/>
                <a:gd name="T9" fmla="*/ 0 h 524"/>
                <a:gd name="T10" fmla="*/ 0 w 578"/>
                <a:gd name="T11" fmla="*/ 0 h 524"/>
                <a:gd name="T12" fmla="*/ 0 w 578"/>
                <a:gd name="T13" fmla="*/ 0 h 524"/>
                <a:gd name="T14" fmla="*/ 0 w 578"/>
                <a:gd name="T15" fmla="*/ 0 h 524"/>
                <a:gd name="T16" fmla="*/ 0 w 578"/>
                <a:gd name="T17" fmla="*/ 0 h 524"/>
                <a:gd name="T18" fmla="*/ 0 w 578"/>
                <a:gd name="T19" fmla="*/ 0 h 524"/>
                <a:gd name="T20" fmla="*/ 0 w 578"/>
                <a:gd name="T21" fmla="*/ 0 h 524"/>
                <a:gd name="T22" fmla="*/ 0 w 578"/>
                <a:gd name="T23" fmla="*/ 0 h 524"/>
                <a:gd name="T24" fmla="*/ 0 w 578"/>
                <a:gd name="T25" fmla="*/ 0 h 524"/>
                <a:gd name="T26" fmla="*/ 0 w 578"/>
                <a:gd name="T27" fmla="*/ 0 h 524"/>
                <a:gd name="T28" fmla="*/ 0 w 578"/>
                <a:gd name="T29" fmla="*/ 0 h 524"/>
                <a:gd name="T30" fmla="*/ 0 w 578"/>
                <a:gd name="T31" fmla="*/ 0 h 524"/>
                <a:gd name="T32" fmla="*/ 0 w 578"/>
                <a:gd name="T33" fmla="*/ 0 h 524"/>
                <a:gd name="T34" fmla="*/ 0 w 578"/>
                <a:gd name="T35" fmla="*/ 0 h 524"/>
                <a:gd name="T36" fmla="*/ 0 w 578"/>
                <a:gd name="T37" fmla="*/ 0 h 524"/>
                <a:gd name="T38" fmla="*/ 0 w 578"/>
                <a:gd name="T39" fmla="*/ 0 h 524"/>
                <a:gd name="T40" fmla="*/ 0 w 578"/>
                <a:gd name="T41" fmla="*/ 0 h 524"/>
                <a:gd name="T42" fmla="*/ 0 w 578"/>
                <a:gd name="T43" fmla="*/ 0 h 524"/>
                <a:gd name="T44" fmla="*/ 0 w 578"/>
                <a:gd name="T45" fmla="*/ 0 h 524"/>
                <a:gd name="T46" fmla="*/ 0 w 578"/>
                <a:gd name="T47" fmla="*/ 0 h 524"/>
                <a:gd name="T48" fmla="*/ 0 w 578"/>
                <a:gd name="T49" fmla="*/ 0 h 524"/>
                <a:gd name="T50" fmla="*/ 0 w 578"/>
                <a:gd name="T51" fmla="*/ 0 h 524"/>
                <a:gd name="T52" fmla="*/ 0 w 578"/>
                <a:gd name="T53" fmla="*/ 0 h 524"/>
                <a:gd name="T54" fmla="*/ 0 w 578"/>
                <a:gd name="T55" fmla="*/ 0 h 524"/>
                <a:gd name="T56" fmla="*/ 0 w 578"/>
                <a:gd name="T57" fmla="*/ 0 h 524"/>
                <a:gd name="T58" fmla="*/ 0 w 578"/>
                <a:gd name="T59" fmla="*/ 0 h 524"/>
                <a:gd name="T60" fmla="*/ 0 w 578"/>
                <a:gd name="T61" fmla="*/ 0 h 524"/>
                <a:gd name="T62" fmla="*/ 0 w 578"/>
                <a:gd name="T63" fmla="*/ 0 h 524"/>
                <a:gd name="T64" fmla="*/ 0 w 578"/>
                <a:gd name="T65" fmla="*/ 0 h 524"/>
                <a:gd name="T66" fmla="*/ 0 w 578"/>
                <a:gd name="T67" fmla="*/ 0 h 524"/>
                <a:gd name="T68" fmla="*/ 0 w 578"/>
                <a:gd name="T69" fmla="*/ 0 h 524"/>
                <a:gd name="T70" fmla="*/ 0 w 578"/>
                <a:gd name="T71" fmla="*/ 0 h 524"/>
                <a:gd name="T72" fmla="*/ 0 w 578"/>
                <a:gd name="T73" fmla="*/ 0 h 524"/>
                <a:gd name="T74" fmla="*/ 0 w 578"/>
                <a:gd name="T75" fmla="*/ 0 h 524"/>
                <a:gd name="T76" fmla="*/ 0 w 578"/>
                <a:gd name="T77" fmla="*/ 0 h 524"/>
                <a:gd name="T78" fmla="*/ 0 w 578"/>
                <a:gd name="T79" fmla="*/ 0 h 524"/>
                <a:gd name="T80" fmla="*/ 0 w 578"/>
                <a:gd name="T81" fmla="*/ 0 h 524"/>
                <a:gd name="T82" fmla="*/ 0 w 578"/>
                <a:gd name="T83" fmla="*/ 0 h 524"/>
                <a:gd name="T84" fmla="*/ 0 w 578"/>
                <a:gd name="T85" fmla="*/ 0 h 524"/>
                <a:gd name="T86" fmla="*/ 0 w 578"/>
                <a:gd name="T87" fmla="*/ 0 h 524"/>
                <a:gd name="T88" fmla="*/ 0 w 578"/>
                <a:gd name="T89" fmla="*/ 0 h 524"/>
                <a:gd name="T90" fmla="*/ 0 w 578"/>
                <a:gd name="T91" fmla="*/ 0 h 524"/>
                <a:gd name="T92" fmla="*/ 0 w 578"/>
                <a:gd name="T93" fmla="*/ 0 h 524"/>
                <a:gd name="T94" fmla="*/ 0 w 578"/>
                <a:gd name="T95" fmla="*/ 0 h 524"/>
                <a:gd name="T96" fmla="*/ 0 w 578"/>
                <a:gd name="T97" fmla="*/ 0 h 524"/>
                <a:gd name="T98" fmla="*/ 0 w 578"/>
                <a:gd name="T99" fmla="*/ 0 h 524"/>
                <a:gd name="T100" fmla="*/ 0 w 578"/>
                <a:gd name="T101" fmla="*/ 0 h 524"/>
                <a:gd name="T102" fmla="*/ 0 w 578"/>
                <a:gd name="T103" fmla="*/ 0 h 524"/>
                <a:gd name="T104" fmla="*/ 0 w 578"/>
                <a:gd name="T105" fmla="*/ 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8"/>
                <a:gd name="T160" fmla="*/ 0 h 524"/>
                <a:gd name="T161" fmla="*/ 578 w 578"/>
                <a:gd name="T162" fmla="*/ 524 h 52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67" name="Freeform 584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2860" y="1481"/>
              <a:ext cx="23" cy="52"/>
            </a:xfrm>
            <a:custGeom>
              <a:avLst/>
              <a:gdLst>
                <a:gd name="T0" fmla="*/ 0 w 79"/>
                <a:gd name="T1" fmla="*/ 0 h 160"/>
                <a:gd name="T2" fmla="*/ 0 w 79"/>
                <a:gd name="T3" fmla="*/ 0 h 160"/>
                <a:gd name="T4" fmla="*/ 0 w 79"/>
                <a:gd name="T5" fmla="*/ 0 h 160"/>
                <a:gd name="T6" fmla="*/ 0 w 79"/>
                <a:gd name="T7" fmla="*/ 0 h 160"/>
                <a:gd name="T8" fmla="*/ 0 w 79"/>
                <a:gd name="T9" fmla="*/ 0 h 160"/>
                <a:gd name="T10" fmla="*/ 0 w 79"/>
                <a:gd name="T11" fmla="*/ 0 h 160"/>
                <a:gd name="T12" fmla="*/ 0 w 79"/>
                <a:gd name="T13" fmla="*/ 0 h 160"/>
                <a:gd name="T14" fmla="*/ 0 w 79"/>
                <a:gd name="T15" fmla="*/ 0 h 160"/>
                <a:gd name="T16" fmla="*/ 0 w 79"/>
                <a:gd name="T17" fmla="*/ 0 h 160"/>
                <a:gd name="T18" fmla="*/ 0 w 79"/>
                <a:gd name="T19" fmla="*/ 0 h 160"/>
                <a:gd name="T20" fmla="*/ 0 w 79"/>
                <a:gd name="T21" fmla="*/ 0 h 160"/>
                <a:gd name="T22" fmla="*/ 0 w 79"/>
                <a:gd name="T23" fmla="*/ 0 h 160"/>
                <a:gd name="T24" fmla="*/ 0 w 79"/>
                <a:gd name="T25" fmla="*/ 0 h 160"/>
                <a:gd name="T26" fmla="*/ 0 w 79"/>
                <a:gd name="T27" fmla="*/ 0 h 160"/>
                <a:gd name="T28" fmla="*/ 0 w 79"/>
                <a:gd name="T29" fmla="*/ 0 h 160"/>
                <a:gd name="T30" fmla="*/ 0 w 79"/>
                <a:gd name="T31" fmla="*/ 0 h 160"/>
                <a:gd name="T32" fmla="*/ 0 w 79"/>
                <a:gd name="T33" fmla="*/ 0 h 160"/>
                <a:gd name="T34" fmla="*/ 0 w 79"/>
                <a:gd name="T35" fmla="*/ 0 h 160"/>
                <a:gd name="T36" fmla="*/ 0 w 79"/>
                <a:gd name="T37" fmla="*/ 0 h 160"/>
                <a:gd name="T38" fmla="*/ 0 w 79"/>
                <a:gd name="T39" fmla="*/ 0 h 160"/>
                <a:gd name="T40" fmla="*/ 0 w 79"/>
                <a:gd name="T41" fmla="*/ 0 h 160"/>
                <a:gd name="T42" fmla="*/ 0 w 79"/>
                <a:gd name="T43" fmla="*/ 0 h 160"/>
                <a:gd name="T44" fmla="*/ 0 w 79"/>
                <a:gd name="T45" fmla="*/ 0 h 160"/>
                <a:gd name="T46" fmla="*/ 0 w 79"/>
                <a:gd name="T47" fmla="*/ 0 h 160"/>
                <a:gd name="T48" fmla="*/ 0 w 79"/>
                <a:gd name="T49" fmla="*/ 0 h 160"/>
                <a:gd name="T50" fmla="*/ 0 w 79"/>
                <a:gd name="T51" fmla="*/ 0 h 160"/>
                <a:gd name="T52" fmla="*/ 0 w 79"/>
                <a:gd name="T53" fmla="*/ 0 h 160"/>
                <a:gd name="T54" fmla="*/ 0 w 79"/>
                <a:gd name="T55" fmla="*/ 0 h 160"/>
                <a:gd name="T56" fmla="*/ 0 w 79"/>
                <a:gd name="T57" fmla="*/ 0 h 160"/>
                <a:gd name="T58" fmla="*/ 0 w 79"/>
                <a:gd name="T59" fmla="*/ 0 h 160"/>
                <a:gd name="T60" fmla="*/ 0 w 79"/>
                <a:gd name="T61" fmla="*/ 0 h 160"/>
                <a:gd name="T62" fmla="*/ 0 w 79"/>
                <a:gd name="T63" fmla="*/ 0 h 160"/>
                <a:gd name="T64" fmla="*/ 0 w 79"/>
                <a:gd name="T65" fmla="*/ 0 h 160"/>
                <a:gd name="T66" fmla="*/ 0 w 79"/>
                <a:gd name="T67" fmla="*/ 0 h 160"/>
                <a:gd name="T68" fmla="*/ 0 w 79"/>
                <a:gd name="T69" fmla="*/ 0 h 160"/>
                <a:gd name="T70" fmla="*/ 0 w 79"/>
                <a:gd name="T71" fmla="*/ 0 h 160"/>
                <a:gd name="T72" fmla="*/ 0 w 79"/>
                <a:gd name="T73" fmla="*/ 0 h 160"/>
                <a:gd name="T74" fmla="*/ 0 w 79"/>
                <a:gd name="T75" fmla="*/ 0 h 160"/>
                <a:gd name="T76" fmla="*/ 0 w 79"/>
                <a:gd name="T77" fmla="*/ 0 h 160"/>
                <a:gd name="T78" fmla="*/ 0 w 79"/>
                <a:gd name="T79" fmla="*/ 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9"/>
                <a:gd name="T121" fmla="*/ 0 h 160"/>
                <a:gd name="T122" fmla="*/ 79 w 79"/>
                <a:gd name="T123" fmla="*/ 160 h 16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grpSp>
          <p:nvGrpSpPr>
            <p:cNvPr id="3" name="Group 585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4443" y="2149"/>
              <a:ext cx="323" cy="134"/>
              <a:chOff x="4488" y="2394"/>
              <a:chExt cx="358" cy="124"/>
            </a:xfrm>
            <a:grpFill/>
          </p:grpSpPr>
          <p:sp>
            <p:nvSpPr>
              <p:cNvPr id="18998" name="Freeform 586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0 w 512"/>
                  <a:gd name="T1" fmla="*/ 0 h 408"/>
                  <a:gd name="T2" fmla="*/ 0 w 512"/>
                  <a:gd name="T3" fmla="*/ 0 h 408"/>
                  <a:gd name="T4" fmla="*/ 0 w 512"/>
                  <a:gd name="T5" fmla="*/ 0 h 408"/>
                  <a:gd name="T6" fmla="*/ 0 w 512"/>
                  <a:gd name="T7" fmla="*/ 0 h 408"/>
                  <a:gd name="T8" fmla="*/ 0 w 512"/>
                  <a:gd name="T9" fmla="*/ 0 h 408"/>
                  <a:gd name="T10" fmla="*/ 0 w 512"/>
                  <a:gd name="T11" fmla="*/ 0 h 408"/>
                  <a:gd name="T12" fmla="*/ 0 w 512"/>
                  <a:gd name="T13" fmla="*/ 0 h 408"/>
                  <a:gd name="T14" fmla="*/ 0 w 512"/>
                  <a:gd name="T15" fmla="*/ 0 h 408"/>
                  <a:gd name="T16" fmla="*/ 0 w 512"/>
                  <a:gd name="T17" fmla="*/ 0 h 408"/>
                  <a:gd name="T18" fmla="*/ 0 w 512"/>
                  <a:gd name="T19" fmla="*/ 0 h 408"/>
                  <a:gd name="T20" fmla="*/ 0 w 512"/>
                  <a:gd name="T21" fmla="*/ 0 h 408"/>
                  <a:gd name="T22" fmla="*/ 0 w 512"/>
                  <a:gd name="T23" fmla="*/ 0 h 408"/>
                  <a:gd name="T24" fmla="*/ 0 w 512"/>
                  <a:gd name="T25" fmla="*/ 0 h 408"/>
                  <a:gd name="T26" fmla="*/ 0 w 512"/>
                  <a:gd name="T27" fmla="*/ 0 h 408"/>
                  <a:gd name="T28" fmla="*/ 0 w 512"/>
                  <a:gd name="T29" fmla="*/ 0 h 408"/>
                  <a:gd name="T30" fmla="*/ 0 w 512"/>
                  <a:gd name="T31" fmla="*/ 0 h 408"/>
                  <a:gd name="T32" fmla="*/ 0 w 512"/>
                  <a:gd name="T33" fmla="*/ 0 h 408"/>
                  <a:gd name="T34" fmla="*/ 0 w 512"/>
                  <a:gd name="T35" fmla="*/ 0 h 408"/>
                  <a:gd name="T36" fmla="*/ 0 w 512"/>
                  <a:gd name="T37" fmla="*/ 0 h 408"/>
                  <a:gd name="T38" fmla="*/ 0 w 512"/>
                  <a:gd name="T39" fmla="*/ 0 h 408"/>
                  <a:gd name="T40" fmla="*/ 0 w 512"/>
                  <a:gd name="T41" fmla="*/ 0 h 408"/>
                  <a:gd name="T42" fmla="*/ 0 w 512"/>
                  <a:gd name="T43" fmla="*/ 0 h 408"/>
                  <a:gd name="T44" fmla="*/ 0 w 512"/>
                  <a:gd name="T45" fmla="*/ 0 h 408"/>
                  <a:gd name="T46" fmla="*/ 0 w 512"/>
                  <a:gd name="T47" fmla="*/ 0 h 408"/>
                  <a:gd name="T48" fmla="*/ 0 w 512"/>
                  <a:gd name="T49" fmla="*/ 0 h 408"/>
                  <a:gd name="T50" fmla="*/ 0 w 512"/>
                  <a:gd name="T51" fmla="*/ 0 h 408"/>
                  <a:gd name="T52" fmla="*/ 0 w 512"/>
                  <a:gd name="T53" fmla="*/ 0 h 408"/>
                  <a:gd name="T54" fmla="*/ 0 w 512"/>
                  <a:gd name="T55" fmla="*/ 0 h 408"/>
                  <a:gd name="T56" fmla="*/ 0 w 512"/>
                  <a:gd name="T57" fmla="*/ 0 h 408"/>
                  <a:gd name="T58" fmla="*/ 0 w 512"/>
                  <a:gd name="T59" fmla="*/ 0 h 408"/>
                  <a:gd name="T60" fmla="*/ 0 w 512"/>
                  <a:gd name="T61" fmla="*/ 0 h 408"/>
                  <a:gd name="T62" fmla="*/ 0 w 512"/>
                  <a:gd name="T63" fmla="*/ 0 h 408"/>
                  <a:gd name="T64" fmla="*/ 0 w 512"/>
                  <a:gd name="T65" fmla="*/ 0 h 408"/>
                  <a:gd name="T66" fmla="*/ 0 w 512"/>
                  <a:gd name="T67" fmla="*/ 0 h 408"/>
                  <a:gd name="T68" fmla="*/ 0 w 512"/>
                  <a:gd name="T69" fmla="*/ 0 h 408"/>
                  <a:gd name="T70" fmla="*/ 0 w 512"/>
                  <a:gd name="T71" fmla="*/ 0 h 408"/>
                  <a:gd name="T72" fmla="*/ 0 w 512"/>
                  <a:gd name="T73" fmla="*/ 0 h 408"/>
                  <a:gd name="T74" fmla="*/ 0 w 512"/>
                  <a:gd name="T75" fmla="*/ 0 h 408"/>
                  <a:gd name="T76" fmla="*/ 0 w 512"/>
                  <a:gd name="T77" fmla="*/ 0 h 408"/>
                  <a:gd name="T78" fmla="*/ 0 w 512"/>
                  <a:gd name="T79" fmla="*/ 0 h 408"/>
                  <a:gd name="T80" fmla="*/ 0 w 512"/>
                  <a:gd name="T81" fmla="*/ 0 h 408"/>
                  <a:gd name="T82" fmla="*/ 0 w 512"/>
                  <a:gd name="T83" fmla="*/ 0 h 408"/>
                  <a:gd name="T84" fmla="*/ 0 w 512"/>
                  <a:gd name="T85" fmla="*/ 0 h 408"/>
                  <a:gd name="T86" fmla="*/ 0 w 512"/>
                  <a:gd name="T87" fmla="*/ 0 h 408"/>
                  <a:gd name="T88" fmla="*/ 0 w 512"/>
                  <a:gd name="T89" fmla="*/ 0 h 408"/>
                  <a:gd name="T90" fmla="*/ 0 w 512"/>
                  <a:gd name="T91" fmla="*/ 0 h 408"/>
                  <a:gd name="T92" fmla="*/ 0 w 512"/>
                  <a:gd name="T93" fmla="*/ 0 h 408"/>
                  <a:gd name="T94" fmla="*/ 0 w 512"/>
                  <a:gd name="T95" fmla="*/ 0 h 408"/>
                  <a:gd name="T96" fmla="*/ 0 w 512"/>
                  <a:gd name="T97" fmla="*/ 0 h 408"/>
                  <a:gd name="T98" fmla="*/ 0 w 512"/>
                  <a:gd name="T99" fmla="*/ 0 h 408"/>
                  <a:gd name="T100" fmla="*/ 0 w 512"/>
                  <a:gd name="T101" fmla="*/ 0 h 408"/>
                  <a:gd name="T102" fmla="*/ 0 w 512"/>
                  <a:gd name="T103" fmla="*/ 0 h 408"/>
                  <a:gd name="T104" fmla="*/ 0 w 512"/>
                  <a:gd name="T105" fmla="*/ 0 h 408"/>
                  <a:gd name="T106" fmla="*/ 0 w 512"/>
                  <a:gd name="T107" fmla="*/ 0 h 408"/>
                  <a:gd name="T108" fmla="*/ 0 w 512"/>
                  <a:gd name="T109" fmla="*/ 0 h 408"/>
                  <a:gd name="T110" fmla="*/ 0 w 512"/>
                  <a:gd name="T111" fmla="*/ 0 h 408"/>
                  <a:gd name="T112" fmla="*/ 0 w 512"/>
                  <a:gd name="T113" fmla="*/ 0 h 408"/>
                  <a:gd name="T114" fmla="*/ 0 w 512"/>
                  <a:gd name="T115" fmla="*/ 0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12"/>
                  <a:gd name="T175" fmla="*/ 0 h 408"/>
                  <a:gd name="T176" fmla="*/ 512 w 512"/>
                  <a:gd name="T177" fmla="*/ 408 h 40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99" name="Freeform 587"/>
              <p:cNvSpPr>
                <a:spLocks/>
              </p:cNvSpPr>
              <p:nvPr/>
            </p:nvSpPr>
            <p:spPr bwMode="auto">
              <a:xfrm>
                <a:off x="4488" y="2420"/>
                <a:ext cx="76" cy="89"/>
              </a:xfrm>
              <a:custGeom>
                <a:avLst/>
                <a:gdLst>
                  <a:gd name="T0" fmla="*/ 0 w 232"/>
                  <a:gd name="T1" fmla="*/ 0 h 289"/>
                  <a:gd name="T2" fmla="*/ 0 w 232"/>
                  <a:gd name="T3" fmla="*/ 0 h 289"/>
                  <a:gd name="T4" fmla="*/ 0 w 232"/>
                  <a:gd name="T5" fmla="*/ 0 h 289"/>
                  <a:gd name="T6" fmla="*/ 0 w 232"/>
                  <a:gd name="T7" fmla="*/ 0 h 289"/>
                  <a:gd name="T8" fmla="*/ 0 w 232"/>
                  <a:gd name="T9" fmla="*/ 0 h 289"/>
                  <a:gd name="T10" fmla="*/ 0 w 232"/>
                  <a:gd name="T11" fmla="*/ 0 h 289"/>
                  <a:gd name="T12" fmla="*/ 0 w 232"/>
                  <a:gd name="T13" fmla="*/ 0 h 289"/>
                  <a:gd name="T14" fmla="*/ 0 w 232"/>
                  <a:gd name="T15" fmla="*/ 0 h 289"/>
                  <a:gd name="T16" fmla="*/ 0 w 232"/>
                  <a:gd name="T17" fmla="*/ 0 h 289"/>
                  <a:gd name="T18" fmla="*/ 0 w 232"/>
                  <a:gd name="T19" fmla="*/ 0 h 289"/>
                  <a:gd name="T20" fmla="*/ 0 w 232"/>
                  <a:gd name="T21" fmla="*/ 0 h 289"/>
                  <a:gd name="T22" fmla="*/ 0 w 232"/>
                  <a:gd name="T23" fmla="*/ 0 h 289"/>
                  <a:gd name="T24" fmla="*/ 0 w 232"/>
                  <a:gd name="T25" fmla="*/ 0 h 289"/>
                  <a:gd name="T26" fmla="*/ 0 w 232"/>
                  <a:gd name="T27" fmla="*/ 0 h 289"/>
                  <a:gd name="T28" fmla="*/ 0 w 232"/>
                  <a:gd name="T29" fmla="*/ 0 h 289"/>
                  <a:gd name="T30" fmla="*/ 0 w 232"/>
                  <a:gd name="T31" fmla="*/ 0 h 289"/>
                  <a:gd name="T32" fmla="*/ 0 w 232"/>
                  <a:gd name="T33" fmla="*/ 0 h 289"/>
                  <a:gd name="T34" fmla="*/ 0 w 232"/>
                  <a:gd name="T35" fmla="*/ 0 h 289"/>
                  <a:gd name="T36" fmla="*/ 0 w 232"/>
                  <a:gd name="T37" fmla="*/ 0 h 289"/>
                  <a:gd name="T38" fmla="*/ 0 w 232"/>
                  <a:gd name="T39" fmla="*/ 0 h 289"/>
                  <a:gd name="T40" fmla="*/ 0 w 232"/>
                  <a:gd name="T41" fmla="*/ 0 h 289"/>
                  <a:gd name="T42" fmla="*/ 0 w 232"/>
                  <a:gd name="T43" fmla="*/ 0 h 289"/>
                  <a:gd name="T44" fmla="*/ 0 w 232"/>
                  <a:gd name="T45" fmla="*/ 0 h 289"/>
                  <a:gd name="T46" fmla="*/ 0 w 232"/>
                  <a:gd name="T47" fmla="*/ 0 h 289"/>
                  <a:gd name="T48" fmla="*/ 0 w 232"/>
                  <a:gd name="T49" fmla="*/ 0 h 289"/>
                  <a:gd name="T50" fmla="*/ 0 w 232"/>
                  <a:gd name="T51" fmla="*/ 0 h 289"/>
                  <a:gd name="T52" fmla="*/ 0 w 232"/>
                  <a:gd name="T53" fmla="*/ 0 h 289"/>
                  <a:gd name="T54" fmla="*/ 0 w 232"/>
                  <a:gd name="T55" fmla="*/ 0 h 289"/>
                  <a:gd name="T56" fmla="*/ 0 w 232"/>
                  <a:gd name="T57" fmla="*/ 0 h 289"/>
                  <a:gd name="T58" fmla="*/ 0 w 232"/>
                  <a:gd name="T59" fmla="*/ 0 h 289"/>
                  <a:gd name="T60" fmla="*/ 0 w 232"/>
                  <a:gd name="T61" fmla="*/ 0 h 289"/>
                  <a:gd name="T62" fmla="*/ 0 w 232"/>
                  <a:gd name="T63" fmla="*/ 0 h 289"/>
                  <a:gd name="T64" fmla="*/ 0 w 232"/>
                  <a:gd name="T65" fmla="*/ 0 h 289"/>
                  <a:gd name="T66" fmla="*/ 0 w 232"/>
                  <a:gd name="T67" fmla="*/ 0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32"/>
                  <a:gd name="T103" fmla="*/ 0 h 289"/>
                  <a:gd name="T104" fmla="*/ 232 w 232"/>
                  <a:gd name="T105" fmla="*/ 289 h 28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</p:grpSp>
        <p:sp>
          <p:nvSpPr>
            <p:cNvPr id="18469" name="Freeform 588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3093" y="811"/>
              <a:ext cx="2092" cy="677"/>
            </a:xfrm>
            <a:custGeom>
              <a:avLst/>
              <a:gdLst>
                <a:gd name="T0" fmla="*/ 0 w 7049"/>
                <a:gd name="T1" fmla="*/ 0 h 2048"/>
                <a:gd name="T2" fmla="*/ 0 w 7049"/>
                <a:gd name="T3" fmla="*/ 0 h 2048"/>
                <a:gd name="T4" fmla="*/ 0 w 7049"/>
                <a:gd name="T5" fmla="*/ 0 h 2048"/>
                <a:gd name="T6" fmla="*/ 0 w 7049"/>
                <a:gd name="T7" fmla="*/ 0 h 2048"/>
                <a:gd name="T8" fmla="*/ 0 w 7049"/>
                <a:gd name="T9" fmla="*/ 0 h 2048"/>
                <a:gd name="T10" fmla="*/ 0 w 7049"/>
                <a:gd name="T11" fmla="*/ 0 h 2048"/>
                <a:gd name="T12" fmla="*/ 0 w 7049"/>
                <a:gd name="T13" fmla="*/ 0 h 2048"/>
                <a:gd name="T14" fmla="*/ 0 w 7049"/>
                <a:gd name="T15" fmla="*/ 0 h 2048"/>
                <a:gd name="T16" fmla="*/ 0 w 7049"/>
                <a:gd name="T17" fmla="*/ 0 h 2048"/>
                <a:gd name="T18" fmla="*/ 0 w 7049"/>
                <a:gd name="T19" fmla="*/ 0 h 2048"/>
                <a:gd name="T20" fmla="*/ 0 w 7049"/>
                <a:gd name="T21" fmla="*/ 0 h 2048"/>
                <a:gd name="T22" fmla="*/ 0 w 7049"/>
                <a:gd name="T23" fmla="*/ 0 h 2048"/>
                <a:gd name="T24" fmla="*/ 0 w 7049"/>
                <a:gd name="T25" fmla="*/ 0 h 2048"/>
                <a:gd name="T26" fmla="*/ 0 w 7049"/>
                <a:gd name="T27" fmla="*/ 0 h 2048"/>
                <a:gd name="T28" fmla="*/ 0 w 7049"/>
                <a:gd name="T29" fmla="*/ 0 h 2048"/>
                <a:gd name="T30" fmla="*/ 0 w 7049"/>
                <a:gd name="T31" fmla="*/ 0 h 2048"/>
                <a:gd name="T32" fmla="*/ 0 w 7049"/>
                <a:gd name="T33" fmla="*/ 0 h 2048"/>
                <a:gd name="T34" fmla="*/ 0 w 7049"/>
                <a:gd name="T35" fmla="*/ 0 h 2048"/>
                <a:gd name="T36" fmla="*/ 0 w 7049"/>
                <a:gd name="T37" fmla="*/ 0 h 2048"/>
                <a:gd name="T38" fmla="*/ 0 w 7049"/>
                <a:gd name="T39" fmla="*/ 0 h 2048"/>
                <a:gd name="T40" fmla="*/ 0 w 7049"/>
                <a:gd name="T41" fmla="*/ 0 h 2048"/>
                <a:gd name="T42" fmla="*/ 0 w 7049"/>
                <a:gd name="T43" fmla="*/ 0 h 2048"/>
                <a:gd name="T44" fmla="*/ 0 w 7049"/>
                <a:gd name="T45" fmla="*/ 0 h 2048"/>
                <a:gd name="T46" fmla="*/ 0 w 7049"/>
                <a:gd name="T47" fmla="*/ 0 h 2048"/>
                <a:gd name="T48" fmla="*/ 0 w 7049"/>
                <a:gd name="T49" fmla="*/ 0 h 2048"/>
                <a:gd name="T50" fmla="*/ 0 w 7049"/>
                <a:gd name="T51" fmla="*/ 0 h 2048"/>
                <a:gd name="T52" fmla="*/ 0 w 7049"/>
                <a:gd name="T53" fmla="*/ 0 h 2048"/>
                <a:gd name="T54" fmla="*/ 0 w 7049"/>
                <a:gd name="T55" fmla="*/ 0 h 2048"/>
                <a:gd name="T56" fmla="*/ 0 w 7049"/>
                <a:gd name="T57" fmla="*/ 0 h 2048"/>
                <a:gd name="T58" fmla="*/ 0 w 7049"/>
                <a:gd name="T59" fmla="*/ 0 h 2048"/>
                <a:gd name="T60" fmla="*/ 0 w 7049"/>
                <a:gd name="T61" fmla="*/ 0 h 2048"/>
                <a:gd name="T62" fmla="*/ 0 w 7049"/>
                <a:gd name="T63" fmla="*/ 0 h 2048"/>
                <a:gd name="T64" fmla="*/ 0 w 7049"/>
                <a:gd name="T65" fmla="*/ 0 h 2048"/>
                <a:gd name="T66" fmla="*/ 0 w 7049"/>
                <a:gd name="T67" fmla="*/ 0 h 2048"/>
                <a:gd name="T68" fmla="*/ 0 w 7049"/>
                <a:gd name="T69" fmla="*/ 0 h 2048"/>
                <a:gd name="T70" fmla="*/ 0 w 7049"/>
                <a:gd name="T71" fmla="*/ 0 h 2048"/>
                <a:gd name="T72" fmla="*/ 0 w 7049"/>
                <a:gd name="T73" fmla="*/ 0 h 2048"/>
                <a:gd name="T74" fmla="*/ 0 w 7049"/>
                <a:gd name="T75" fmla="*/ 0 h 2048"/>
                <a:gd name="T76" fmla="*/ 0 w 7049"/>
                <a:gd name="T77" fmla="*/ 0 h 2048"/>
                <a:gd name="T78" fmla="*/ 0 w 7049"/>
                <a:gd name="T79" fmla="*/ 0 h 2048"/>
                <a:gd name="T80" fmla="*/ 0 w 7049"/>
                <a:gd name="T81" fmla="*/ 0 h 2048"/>
                <a:gd name="T82" fmla="*/ 0 w 7049"/>
                <a:gd name="T83" fmla="*/ 0 h 2048"/>
                <a:gd name="T84" fmla="*/ 0 w 7049"/>
                <a:gd name="T85" fmla="*/ 0 h 2048"/>
                <a:gd name="T86" fmla="*/ 0 w 7049"/>
                <a:gd name="T87" fmla="*/ 0 h 2048"/>
                <a:gd name="T88" fmla="*/ 0 w 7049"/>
                <a:gd name="T89" fmla="*/ 0 h 2048"/>
                <a:gd name="T90" fmla="*/ 0 w 7049"/>
                <a:gd name="T91" fmla="*/ 0 h 2048"/>
                <a:gd name="T92" fmla="*/ 0 w 7049"/>
                <a:gd name="T93" fmla="*/ 0 h 2048"/>
                <a:gd name="T94" fmla="*/ 0 w 7049"/>
                <a:gd name="T95" fmla="*/ 0 h 2048"/>
                <a:gd name="T96" fmla="*/ 0 w 7049"/>
                <a:gd name="T97" fmla="*/ 0 h 2048"/>
                <a:gd name="T98" fmla="*/ 0 w 7049"/>
                <a:gd name="T99" fmla="*/ 0 h 2048"/>
                <a:gd name="T100" fmla="*/ 0 w 7049"/>
                <a:gd name="T101" fmla="*/ 0 h 2048"/>
                <a:gd name="T102" fmla="*/ 0 w 7049"/>
                <a:gd name="T103" fmla="*/ 0 h 2048"/>
                <a:gd name="T104" fmla="*/ 0 w 7049"/>
                <a:gd name="T105" fmla="*/ 0 h 2048"/>
                <a:gd name="T106" fmla="*/ 0 w 7049"/>
                <a:gd name="T107" fmla="*/ 0 h 2048"/>
                <a:gd name="T108" fmla="*/ 0 w 7049"/>
                <a:gd name="T109" fmla="*/ 0 h 2048"/>
                <a:gd name="T110" fmla="*/ 0 w 7049"/>
                <a:gd name="T111" fmla="*/ 0 h 2048"/>
                <a:gd name="T112" fmla="*/ 0 w 7049"/>
                <a:gd name="T113" fmla="*/ 0 h 2048"/>
                <a:gd name="T114" fmla="*/ 0 w 7049"/>
                <a:gd name="T115" fmla="*/ 0 h 2048"/>
                <a:gd name="T116" fmla="*/ 0 w 7049"/>
                <a:gd name="T117" fmla="*/ 0 h 2048"/>
                <a:gd name="T118" fmla="*/ 0 w 7049"/>
                <a:gd name="T119" fmla="*/ 0 h 2048"/>
                <a:gd name="T120" fmla="*/ 0 w 7049"/>
                <a:gd name="T121" fmla="*/ 0 h 2048"/>
                <a:gd name="T122" fmla="*/ 0 w 7049"/>
                <a:gd name="T123" fmla="*/ 0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049"/>
                <a:gd name="T187" fmla="*/ 0 h 2048"/>
                <a:gd name="T188" fmla="*/ 7049 w 7049"/>
                <a:gd name="T189" fmla="*/ 2048 h 204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70" name="Freeform 589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2590" y="1433"/>
              <a:ext cx="192" cy="156"/>
            </a:xfrm>
            <a:custGeom>
              <a:avLst/>
              <a:gdLst>
                <a:gd name="T0" fmla="*/ 0 w 647"/>
                <a:gd name="T1" fmla="*/ 0 h 470"/>
                <a:gd name="T2" fmla="*/ 0 w 647"/>
                <a:gd name="T3" fmla="*/ 0 h 470"/>
                <a:gd name="T4" fmla="*/ 0 w 647"/>
                <a:gd name="T5" fmla="*/ 0 h 470"/>
                <a:gd name="T6" fmla="*/ 0 w 647"/>
                <a:gd name="T7" fmla="*/ 0 h 470"/>
                <a:gd name="T8" fmla="*/ 0 w 647"/>
                <a:gd name="T9" fmla="*/ 0 h 470"/>
                <a:gd name="T10" fmla="*/ 0 w 647"/>
                <a:gd name="T11" fmla="*/ 0 h 470"/>
                <a:gd name="T12" fmla="*/ 0 w 647"/>
                <a:gd name="T13" fmla="*/ 0 h 470"/>
                <a:gd name="T14" fmla="*/ 0 w 647"/>
                <a:gd name="T15" fmla="*/ 0 h 470"/>
                <a:gd name="T16" fmla="*/ 0 w 647"/>
                <a:gd name="T17" fmla="*/ 0 h 470"/>
                <a:gd name="T18" fmla="*/ 0 w 647"/>
                <a:gd name="T19" fmla="*/ 0 h 470"/>
                <a:gd name="T20" fmla="*/ 0 w 647"/>
                <a:gd name="T21" fmla="*/ 0 h 470"/>
                <a:gd name="T22" fmla="*/ 0 w 647"/>
                <a:gd name="T23" fmla="*/ 0 h 470"/>
                <a:gd name="T24" fmla="*/ 0 w 647"/>
                <a:gd name="T25" fmla="*/ 0 h 470"/>
                <a:gd name="T26" fmla="*/ 0 w 647"/>
                <a:gd name="T27" fmla="*/ 0 h 470"/>
                <a:gd name="T28" fmla="*/ 0 w 647"/>
                <a:gd name="T29" fmla="*/ 0 h 470"/>
                <a:gd name="T30" fmla="*/ 0 w 647"/>
                <a:gd name="T31" fmla="*/ 0 h 470"/>
                <a:gd name="T32" fmla="*/ 0 w 647"/>
                <a:gd name="T33" fmla="*/ 0 h 470"/>
                <a:gd name="T34" fmla="*/ 0 w 647"/>
                <a:gd name="T35" fmla="*/ 0 h 470"/>
                <a:gd name="T36" fmla="*/ 0 w 647"/>
                <a:gd name="T37" fmla="*/ 0 h 470"/>
                <a:gd name="T38" fmla="*/ 0 w 647"/>
                <a:gd name="T39" fmla="*/ 0 h 470"/>
                <a:gd name="T40" fmla="*/ 0 w 647"/>
                <a:gd name="T41" fmla="*/ 0 h 470"/>
                <a:gd name="T42" fmla="*/ 0 w 647"/>
                <a:gd name="T43" fmla="*/ 0 h 470"/>
                <a:gd name="T44" fmla="*/ 0 w 647"/>
                <a:gd name="T45" fmla="*/ 0 h 470"/>
                <a:gd name="T46" fmla="*/ 0 w 647"/>
                <a:gd name="T47" fmla="*/ 0 h 470"/>
                <a:gd name="T48" fmla="*/ 0 w 647"/>
                <a:gd name="T49" fmla="*/ 0 h 470"/>
                <a:gd name="T50" fmla="*/ 0 w 647"/>
                <a:gd name="T51" fmla="*/ 0 h 470"/>
                <a:gd name="T52" fmla="*/ 0 w 647"/>
                <a:gd name="T53" fmla="*/ 0 h 470"/>
                <a:gd name="T54" fmla="*/ 0 w 647"/>
                <a:gd name="T55" fmla="*/ 0 h 470"/>
                <a:gd name="T56" fmla="*/ 0 w 647"/>
                <a:gd name="T57" fmla="*/ 0 h 470"/>
                <a:gd name="T58" fmla="*/ 0 w 647"/>
                <a:gd name="T59" fmla="*/ 0 h 470"/>
                <a:gd name="T60" fmla="*/ 0 w 647"/>
                <a:gd name="T61" fmla="*/ 0 h 470"/>
                <a:gd name="T62" fmla="*/ 0 w 647"/>
                <a:gd name="T63" fmla="*/ 0 h 470"/>
                <a:gd name="T64" fmla="*/ 0 w 647"/>
                <a:gd name="T65" fmla="*/ 0 h 470"/>
                <a:gd name="T66" fmla="*/ 0 w 647"/>
                <a:gd name="T67" fmla="*/ 0 h 470"/>
                <a:gd name="T68" fmla="*/ 0 w 647"/>
                <a:gd name="T69" fmla="*/ 0 h 470"/>
                <a:gd name="T70" fmla="*/ 0 w 647"/>
                <a:gd name="T71" fmla="*/ 0 h 470"/>
                <a:gd name="T72" fmla="*/ 0 w 647"/>
                <a:gd name="T73" fmla="*/ 0 h 470"/>
                <a:gd name="T74" fmla="*/ 0 w 647"/>
                <a:gd name="T75" fmla="*/ 0 h 470"/>
                <a:gd name="T76" fmla="*/ 0 w 647"/>
                <a:gd name="T77" fmla="*/ 0 h 470"/>
                <a:gd name="T78" fmla="*/ 0 w 647"/>
                <a:gd name="T79" fmla="*/ 0 h 470"/>
                <a:gd name="T80" fmla="*/ 0 w 647"/>
                <a:gd name="T81" fmla="*/ 0 h 470"/>
                <a:gd name="T82" fmla="*/ 0 w 647"/>
                <a:gd name="T83" fmla="*/ 0 h 470"/>
                <a:gd name="T84" fmla="*/ 0 w 647"/>
                <a:gd name="T85" fmla="*/ 0 h 470"/>
                <a:gd name="T86" fmla="*/ 0 w 647"/>
                <a:gd name="T87" fmla="*/ 0 h 470"/>
                <a:gd name="T88" fmla="*/ 0 w 647"/>
                <a:gd name="T89" fmla="*/ 0 h 470"/>
                <a:gd name="T90" fmla="*/ 0 w 647"/>
                <a:gd name="T91" fmla="*/ 0 h 470"/>
                <a:gd name="T92" fmla="*/ 0 w 647"/>
                <a:gd name="T93" fmla="*/ 0 h 470"/>
                <a:gd name="T94" fmla="*/ 0 w 647"/>
                <a:gd name="T95" fmla="*/ 0 h 470"/>
                <a:gd name="T96" fmla="*/ 0 w 647"/>
                <a:gd name="T97" fmla="*/ 0 h 470"/>
                <a:gd name="T98" fmla="*/ 0 w 647"/>
                <a:gd name="T99" fmla="*/ 0 h 470"/>
                <a:gd name="T100" fmla="*/ 0 w 647"/>
                <a:gd name="T101" fmla="*/ 0 h 470"/>
                <a:gd name="T102" fmla="*/ 0 w 647"/>
                <a:gd name="T103" fmla="*/ 0 h 470"/>
                <a:gd name="T104" fmla="*/ 0 w 647"/>
                <a:gd name="T105" fmla="*/ 0 h 470"/>
                <a:gd name="T106" fmla="*/ 0 w 647"/>
                <a:gd name="T107" fmla="*/ 0 h 470"/>
                <a:gd name="T108" fmla="*/ 0 w 647"/>
                <a:gd name="T109" fmla="*/ 0 h 470"/>
                <a:gd name="T110" fmla="*/ 0 w 647"/>
                <a:gd name="T111" fmla="*/ 0 h 470"/>
                <a:gd name="T112" fmla="*/ 0 w 647"/>
                <a:gd name="T113" fmla="*/ 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47"/>
                <a:gd name="T172" fmla="*/ 0 h 470"/>
                <a:gd name="T173" fmla="*/ 647 w 647"/>
                <a:gd name="T174" fmla="*/ 470 h 47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71" name="Freeform 590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4386" y="1898"/>
              <a:ext cx="142" cy="287"/>
            </a:xfrm>
            <a:custGeom>
              <a:avLst/>
              <a:gdLst>
                <a:gd name="T0" fmla="*/ 0 w 479"/>
                <a:gd name="T1" fmla="*/ 0 h 868"/>
                <a:gd name="T2" fmla="*/ 0 w 479"/>
                <a:gd name="T3" fmla="*/ 0 h 868"/>
                <a:gd name="T4" fmla="*/ 0 w 479"/>
                <a:gd name="T5" fmla="*/ 0 h 868"/>
                <a:gd name="T6" fmla="*/ 0 w 479"/>
                <a:gd name="T7" fmla="*/ 0 h 868"/>
                <a:gd name="T8" fmla="*/ 0 w 479"/>
                <a:gd name="T9" fmla="*/ 0 h 868"/>
                <a:gd name="T10" fmla="*/ 0 w 479"/>
                <a:gd name="T11" fmla="*/ 0 h 868"/>
                <a:gd name="T12" fmla="*/ 0 w 479"/>
                <a:gd name="T13" fmla="*/ 0 h 868"/>
                <a:gd name="T14" fmla="*/ 0 w 479"/>
                <a:gd name="T15" fmla="*/ 0 h 868"/>
                <a:gd name="T16" fmla="*/ 0 w 479"/>
                <a:gd name="T17" fmla="*/ 0 h 868"/>
                <a:gd name="T18" fmla="*/ 0 w 479"/>
                <a:gd name="T19" fmla="*/ 0 h 868"/>
                <a:gd name="T20" fmla="*/ 0 w 479"/>
                <a:gd name="T21" fmla="*/ 0 h 868"/>
                <a:gd name="T22" fmla="*/ 0 w 479"/>
                <a:gd name="T23" fmla="*/ 0 h 868"/>
                <a:gd name="T24" fmla="*/ 0 w 479"/>
                <a:gd name="T25" fmla="*/ 0 h 868"/>
                <a:gd name="T26" fmla="*/ 0 w 479"/>
                <a:gd name="T27" fmla="*/ 0 h 868"/>
                <a:gd name="T28" fmla="*/ 0 w 479"/>
                <a:gd name="T29" fmla="*/ 0 h 868"/>
                <a:gd name="T30" fmla="*/ 0 w 479"/>
                <a:gd name="T31" fmla="*/ 0 h 868"/>
                <a:gd name="T32" fmla="*/ 0 w 479"/>
                <a:gd name="T33" fmla="*/ 0 h 868"/>
                <a:gd name="T34" fmla="*/ 0 w 479"/>
                <a:gd name="T35" fmla="*/ 0 h 868"/>
                <a:gd name="T36" fmla="*/ 0 w 479"/>
                <a:gd name="T37" fmla="*/ 0 h 868"/>
                <a:gd name="T38" fmla="*/ 0 w 479"/>
                <a:gd name="T39" fmla="*/ 0 h 868"/>
                <a:gd name="T40" fmla="*/ 0 w 479"/>
                <a:gd name="T41" fmla="*/ 0 h 868"/>
                <a:gd name="T42" fmla="*/ 0 w 479"/>
                <a:gd name="T43" fmla="*/ 0 h 868"/>
                <a:gd name="T44" fmla="*/ 0 w 479"/>
                <a:gd name="T45" fmla="*/ 0 h 868"/>
                <a:gd name="T46" fmla="*/ 0 w 479"/>
                <a:gd name="T47" fmla="*/ 0 h 868"/>
                <a:gd name="T48" fmla="*/ 0 w 479"/>
                <a:gd name="T49" fmla="*/ 0 h 868"/>
                <a:gd name="T50" fmla="*/ 0 w 479"/>
                <a:gd name="T51" fmla="*/ 0 h 868"/>
                <a:gd name="T52" fmla="*/ 0 w 479"/>
                <a:gd name="T53" fmla="*/ 0 h 868"/>
                <a:gd name="T54" fmla="*/ 0 w 479"/>
                <a:gd name="T55" fmla="*/ 0 h 868"/>
                <a:gd name="T56" fmla="*/ 0 w 479"/>
                <a:gd name="T57" fmla="*/ 0 h 868"/>
                <a:gd name="T58" fmla="*/ 0 w 479"/>
                <a:gd name="T59" fmla="*/ 0 h 868"/>
                <a:gd name="T60" fmla="*/ 0 w 479"/>
                <a:gd name="T61" fmla="*/ 0 h 868"/>
                <a:gd name="T62" fmla="*/ 0 w 479"/>
                <a:gd name="T63" fmla="*/ 0 h 868"/>
                <a:gd name="T64" fmla="*/ 0 w 479"/>
                <a:gd name="T65" fmla="*/ 0 h 868"/>
                <a:gd name="T66" fmla="*/ 0 w 479"/>
                <a:gd name="T67" fmla="*/ 0 h 868"/>
                <a:gd name="T68" fmla="*/ 0 w 479"/>
                <a:gd name="T69" fmla="*/ 0 h 868"/>
                <a:gd name="T70" fmla="*/ 0 w 479"/>
                <a:gd name="T71" fmla="*/ 0 h 868"/>
                <a:gd name="T72" fmla="*/ 0 w 479"/>
                <a:gd name="T73" fmla="*/ 0 h 868"/>
                <a:gd name="T74" fmla="*/ 0 w 479"/>
                <a:gd name="T75" fmla="*/ 0 h 868"/>
                <a:gd name="T76" fmla="*/ 0 w 479"/>
                <a:gd name="T77" fmla="*/ 0 h 868"/>
                <a:gd name="T78" fmla="*/ 0 w 479"/>
                <a:gd name="T79" fmla="*/ 0 h 868"/>
                <a:gd name="T80" fmla="*/ 0 w 479"/>
                <a:gd name="T81" fmla="*/ 0 h 868"/>
                <a:gd name="T82" fmla="*/ 0 w 479"/>
                <a:gd name="T83" fmla="*/ 0 h 868"/>
                <a:gd name="T84" fmla="*/ 0 w 479"/>
                <a:gd name="T85" fmla="*/ 0 h 868"/>
                <a:gd name="T86" fmla="*/ 0 w 479"/>
                <a:gd name="T87" fmla="*/ 0 h 868"/>
                <a:gd name="T88" fmla="*/ 0 w 479"/>
                <a:gd name="T89" fmla="*/ 0 h 868"/>
                <a:gd name="T90" fmla="*/ 0 w 479"/>
                <a:gd name="T91" fmla="*/ 0 h 868"/>
                <a:gd name="T92" fmla="*/ 0 w 479"/>
                <a:gd name="T93" fmla="*/ 0 h 868"/>
                <a:gd name="T94" fmla="*/ 0 w 479"/>
                <a:gd name="T95" fmla="*/ 0 h 868"/>
                <a:gd name="T96" fmla="*/ 0 w 479"/>
                <a:gd name="T97" fmla="*/ 0 h 868"/>
                <a:gd name="T98" fmla="*/ 0 w 479"/>
                <a:gd name="T99" fmla="*/ 0 h 868"/>
                <a:gd name="T100" fmla="*/ 0 w 479"/>
                <a:gd name="T101" fmla="*/ 0 h 868"/>
                <a:gd name="T102" fmla="*/ 0 w 479"/>
                <a:gd name="T103" fmla="*/ 0 h 868"/>
                <a:gd name="T104" fmla="*/ 0 w 479"/>
                <a:gd name="T105" fmla="*/ 0 h 868"/>
                <a:gd name="T106" fmla="*/ 0 w 479"/>
                <a:gd name="T107" fmla="*/ 0 h 868"/>
                <a:gd name="T108" fmla="*/ 0 w 479"/>
                <a:gd name="T109" fmla="*/ 0 h 868"/>
                <a:gd name="T110" fmla="*/ 0 w 479"/>
                <a:gd name="T111" fmla="*/ 0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79"/>
                <a:gd name="T169" fmla="*/ 0 h 868"/>
                <a:gd name="T170" fmla="*/ 479 w 479"/>
                <a:gd name="T171" fmla="*/ 868 h 86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72" name="Freeform 591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731" y="3402"/>
              <a:ext cx="16" cy="36"/>
            </a:xfrm>
            <a:custGeom>
              <a:avLst/>
              <a:gdLst>
                <a:gd name="T0" fmla="*/ 0 w 53"/>
                <a:gd name="T1" fmla="*/ 2751372 h 19"/>
                <a:gd name="T2" fmla="*/ 0 w 53"/>
                <a:gd name="T3" fmla="*/ 4656130 h 19"/>
                <a:gd name="T4" fmla="*/ 0 w 53"/>
                <a:gd name="T5" fmla="*/ 6070577 h 19"/>
                <a:gd name="T6" fmla="*/ 0 w 53"/>
                <a:gd name="T7" fmla="*/ 6724223 h 19"/>
                <a:gd name="T8" fmla="*/ 0 w 53"/>
                <a:gd name="T9" fmla="*/ 6724223 h 19"/>
                <a:gd name="T10" fmla="*/ 0 w 53"/>
                <a:gd name="T11" fmla="*/ 6315066 h 19"/>
                <a:gd name="T12" fmla="*/ 0 w 53"/>
                <a:gd name="T13" fmla="*/ 5213126 h 19"/>
                <a:gd name="T14" fmla="*/ 0 w 53"/>
                <a:gd name="T15" fmla="*/ 4328777 h 19"/>
                <a:gd name="T16" fmla="*/ 0 w 53"/>
                <a:gd name="T17" fmla="*/ 2751372 h 19"/>
                <a:gd name="T18" fmla="*/ 0 w 53"/>
                <a:gd name="T19" fmla="*/ 1690954 h 19"/>
                <a:gd name="T20" fmla="*/ 0 w 53"/>
                <a:gd name="T21" fmla="*/ 766393 h 19"/>
                <a:gd name="T22" fmla="*/ 0 w 53"/>
                <a:gd name="T23" fmla="*/ 404485 h 19"/>
                <a:gd name="T24" fmla="*/ 0 w 53"/>
                <a:gd name="T25" fmla="*/ 0 h 19"/>
                <a:gd name="T26" fmla="*/ 0 w 53"/>
                <a:gd name="T27" fmla="*/ 0 h 19"/>
                <a:gd name="T28" fmla="*/ 0 w 53"/>
                <a:gd name="T29" fmla="*/ 404485 h 19"/>
                <a:gd name="T30" fmla="*/ 0 w 53"/>
                <a:gd name="T31" fmla="*/ 1107595 h 19"/>
                <a:gd name="T32" fmla="*/ 0 w 53"/>
                <a:gd name="T33" fmla="*/ 2751372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3"/>
                <a:gd name="T52" fmla="*/ 0 h 19"/>
                <a:gd name="T53" fmla="*/ 53 w 53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73" name="Line 592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681" y="1463"/>
              <a:ext cx="3" cy="6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74" name="Freeform 593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684" y="1461"/>
              <a:ext cx="2" cy="35"/>
            </a:xfrm>
            <a:custGeom>
              <a:avLst/>
              <a:gdLst>
                <a:gd name="T0" fmla="*/ 0 w 6"/>
                <a:gd name="T1" fmla="*/ 45027 h 24"/>
                <a:gd name="T2" fmla="*/ 0 w 6"/>
                <a:gd name="T3" fmla="*/ 36514 h 24"/>
                <a:gd name="T4" fmla="*/ 0 w 6"/>
                <a:gd name="T5" fmla="*/ 25627 h 24"/>
                <a:gd name="T6" fmla="*/ 0 w 6"/>
                <a:gd name="T7" fmla="*/ 15762 h 24"/>
                <a:gd name="T8" fmla="*/ 0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4"/>
                <a:gd name="T17" fmla="*/ 6 w 6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75" name="Freeform 594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667" y="1495"/>
              <a:ext cx="17" cy="36"/>
            </a:xfrm>
            <a:custGeom>
              <a:avLst/>
              <a:gdLst>
                <a:gd name="T0" fmla="*/ 0 w 47"/>
                <a:gd name="T1" fmla="*/ 1 h 67"/>
                <a:gd name="T2" fmla="*/ 0 w 47"/>
                <a:gd name="T3" fmla="*/ 1 h 67"/>
                <a:gd name="T4" fmla="*/ 0 w 47"/>
                <a:gd name="T5" fmla="*/ 1 h 67"/>
                <a:gd name="T6" fmla="*/ 0 w 47"/>
                <a:gd name="T7" fmla="*/ 1 h 67"/>
                <a:gd name="T8" fmla="*/ 0 w 47"/>
                <a:gd name="T9" fmla="*/ 1 h 67"/>
                <a:gd name="T10" fmla="*/ 0 w 47"/>
                <a:gd name="T11" fmla="*/ 1 h 67"/>
                <a:gd name="T12" fmla="*/ 0 w 47"/>
                <a:gd name="T13" fmla="*/ 1 h 67"/>
                <a:gd name="T14" fmla="*/ 0 w 47"/>
                <a:gd name="T15" fmla="*/ 1 h 67"/>
                <a:gd name="T16" fmla="*/ 0 w 47"/>
                <a:gd name="T17" fmla="*/ 0 h 67"/>
                <a:gd name="T18" fmla="*/ 0 w 47"/>
                <a:gd name="T19" fmla="*/ 1 h 67"/>
                <a:gd name="T20" fmla="*/ 0 w 47"/>
                <a:gd name="T21" fmla="*/ 1 h 67"/>
                <a:gd name="T22" fmla="*/ 0 w 47"/>
                <a:gd name="T23" fmla="*/ 1 h 67"/>
                <a:gd name="T24" fmla="*/ 0 w 47"/>
                <a:gd name="T25" fmla="*/ 1 h 67"/>
                <a:gd name="T26" fmla="*/ 0 w 47"/>
                <a:gd name="T27" fmla="*/ 1 h 67"/>
                <a:gd name="T28" fmla="*/ 0 w 47"/>
                <a:gd name="T29" fmla="*/ 1 h 67"/>
                <a:gd name="T30" fmla="*/ 0 w 47"/>
                <a:gd name="T31" fmla="*/ 1 h 67"/>
                <a:gd name="T32" fmla="*/ 0 w 47"/>
                <a:gd name="T33" fmla="*/ 1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7"/>
                <a:gd name="T52" fmla="*/ 0 h 67"/>
                <a:gd name="T53" fmla="*/ 47 w 47"/>
                <a:gd name="T54" fmla="*/ 67 h 6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76" name="Freeform 595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1572" y="1492"/>
              <a:ext cx="34" cy="36"/>
            </a:xfrm>
            <a:custGeom>
              <a:avLst/>
              <a:gdLst>
                <a:gd name="T0" fmla="*/ 0 w 112"/>
                <a:gd name="T1" fmla="*/ 36 h 36"/>
                <a:gd name="T2" fmla="*/ 0 w 112"/>
                <a:gd name="T3" fmla="*/ 36 h 36"/>
                <a:gd name="T4" fmla="*/ 0 w 112"/>
                <a:gd name="T5" fmla="*/ 30 h 36"/>
                <a:gd name="T6" fmla="*/ 0 w 112"/>
                <a:gd name="T7" fmla="*/ 26 h 36"/>
                <a:gd name="T8" fmla="*/ 0 w 112"/>
                <a:gd name="T9" fmla="*/ 23 h 36"/>
                <a:gd name="T10" fmla="*/ 0 w 112"/>
                <a:gd name="T11" fmla="*/ 20 h 36"/>
                <a:gd name="T12" fmla="*/ 0 w 112"/>
                <a:gd name="T13" fmla="*/ 17 h 36"/>
                <a:gd name="T14" fmla="*/ 0 w 112"/>
                <a:gd name="T15" fmla="*/ 13 h 36"/>
                <a:gd name="T16" fmla="*/ 0 w 112"/>
                <a:gd name="T17" fmla="*/ 11 h 36"/>
                <a:gd name="T18" fmla="*/ 0 w 112"/>
                <a:gd name="T19" fmla="*/ 8 h 36"/>
                <a:gd name="T20" fmla="*/ 0 w 112"/>
                <a:gd name="T21" fmla="*/ 4 h 36"/>
                <a:gd name="T22" fmla="*/ 0 w 112"/>
                <a:gd name="T23" fmla="*/ 0 h 36"/>
                <a:gd name="T24" fmla="*/ 0 w 112"/>
                <a:gd name="T25" fmla="*/ 0 h 36"/>
                <a:gd name="T26" fmla="*/ 0 w 112"/>
                <a:gd name="T27" fmla="*/ 1 h 36"/>
                <a:gd name="T28" fmla="*/ 0 w 112"/>
                <a:gd name="T29" fmla="*/ 3 h 36"/>
                <a:gd name="T30" fmla="*/ 0 w 112"/>
                <a:gd name="T31" fmla="*/ 7 h 36"/>
                <a:gd name="T32" fmla="*/ 0 w 112"/>
                <a:gd name="T33" fmla="*/ 9 h 36"/>
                <a:gd name="T34" fmla="*/ 0 w 112"/>
                <a:gd name="T35" fmla="*/ 11 h 36"/>
                <a:gd name="T36" fmla="*/ 0 w 112"/>
                <a:gd name="T37" fmla="*/ 14 h 36"/>
                <a:gd name="T38" fmla="*/ 0 w 112"/>
                <a:gd name="T39" fmla="*/ 18 h 36"/>
                <a:gd name="T40" fmla="*/ 0 w 112"/>
                <a:gd name="T41" fmla="*/ 22 h 36"/>
                <a:gd name="T42" fmla="*/ 0 w 112"/>
                <a:gd name="T43" fmla="*/ 26 h 36"/>
                <a:gd name="T44" fmla="*/ 0 w 112"/>
                <a:gd name="T45" fmla="*/ 31 h 36"/>
                <a:gd name="T46" fmla="*/ 0 w 112"/>
                <a:gd name="T47" fmla="*/ 36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12"/>
                <a:gd name="T73" fmla="*/ 0 h 36"/>
                <a:gd name="T74" fmla="*/ 112 w 112"/>
                <a:gd name="T75" fmla="*/ 36 h 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77" name="Freeform 596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3441" y="1213"/>
              <a:ext cx="597" cy="285"/>
            </a:xfrm>
            <a:custGeom>
              <a:avLst/>
              <a:gdLst>
                <a:gd name="T0" fmla="*/ 0 w 2006"/>
                <a:gd name="T1" fmla="*/ 0 h 863"/>
                <a:gd name="T2" fmla="*/ 0 w 2006"/>
                <a:gd name="T3" fmla="*/ 0 h 863"/>
                <a:gd name="T4" fmla="*/ 0 w 2006"/>
                <a:gd name="T5" fmla="*/ 0 h 863"/>
                <a:gd name="T6" fmla="*/ 0 w 2006"/>
                <a:gd name="T7" fmla="*/ 0 h 863"/>
                <a:gd name="T8" fmla="*/ 0 w 2006"/>
                <a:gd name="T9" fmla="*/ 0 h 863"/>
                <a:gd name="T10" fmla="*/ 0 w 2006"/>
                <a:gd name="T11" fmla="*/ 0 h 863"/>
                <a:gd name="T12" fmla="*/ 0 w 2006"/>
                <a:gd name="T13" fmla="*/ 0 h 863"/>
                <a:gd name="T14" fmla="*/ 0 w 2006"/>
                <a:gd name="T15" fmla="*/ 0 h 863"/>
                <a:gd name="T16" fmla="*/ 0 w 2006"/>
                <a:gd name="T17" fmla="*/ 0 h 863"/>
                <a:gd name="T18" fmla="*/ 0 w 2006"/>
                <a:gd name="T19" fmla="*/ 0 h 863"/>
                <a:gd name="T20" fmla="*/ 0 w 2006"/>
                <a:gd name="T21" fmla="*/ 0 h 863"/>
                <a:gd name="T22" fmla="*/ 0 w 2006"/>
                <a:gd name="T23" fmla="*/ 0 h 863"/>
                <a:gd name="T24" fmla="*/ 0 w 2006"/>
                <a:gd name="T25" fmla="*/ 0 h 863"/>
                <a:gd name="T26" fmla="*/ 0 w 2006"/>
                <a:gd name="T27" fmla="*/ 0 h 863"/>
                <a:gd name="T28" fmla="*/ 0 w 2006"/>
                <a:gd name="T29" fmla="*/ 0 h 863"/>
                <a:gd name="T30" fmla="*/ 0 w 2006"/>
                <a:gd name="T31" fmla="*/ 0 h 863"/>
                <a:gd name="T32" fmla="*/ 0 w 2006"/>
                <a:gd name="T33" fmla="*/ 0 h 863"/>
                <a:gd name="T34" fmla="*/ 0 w 2006"/>
                <a:gd name="T35" fmla="*/ 0 h 863"/>
                <a:gd name="T36" fmla="*/ 0 w 2006"/>
                <a:gd name="T37" fmla="*/ 0 h 863"/>
                <a:gd name="T38" fmla="*/ 0 w 2006"/>
                <a:gd name="T39" fmla="*/ 0 h 863"/>
                <a:gd name="T40" fmla="*/ 0 w 2006"/>
                <a:gd name="T41" fmla="*/ 0 h 863"/>
                <a:gd name="T42" fmla="*/ 0 w 2006"/>
                <a:gd name="T43" fmla="*/ 0 h 863"/>
                <a:gd name="T44" fmla="*/ 0 w 2006"/>
                <a:gd name="T45" fmla="*/ 0 h 863"/>
                <a:gd name="T46" fmla="*/ 0 w 2006"/>
                <a:gd name="T47" fmla="*/ 0 h 863"/>
                <a:gd name="T48" fmla="*/ 0 w 2006"/>
                <a:gd name="T49" fmla="*/ 0 h 863"/>
                <a:gd name="T50" fmla="*/ 0 w 2006"/>
                <a:gd name="T51" fmla="*/ 0 h 863"/>
                <a:gd name="T52" fmla="*/ 0 w 2006"/>
                <a:gd name="T53" fmla="*/ 0 h 863"/>
                <a:gd name="T54" fmla="*/ 0 w 2006"/>
                <a:gd name="T55" fmla="*/ 0 h 863"/>
                <a:gd name="T56" fmla="*/ 0 w 2006"/>
                <a:gd name="T57" fmla="*/ 0 h 863"/>
                <a:gd name="T58" fmla="*/ 0 w 2006"/>
                <a:gd name="T59" fmla="*/ 0 h 863"/>
                <a:gd name="T60" fmla="*/ 0 w 2006"/>
                <a:gd name="T61" fmla="*/ 0 h 863"/>
                <a:gd name="T62" fmla="*/ 0 w 2006"/>
                <a:gd name="T63" fmla="*/ 0 h 863"/>
                <a:gd name="T64" fmla="*/ 0 w 2006"/>
                <a:gd name="T65" fmla="*/ 0 h 863"/>
                <a:gd name="T66" fmla="*/ 0 w 2006"/>
                <a:gd name="T67" fmla="*/ 0 h 863"/>
                <a:gd name="T68" fmla="*/ 0 w 2006"/>
                <a:gd name="T69" fmla="*/ 0 h 863"/>
                <a:gd name="T70" fmla="*/ 0 w 2006"/>
                <a:gd name="T71" fmla="*/ 0 h 863"/>
                <a:gd name="T72" fmla="*/ 0 w 2006"/>
                <a:gd name="T73" fmla="*/ 0 h 863"/>
                <a:gd name="T74" fmla="*/ 0 w 2006"/>
                <a:gd name="T75" fmla="*/ 0 h 863"/>
                <a:gd name="T76" fmla="*/ 0 w 2006"/>
                <a:gd name="T77" fmla="*/ 0 h 863"/>
                <a:gd name="T78" fmla="*/ 0 w 2006"/>
                <a:gd name="T79" fmla="*/ 0 h 863"/>
                <a:gd name="T80" fmla="*/ 0 w 2006"/>
                <a:gd name="T81" fmla="*/ 0 h 863"/>
                <a:gd name="T82" fmla="*/ 0 w 2006"/>
                <a:gd name="T83" fmla="*/ 0 h 863"/>
                <a:gd name="T84" fmla="*/ 0 w 2006"/>
                <a:gd name="T85" fmla="*/ 0 h 863"/>
                <a:gd name="T86" fmla="*/ 0 w 2006"/>
                <a:gd name="T87" fmla="*/ 0 h 863"/>
                <a:gd name="T88" fmla="*/ 0 w 2006"/>
                <a:gd name="T89" fmla="*/ 0 h 863"/>
                <a:gd name="T90" fmla="*/ 0 w 2006"/>
                <a:gd name="T91" fmla="*/ 0 h 863"/>
                <a:gd name="T92" fmla="*/ 0 w 2006"/>
                <a:gd name="T93" fmla="*/ 0 h 863"/>
                <a:gd name="T94" fmla="*/ 0 w 2006"/>
                <a:gd name="T95" fmla="*/ 0 h 863"/>
                <a:gd name="T96" fmla="*/ 0 w 2006"/>
                <a:gd name="T97" fmla="*/ 0 h 863"/>
                <a:gd name="T98" fmla="*/ 0 w 2006"/>
                <a:gd name="T99" fmla="*/ 0 h 863"/>
                <a:gd name="T100" fmla="*/ 0 w 2006"/>
                <a:gd name="T101" fmla="*/ 0 h 863"/>
                <a:gd name="T102" fmla="*/ 0 w 2006"/>
                <a:gd name="T103" fmla="*/ 0 h 863"/>
                <a:gd name="T104" fmla="*/ 0 w 2006"/>
                <a:gd name="T105" fmla="*/ 0 h 863"/>
                <a:gd name="T106" fmla="*/ 0 w 2006"/>
                <a:gd name="T107" fmla="*/ 0 h 863"/>
                <a:gd name="T108" fmla="*/ 0 w 2006"/>
                <a:gd name="T109" fmla="*/ 0 h 863"/>
                <a:gd name="T110" fmla="*/ 0 w 2006"/>
                <a:gd name="T111" fmla="*/ 0 h 863"/>
                <a:gd name="T112" fmla="*/ 0 w 2006"/>
                <a:gd name="T113" fmla="*/ 0 h 863"/>
                <a:gd name="T114" fmla="*/ 0 w 2006"/>
                <a:gd name="T115" fmla="*/ 0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006"/>
                <a:gd name="T175" fmla="*/ 0 h 863"/>
                <a:gd name="T176" fmla="*/ 2006 w 2006"/>
                <a:gd name="T177" fmla="*/ 863 h 86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78" name="Freeform 597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3598" y="1404"/>
              <a:ext cx="279" cy="157"/>
            </a:xfrm>
            <a:custGeom>
              <a:avLst/>
              <a:gdLst>
                <a:gd name="T0" fmla="*/ 0 w 950"/>
                <a:gd name="T1" fmla="*/ 0 h 468"/>
                <a:gd name="T2" fmla="*/ 0 w 950"/>
                <a:gd name="T3" fmla="*/ 0 h 468"/>
                <a:gd name="T4" fmla="*/ 0 w 950"/>
                <a:gd name="T5" fmla="*/ 0 h 468"/>
                <a:gd name="T6" fmla="*/ 0 w 950"/>
                <a:gd name="T7" fmla="*/ 0 h 468"/>
                <a:gd name="T8" fmla="*/ 0 w 950"/>
                <a:gd name="T9" fmla="*/ 0 h 468"/>
                <a:gd name="T10" fmla="*/ 0 w 950"/>
                <a:gd name="T11" fmla="*/ 0 h 468"/>
                <a:gd name="T12" fmla="*/ 0 w 950"/>
                <a:gd name="T13" fmla="*/ 0 h 468"/>
                <a:gd name="T14" fmla="*/ 0 w 950"/>
                <a:gd name="T15" fmla="*/ 0 h 468"/>
                <a:gd name="T16" fmla="*/ 0 w 950"/>
                <a:gd name="T17" fmla="*/ 0 h 468"/>
                <a:gd name="T18" fmla="*/ 0 w 950"/>
                <a:gd name="T19" fmla="*/ 0 h 468"/>
                <a:gd name="T20" fmla="*/ 0 w 950"/>
                <a:gd name="T21" fmla="*/ 0 h 468"/>
                <a:gd name="T22" fmla="*/ 0 w 950"/>
                <a:gd name="T23" fmla="*/ 0 h 468"/>
                <a:gd name="T24" fmla="*/ 0 w 950"/>
                <a:gd name="T25" fmla="*/ 0 h 468"/>
                <a:gd name="T26" fmla="*/ 0 w 950"/>
                <a:gd name="T27" fmla="*/ 0 h 468"/>
                <a:gd name="T28" fmla="*/ 0 w 950"/>
                <a:gd name="T29" fmla="*/ 0 h 468"/>
                <a:gd name="T30" fmla="*/ 0 w 950"/>
                <a:gd name="T31" fmla="*/ 0 h 468"/>
                <a:gd name="T32" fmla="*/ 0 w 950"/>
                <a:gd name="T33" fmla="*/ 0 h 468"/>
                <a:gd name="T34" fmla="*/ 0 w 950"/>
                <a:gd name="T35" fmla="*/ 0 h 468"/>
                <a:gd name="T36" fmla="*/ 0 w 950"/>
                <a:gd name="T37" fmla="*/ 0 h 468"/>
                <a:gd name="T38" fmla="*/ 0 w 950"/>
                <a:gd name="T39" fmla="*/ 0 h 468"/>
                <a:gd name="T40" fmla="*/ 0 w 950"/>
                <a:gd name="T41" fmla="*/ 0 h 468"/>
                <a:gd name="T42" fmla="*/ 0 w 950"/>
                <a:gd name="T43" fmla="*/ 0 h 468"/>
                <a:gd name="T44" fmla="*/ 0 w 950"/>
                <a:gd name="T45" fmla="*/ 0 h 468"/>
                <a:gd name="T46" fmla="*/ 0 w 950"/>
                <a:gd name="T47" fmla="*/ 0 h 468"/>
                <a:gd name="T48" fmla="*/ 0 w 950"/>
                <a:gd name="T49" fmla="*/ 0 h 468"/>
                <a:gd name="T50" fmla="*/ 0 w 950"/>
                <a:gd name="T51" fmla="*/ 0 h 468"/>
                <a:gd name="T52" fmla="*/ 0 w 950"/>
                <a:gd name="T53" fmla="*/ 0 h 468"/>
                <a:gd name="T54" fmla="*/ 0 w 950"/>
                <a:gd name="T55" fmla="*/ 0 h 468"/>
                <a:gd name="T56" fmla="*/ 0 w 950"/>
                <a:gd name="T57" fmla="*/ 0 h 468"/>
                <a:gd name="T58" fmla="*/ 0 w 950"/>
                <a:gd name="T59" fmla="*/ 0 h 468"/>
                <a:gd name="T60" fmla="*/ 0 w 950"/>
                <a:gd name="T61" fmla="*/ 0 h 468"/>
                <a:gd name="T62" fmla="*/ 0 w 950"/>
                <a:gd name="T63" fmla="*/ 0 h 468"/>
                <a:gd name="T64" fmla="*/ 0 w 950"/>
                <a:gd name="T65" fmla="*/ 0 h 468"/>
                <a:gd name="T66" fmla="*/ 0 w 950"/>
                <a:gd name="T67" fmla="*/ 0 h 468"/>
                <a:gd name="T68" fmla="*/ 0 w 950"/>
                <a:gd name="T69" fmla="*/ 0 h 468"/>
                <a:gd name="T70" fmla="*/ 0 w 950"/>
                <a:gd name="T71" fmla="*/ 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50"/>
                <a:gd name="T109" fmla="*/ 0 h 468"/>
                <a:gd name="T110" fmla="*/ 950 w 950"/>
                <a:gd name="T111" fmla="*/ 468 h 46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79" name="Freeform 598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2784" y="2036"/>
              <a:ext cx="203" cy="182"/>
            </a:xfrm>
            <a:custGeom>
              <a:avLst/>
              <a:gdLst>
                <a:gd name="T0" fmla="*/ 0 w 671"/>
                <a:gd name="T1" fmla="*/ 0 h 549"/>
                <a:gd name="T2" fmla="*/ 0 w 671"/>
                <a:gd name="T3" fmla="*/ 0 h 549"/>
                <a:gd name="T4" fmla="*/ 0 w 671"/>
                <a:gd name="T5" fmla="*/ 0 h 549"/>
                <a:gd name="T6" fmla="*/ 0 w 671"/>
                <a:gd name="T7" fmla="*/ 0 h 549"/>
                <a:gd name="T8" fmla="*/ 0 w 671"/>
                <a:gd name="T9" fmla="*/ 0 h 549"/>
                <a:gd name="T10" fmla="*/ 0 w 671"/>
                <a:gd name="T11" fmla="*/ 0 h 549"/>
                <a:gd name="T12" fmla="*/ 0 w 671"/>
                <a:gd name="T13" fmla="*/ 0 h 549"/>
                <a:gd name="T14" fmla="*/ 0 w 671"/>
                <a:gd name="T15" fmla="*/ 0 h 549"/>
                <a:gd name="T16" fmla="*/ 0 w 671"/>
                <a:gd name="T17" fmla="*/ 0 h 549"/>
                <a:gd name="T18" fmla="*/ 0 w 671"/>
                <a:gd name="T19" fmla="*/ 0 h 549"/>
                <a:gd name="T20" fmla="*/ 0 w 671"/>
                <a:gd name="T21" fmla="*/ 0 h 549"/>
                <a:gd name="T22" fmla="*/ 0 w 671"/>
                <a:gd name="T23" fmla="*/ 0 h 549"/>
                <a:gd name="T24" fmla="*/ 0 w 671"/>
                <a:gd name="T25" fmla="*/ 0 h 549"/>
                <a:gd name="T26" fmla="*/ 0 w 671"/>
                <a:gd name="T27" fmla="*/ 0 h 549"/>
                <a:gd name="T28" fmla="*/ 0 w 671"/>
                <a:gd name="T29" fmla="*/ 0 h 549"/>
                <a:gd name="T30" fmla="*/ 0 w 671"/>
                <a:gd name="T31" fmla="*/ 0 h 549"/>
                <a:gd name="T32" fmla="*/ 0 w 671"/>
                <a:gd name="T33" fmla="*/ 0 h 549"/>
                <a:gd name="T34" fmla="*/ 0 w 671"/>
                <a:gd name="T35" fmla="*/ 0 h 549"/>
                <a:gd name="T36" fmla="*/ 0 w 671"/>
                <a:gd name="T37" fmla="*/ 0 h 549"/>
                <a:gd name="T38" fmla="*/ 0 w 671"/>
                <a:gd name="T39" fmla="*/ 0 h 549"/>
                <a:gd name="T40" fmla="*/ 0 w 671"/>
                <a:gd name="T41" fmla="*/ 0 h 549"/>
                <a:gd name="T42" fmla="*/ 0 w 671"/>
                <a:gd name="T43" fmla="*/ 0 h 549"/>
                <a:gd name="T44" fmla="*/ 0 w 671"/>
                <a:gd name="T45" fmla="*/ 0 h 549"/>
                <a:gd name="T46" fmla="*/ 0 w 671"/>
                <a:gd name="T47" fmla="*/ 0 h 549"/>
                <a:gd name="T48" fmla="*/ 0 w 671"/>
                <a:gd name="T49" fmla="*/ 0 h 549"/>
                <a:gd name="T50" fmla="*/ 0 w 671"/>
                <a:gd name="T51" fmla="*/ 0 h 549"/>
                <a:gd name="T52" fmla="*/ 0 w 671"/>
                <a:gd name="T53" fmla="*/ 0 h 549"/>
                <a:gd name="T54" fmla="*/ 0 w 671"/>
                <a:gd name="T55" fmla="*/ 0 h 549"/>
                <a:gd name="T56" fmla="*/ 0 w 671"/>
                <a:gd name="T57" fmla="*/ 0 h 549"/>
                <a:gd name="T58" fmla="*/ 0 w 671"/>
                <a:gd name="T59" fmla="*/ 0 h 549"/>
                <a:gd name="T60" fmla="*/ 0 w 671"/>
                <a:gd name="T61" fmla="*/ 0 h 549"/>
                <a:gd name="T62" fmla="*/ 0 w 671"/>
                <a:gd name="T63" fmla="*/ 0 h 549"/>
                <a:gd name="T64" fmla="*/ 0 w 671"/>
                <a:gd name="T65" fmla="*/ 0 h 549"/>
                <a:gd name="T66" fmla="*/ 0 w 671"/>
                <a:gd name="T67" fmla="*/ 0 h 549"/>
                <a:gd name="T68" fmla="*/ 0 w 671"/>
                <a:gd name="T69" fmla="*/ 0 h 549"/>
                <a:gd name="T70" fmla="*/ 0 w 671"/>
                <a:gd name="T71" fmla="*/ 0 h 549"/>
                <a:gd name="T72" fmla="*/ 0 w 671"/>
                <a:gd name="T73" fmla="*/ 0 h 549"/>
                <a:gd name="T74" fmla="*/ 0 w 671"/>
                <a:gd name="T75" fmla="*/ 0 h 549"/>
                <a:gd name="T76" fmla="*/ 0 w 671"/>
                <a:gd name="T77" fmla="*/ 0 h 549"/>
                <a:gd name="T78" fmla="*/ 0 w 671"/>
                <a:gd name="T79" fmla="*/ 0 h 549"/>
                <a:gd name="T80" fmla="*/ 0 w 671"/>
                <a:gd name="T81" fmla="*/ 0 h 549"/>
                <a:gd name="T82" fmla="*/ 0 w 671"/>
                <a:gd name="T83" fmla="*/ 0 h 549"/>
                <a:gd name="T84" fmla="*/ 0 w 671"/>
                <a:gd name="T85" fmla="*/ 0 h 549"/>
                <a:gd name="T86" fmla="*/ 0 w 671"/>
                <a:gd name="T87" fmla="*/ 0 h 549"/>
                <a:gd name="T88" fmla="*/ 0 w 671"/>
                <a:gd name="T89" fmla="*/ 0 h 549"/>
                <a:gd name="T90" fmla="*/ 0 w 671"/>
                <a:gd name="T91" fmla="*/ 0 h 549"/>
                <a:gd name="T92" fmla="*/ 0 w 671"/>
                <a:gd name="T93" fmla="*/ 0 h 549"/>
                <a:gd name="T94" fmla="*/ 0 w 671"/>
                <a:gd name="T95" fmla="*/ 0 h 549"/>
                <a:gd name="T96" fmla="*/ 0 w 671"/>
                <a:gd name="T97" fmla="*/ 0 h 549"/>
                <a:gd name="T98" fmla="*/ 0 w 671"/>
                <a:gd name="T99" fmla="*/ 0 h 549"/>
                <a:gd name="T100" fmla="*/ 0 w 671"/>
                <a:gd name="T101" fmla="*/ 0 h 549"/>
                <a:gd name="T102" fmla="*/ 0 w 671"/>
                <a:gd name="T103" fmla="*/ 0 h 549"/>
                <a:gd name="T104" fmla="*/ 0 w 671"/>
                <a:gd name="T105" fmla="*/ 0 h 549"/>
                <a:gd name="T106" fmla="*/ 0 w 671"/>
                <a:gd name="T107" fmla="*/ 0 h 549"/>
                <a:gd name="T108" fmla="*/ 0 w 671"/>
                <a:gd name="T109" fmla="*/ 0 h 549"/>
                <a:gd name="T110" fmla="*/ 0 w 671"/>
                <a:gd name="T111" fmla="*/ 0 h 549"/>
                <a:gd name="T112" fmla="*/ 0 w 671"/>
                <a:gd name="T113" fmla="*/ 0 h 549"/>
                <a:gd name="T114" fmla="*/ 0 w 671"/>
                <a:gd name="T115" fmla="*/ 0 h 549"/>
                <a:gd name="T116" fmla="*/ 0 w 671"/>
                <a:gd name="T117" fmla="*/ 0 h 549"/>
                <a:gd name="T118" fmla="*/ 0 w 671"/>
                <a:gd name="T119" fmla="*/ 0 h 549"/>
                <a:gd name="T120" fmla="*/ 0 w 671"/>
                <a:gd name="T121" fmla="*/ 0 h 549"/>
                <a:gd name="T122" fmla="*/ 0 w 671"/>
                <a:gd name="T123" fmla="*/ 0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1"/>
                <a:gd name="T187" fmla="*/ 0 h 549"/>
                <a:gd name="T188" fmla="*/ 671 w 671"/>
                <a:gd name="T189" fmla="*/ 549 h 54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80" name="Freeform 599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3359" y="1951"/>
              <a:ext cx="104" cy="107"/>
            </a:xfrm>
            <a:custGeom>
              <a:avLst/>
              <a:gdLst>
                <a:gd name="T0" fmla="*/ 0 w 358"/>
                <a:gd name="T1" fmla="*/ 0 h 327"/>
                <a:gd name="T2" fmla="*/ 0 w 358"/>
                <a:gd name="T3" fmla="*/ 0 h 327"/>
                <a:gd name="T4" fmla="*/ 0 w 358"/>
                <a:gd name="T5" fmla="*/ 0 h 327"/>
                <a:gd name="T6" fmla="*/ 0 w 358"/>
                <a:gd name="T7" fmla="*/ 0 h 327"/>
                <a:gd name="T8" fmla="*/ 0 w 358"/>
                <a:gd name="T9" fmla="*/ 0 h 327"/>
                <a:gd name="T10" fmla="*/ 0 w 358"/>
                <a:gd name="T11" fmla="*/ 0 h 327"/>
                <a:gd name="T12" fmla="*/ 0 w 358"/>
                <a:gd name="T13" fmla="*/ 0 h 327"/>
                <a:gd name="T14" fmla="*/ 0 w 358"/>
                <a:gd name="T15" fmla="*/ 0 h 327"/>
                <a:gd name="T16" fmla="*/ 0 w 358"/>
                <a:gd name="T17" fmla="*/ 0 h 327"/>
                <a:gd name="T18" fmla="*/ 0 w 358"/>
                <a:gd name="T19" fmla="*/ 0 h 327"/>
                <a:gd name="T20" fmla="*/ 0 w 358"/>
                <a:gd name="T21" fmla="*/ 0 h 327"/>
                <a:gd name="T22" fmla="*/ 0 w 358"/>
                <a:gd name="T23" fmla="*/ 0 h 327"/>
                <a:gd name="T24" fmla="*/ 0 w 358"/>
                <a:gd name="T25" fmla="*/ 0 h 327"/>
                <a:gd name="T26" fmla="*/ 0 w 358"/>
                <a:gd name="T27" fmla="*/ 0 h 327"/>
                <a:gd name="T28" fmla="*/ 0 w 358"/>
                <a:gd name="T29" fmla="*/ 0 h 327"/>
                <a:gd name="T30" fmla="*/ 0 w 358"/>
                <a:gd name="T31" fmla="*/ 0 h 327"/>
                <a:gd name="T32" fmla="*/ 0 w 358"/>
                <a:gd name="T33" fmla="*/ 0 h 327"/>
                <a:gd name="T34" fmla="*/ 0 w 358"/>
                <a:gd name="T35" fmla="*/ 0 h 327"/>
                <a:gd name="T36" fmla="*/ 0 w 358"/>
                <a:gd name="T37" fmla="*/ 0 h 327"/>
                <a:gd name="T38" fmla="*/ 0 w 358"/>
                <a:gd name="T39" fmla="*/ 0 h 327"/>
                <a:gd name="T40" fmla="*/ 0 w 358"/>
                <a:gd name="T41" fmla="*/ 0 h 327"/>
                <a:gd name="T42" fmla="*/ 0 w 358"/>
                <a:gd name="T43" fmla="*/ 0 h 327"/>
                <a:gd name="T44" fmla="*/ 0 w 358"/>
                <a:gd name="T45" fmla="*/ 0 h 327"/>
                <a:gd name="T46" fmla="*/ 0 w 358"/>
                <a:gd name="T47" fmla="*/ 0 h 327"/>
                <a:gd name="T48" fmla="*/ 0 w 358"/>
                <a:gd name="T49" fmla="*/ 0 h 327"/>
                <a:gd name="T50" fmla="*/ 0 w 358"/>
                <a:gd name="T51" fmla="*/ 0 h 327"/>
                <a:gd name="T52" fmla="*/ 0 w 358"/>
                <a:gd name="T53" fmla="*/ 0 h 327"/>
                <a:gd name="T54" fmla="*/ 0 w 358"/>
                <a:gd name="T55" fmla="*/ 0 h 327"/>
                <a:gd name="T56" fmla="*/ 0 w 358"/>
                <a:gd name="T57" fmla="*/ 0 h 327"/>
                <a:gd name="T58" fmla="*/ 0 w 358"/>
                <a:gd name="T59" fmla="*/ 0 h 327"/>
                <a:gd name="T60" fmla="*/ 0 w 358"/>
                <a:gd name="T61" fmla="*/ 0 h 327"/>
                <a:gd name="T62" fmla="*/ 0 w 358"/>
                <a:gd name="T63" fmla="*/ 0 h 327"/>
                <a:gd name="T64" fmla="*/ 0 w 358"/>
                <a:gd name="T65" fmla="*/ 0 h 327"/>
                <a:gd name="T66" fmla="*/ 0 w 358"/>
                <a:gd name="T67" fmla="*/ 0 h 327"/>
                <a:gd name="T68" fmla="*/ 0 w 358"/>
                <a:gd name="T69" fmla="*/ 0 h 327"/>
                <a:gd name="T70" fmla="*/ 0 w 358"/>
                <a:gd name="T71" fmla="*/ 0 h 327"/>
                <a:gd name="T72" fmla="*/ 0 w 358"/>
                <a:gd name="T73" fmla="*/ 0 h 327"/>
                <a:gd name="T74" fmla="*/ 0 w 358"/>
                <a:gd name="T75" fmla="*/ 0 h 327"/>
                <a:gd name="T76" fmla="*/ 0 w 358"/>
                <a:gd name="T77" fmla="*/ 0 h 327"/>
                <a:gd name="T78" fmla="*/ 0 w 358"/>
                <a:gd name="T79" fmla="*/ 0 h 327"/>
                <a:gd name="T80" fmla="*/ 0 w 358"/>
                <a:gd name="T81" fmla="*/ 0 h 327"/>
                <a:gd name="T82" fmla="*/ 0 w 358"/>
                <a:gd name="T83" fmla="*/ 0 h 327"/>
                <a:gd name="T84" fmla="*/ 0 w 358"/>
                <a:gd name="T85" fmla="*/ 0 h 327"/>
                <a:gd name="T86" fmla="*/ 0 w 358"/>
                <a:gd name="T87" fmla="*/ 0 h 327"/>
                <a:gd name="T88" fmla="*/ 0 w 358"/>
                <a:gd name="T89" fmla="*/ 0 h 327"/>
                <a:gd name="T90" fmla="*/ 0 w 358"/>
                <a:gd name="T91" fmla="*/ 0 h 327"/>
                <a:gd name="T92" fmla="*/ 0 w 358"/>
                <a:gd name="T93" fmla="*/ 0 h 327"/>
                <a:gd name="T94" fmla="*/ 0 w 358"/>
                <a:gd name="T95" fmla="*/ 0 h 327"/>
                <a:gd name="T96" fmla="*/ 0 w 358"/>
                <a:gd name="T97" fmla="*/ 0 h 327"/>
                <a:gd name="T98" fmla="*/ 0 w 358"/>
                <a:gd name="T99" fmla="*/ 0 h 327"/>
                <a:gd name="T100" fmla="*/ 0 w 358"/>
                <a:gd name="T101" fmla="*/ 0 h 327"/>
                <a:gd name="T102" fmla="*/ 0 w 358"/>
                <a:gd name="T103" fmla="*/ 0 h 327"/>
                <a:gd name="T104" fmla="*/ 0 w 358"/>
                <a:gd name="T105" fmla="*/ 0 h 327"/>
                <a:gd name="T106" fmla="*/ 0 w 358"/>
                <a:gd name="T107" fmla="*/ 0 h 327"/>
                <a:gd name="T108" fmla="*/ 0 w 358"/>
                <a:gd name="T109" fmla="*/ 0 h 327"/>
                <a:gd name="T110" fmla="*/ 0 w 358"/>
                <a:gd name="T111" fmla="*/ 0 h 327"/>
                <a:gd name="T112" fmla="*/ 0 w 358"/>
                <a:gd name="T113" fmla="*/ 0 h 327"/>
                <a:gd name="T114" fmla="*/ 0 w 358"/>
                <a:gd name="T115" fmla="*/ 0 h 327"/>
                <a:gd name="T116" fmla="*/ 0 w 358"/>
                <a:gd name="T117" fmla="*/ 0 h 327"/>
                <a:gd name="T118" fmla="*/ 0 w 358"/>
                <a:gd name="T119" fmla="*/ 0 h 327"/>
                <a:gd name="T120" fmla="*/ 0 w 358"/>
                <a:gd name="T121" fmla="*/ 0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58"/>
                <a:gd name="T184" fmla="*/ 0 h 327"/>
                <a:gd name="T185" fmla="*/ 358 w 358"/>
                <a:gd name="T186" fmla="*/ 327 h 3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81" name="Freeform 600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2992" y="1324"/>
              <a:ext cx="86" cy="36"/>
            </a:xfrm>
            <a:custGeom>
              <a:avLst/>
              <a:gdLst>
                <a:gd name="T0" fmla="*/ 0 w 292"/>
                <a:gd name="T1" fmla="*/ 0 h 99"/>
                <a:gd name="T2" fmla="*/ 0 w 292"/>
                <a:gd name="T3" fmla="*/ 0 h 99"/>
                <a:gd name="T4" fmla="*/ 0 w 292"/>
                <a:gd name="T5" fmla="*/ 0 h 99"/>
                <a:gd name="T6" fmla="*/ 0 w 292"/>
                <a:gd name="T7" fmla="*/ 0 h 99"/>
                <a:gd name="T8" fmla="*/ 0 w 292"/>
                <a:gd name="T9" fmla="*/ 0 h 99"/>
                <a:gd name="T10" fmla="*/ 0 w 292"/>
                <a:gd name="T11" fmla="*/ 0 h 99"/>
                <a:gd name="T12" fmla="*/ 0 w 292"/>
                <a:gd name="T13" fmla="*/ 0 h 99"/>
                <a:gd name="T14" fmla="*/ 0 w 292"/>
                <a:gd name="T15" fmla="*/ 0 h 99"/>
                <a:gd name="T16" fmla="*/ 0 w 292"/>
                <a:gd name="T17" fmla="*/ 0 h 99"/>
                <a:gd name="T18" fmla="*/ 0 w 292"/>
                <a:gd name="T19" fmla="*/ 0 h 99"/>
                <a:gd name="T20" fmla="*/ 0 w 292"/>
                <a:gd name="T21" fmla="*/ 0 h 99"/>
                <a:gd name="T22" fmla="*/ 0 w 292"/>
                <a:gd name="T23" fmla="*/ 0 h 99"/>
                <a:gd name="T24" fmla="*/ 0 w 292"/>
                <a:gd name="T25" fmla="*/ 0 h 99"/>
                <a:gd name="T26" fmla="*/ 0 w 292"/>
                <a:gd name="T27" fmla="*/ 0 h 99"/>
                <a:gd name="T28" fmla="*/ 0 w 292"/>
                <a:gd name="T29" fmla="*/ 0 h 99"/>
                <a:gd name="T30" fmla="*/ 0 w 292"/>
                <a:gd name="T31" fmla="*/ 0 h 99"/>
                <a:gd name="T32" fmla="*/ 0 w 292"/>
                <a:gd name="T33" fmla="*/ 0 h 99"/>
                <a:gd name="T34" fmla="*/ 0 w 292"/>
                <a:gd name="T35" fmla="*/ 0 h 99"/>
                <a:gd name="T36" fmla="*/ 0 w 292"/>
                <a:gd name="T37" fmla="*/ 0 h 99"/>
                <a:gd name="T38" fmla="*/ 0 w 292"/>
                <a:gd name="T39" fmla="*/ 0 h 99"/>
                <a:gd name="T40" fmla="*/ 0 w 292"/>
                <a:gd name="T41" fmla="*/ 0 h 99"/>
                <a:gd name="T42" fmla="*/ 0 w 292"/>
                <a:gd name="T43" fmla="*/ 0 h 99"/>
                <a:gd name="T44" fmla="*/ 0 w 292"/>
                <a:gd name="T45" fmla="*/ 0 h 99"/>
                <a:gd name="T46" fmla="*/ 0 w 292"/>
                <a:gd name="T47" fmla="*/ 0 h 99"/>
                <a:gd name="T48" fmla="*/ 0 w 292"/>
                <a:gd name="T49" fmla="*/ 0 h 99"/>
                <a:gd name="T50" fmla="*/ 0 w 292"/>
                <a:gd name="T51" fmla="*/ 0 h 99"/>
                <a:gd name="T52" fmla="*/ 0 w 292"/>
                <a:gd name="T53" fmla="*/ 0 h 99"/>
                <a:gd name="T54" fmla="*/ 0 w 292"/>
                <a:gd name="T55" fmla="*/ 0 h 99"/>
                <a:gd name="T56" fmla="*/ 0 w 292"/>
                <a:gd name="T57" fmla="*/ 0 h 99"/>
                <a:gd name="T58" fmla="*/ 0 w 292"/>
                <a:gd name="T59" fmla="*/ 0 h 99"/>
                <a:gd name="T60" fmla="*/ 0 w 292"/>
                <a:gd name="T61" fmla="*/ 0 h 99"/>
                <a:gd name="T62" fmla="*/ 0 w 292"/>
                <a:gd name="T63" fmla="*/ 0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92"/>
                <a:gd name="T97" fmla="*/ 0 h 99"/>
                <a:gd name="T98" fmla="*/ 292 w 292"/>
                <a:gd name="T99" fmla="*/ 99 h 9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82" name="Freeform 601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3582" y="1778"/>
              <a:ext cx="13" cy="36"/>
            </a:xfrm>
            <a:custGeom>
              <a:avLst/>
              <a:gdLst>
                <a:gd name="T0" fmla="*/ 0 w 43"/>
                <a:gd name="T1" fmla="*/ 0 h 93"/>
                <a:gd name="T2" fmla="*/ 0 w 43"/>
                <a:gd name="T3" fmla="*/ 0 h 93"/>
                <a:gd name="T4" fmla="*/ 0 w 43"/>
                <a:gd name="T5" fmla="*/ 0 h 93"/>
                <a:gd name="T6" fmla="*/ 0 w 43"/>
                <a:gd name="T7" fmla="*/ 0 h 93"/>
                <a:gd name="T8" fmla="*/ 0 w 43"/>
                <a:gd name="T9" fmla="*/ 0 h 93"/>
                <a:gd name="T10" fmla="*/ 0 w 43"/>
                <a:gd name="T11" fmla="*/ 0 h 93"/>
                <a:gd name="T12" fmla="*/ 0 w 43"/>
                <a:gd name="T13" fmla="*/ 0 h 93"/>
                <a:gd name="T14" fmla="*/ 0 w 43"/>
                <a:gd name="T15" fmla="*/ 0 h 93"/>
                <a:gd name="T16" fmla="*/ 0 w 43"/>
                <a:gd name="T17" fmla="*/ 0 h 93"/>
                <a:gd name="T18" fmla="*/ 0 w 43"/>
                <a:gd name="T19" fmla="*/ 0 h 93"/>
                <a:gd name="T20" fmla="*/ 0 w 43"/>
                <a:gd name="T21" fmla="*/ 0 h 93"/>
                <a:gd name="T22" fmla="*/ 0 w 43"/>
                <a:gd name="T23" fmla="*/ 0 h 93"/>
                <a:gd name="T24" fmla="*/ 0 w 43"/>
                <a:gd name="T25" fmla="*/ 0 h 93"/>
                <a:gd name="T26" fmla="*/ 0 w 43"/>
                <a:gd name="T27" fmla="*/ 0 h 93"/>
                <a:gd name="T28" fmla="*/ 0 w 43"/>
                <a:gd name="T29" fmla="*/ 0 h 93"/>
                <a:gd name="T30" fmla="*/ 0 w 43"/>
                <a:gd name="T31" fmla="*/ 0 h 93"/>
                <a:gd name="T32" fmla="*/ 0 w 43"/>
                <a:gd name="T33" fmla="*/ 0 h 93"/>
                <a:gd name="T34" fmla="*/ 0 w 43"/>
                <a:gd name="T35" fmla="*/ 0 h 93"/>
                <a:gd name="T36" fmla="*/ 0 w 43"/>
                <a:gd name="T37" fmla="*/ 0 h 93"/>
                <a:gd name="T38" fmla="*/ 0 w 43"/>
                <a:gd name="T39" fmla="*/ 0 h 93"/>
                <a:gd name="T40" fmla="*/ 0 w 43"/>
                <a:gd name="T41" fmla="*/ 0 h 93"/>
                <a:gd name="T42" fmla="*/ 0 w 43"/>
                <a:gd name="T43" fmla="*/ 0 h 93"/>
                <a:gd name="T44" fmla="*/ 0 w 43"/>
                <a:gd name="T45" fmla="*/ 0 h 93"/>
                <a:gd name="T46" fmla="*/ 0 w 43"/>
                <a:gd name="T47" fmla="*/ 0 h 93"/>
                <a:gd name="T48" fmla="*/ 0 w 43"/>
                <a:gd name="T49" fmla="*/ 0 h 93"/>
                <a:gd name="T50" fmla="*/ 0 w 43"/>
                <a:gd name="T51" fmla="*/ 0 h 93"/>
                <a:gd name="T52" fmla="*/ 0 w 43"/>
                <a:gd name="T53" fmla="*/ 0 h 93"/>
                <a:gd name="T54" fmla="*/ 0 w 43"/>
                <a:gd name="T55" fmla="*/ 0 h 93"/>
                <a:gd name="T56" fmla="*/ 0 w 43"/>
                <a:gd name="T57" fmla="*/ 0 h 93"/>
                <a:gd name="T58" fmla="*/ 0 w 43"/>
                <a:gd name="T59" fmla="*/ 0 h 93"/>
                <a:gd name="T60" fmla="*/ 0 w 43"/>
                <a:gd name="T61" fmla="*/ 0 h 93"/>
                <a:gd name="T62" fmla="*/ 0 w 43"/>
                <a:gd name="T63" fmla="*/ 0 h 93"/>
                <a:gd name="T64" fmla="*/ 0 w 43"/>
                <a:gd name="T65" fmla="*/ 0 h 93"/>
                <a:gd name="T66" fmla="*/ 0 w 43"/>
                <a:gd name="T67" fmla="*/ 0 h 93"/>
                <a:gd name="T68" fmla="*/ 0 w 43"/>
                <a:gd name="T69" fmla="*/ 0 h 93"/>
                <a:gd name="T70" fmla="*/ 0 w 43"/>
                <a:gd name="T71" fmla="*/ 0 h 93"/>
                <a:gd name="T72" fmla="*/ 0 w 43"/>
                <a:gd name="T73" fmla="*/ 0 h 93"/>
                <a:gd name="T74" fmla="*/ 0 w 43"/>
                <a:gd name="T75" fmla="*/ 0 h 93"/>
                <a:gd name="T76" fmla="*/ 0 w 43"/>
                <a:gd name="T77" fmla="*/ 0 h 93"/>
                <a:gd name="T78" fmla="*/ 0 w 43"/>
                <a:gd name="T79" fmla="*/ 0 h 93"/>
                <a:gd name="T80" fmla="*/ 0 w 43"/>
                <a:gd name="T81" fmla="*/ 0 h 93"/>
                <a:gd name="T82" fmla="*/ 0 w 43"/>
                <a:gd name="T83" fmla="*/ 0 h 93"/>
                <a:gd name="T84" fmla="*/ 0 w 43"/>
                <a:gd name="T85" fmla="*/ 0 h 93"/>
                <a:gd name="T86" fmla="*/ 0 w 43"/>
                <a:gd name="T87" fmla="*/ 0 h 93"/>
                <a:gd name="T88" fmla="*/ 0 w 43"/>
                <a:gd name="T89" fmla="*/ 0 h 93"/>
                <a:gd name="T90" fmla="*/ 0 w 43"/>
                <a:gd name="T91" fmla="*/ 0 h 93"/>
                <a:gd name="T92" fmla="*/ 0 w 43"/>
                <a:gd name="T93" fmla="*/ 0 h 93"/>
                <a:gd name="T94" fmla="*/ 0 w 43"/>
                <a:gd name="T95" fmla="*/ 0 h 93"/>
                <a:gd name="T96" fmla="*/ 0 w 43"/>
                <a:gd name="T97" fmla="*/ 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3"/>
                <a:gd name="T148" fmla="*/ 0 h 93"/>
                <a:gd name="T149" fmla="*/ 43 w 43"/>
                <a:gd name="T150" fmla="*/ 93 h 9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83" name="Freeform 602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3663" y="1781"/>
              <a:ext cx="10" cy="36"/>
            </a:xfrm>
            <a:custGeom>
              <a:avLst/>
              <a:gdLst>
                <a:gd name="T0" fmla="*/ 0 w 40"/>
                <a:gd name="T1" fmla="*/ 1 h 56"/>
                <a:gd name="T2" fmla="*/ 0 w 40"/>
                <a:gd name="T3" fmla="*/ 1 h 56"/>
                <a:gd name="T4" fmla="*/ 0 w 40"/>
                <a:gd name="T5" fmla="*/ 1 h 56"/>
                <a:gd name="T6" fmla="*/ 0 w 40"/>
                <a:gd name="T7" fmla="*/ 1 h 56"/>
                <a:gd name="T8" fmla="*/ 0 w 40"/>
                <a:gd name="T9" fmla="*/ 1 h 56"/>
                <a:gd name="T10" fmla="*/ 0 w 40"/>
                <a:gd name="T11" fmla="*/ 1 h 56"/>
                <a:gd name="T12" fmla="*/ 0 w 40"/>
                <a:gd name="T13" fmla="*/ 1 h 56"/>
                <a:gd name="T14" fmla="*/ 0 w 40"/>
                <a:gd name="T15" fmla="*/ 1 h 56"/>
                <a:gd name="T16" fmla="*/ 0 w 40"/>
                <a:gd name="T17" fmla="*/ 0 h 56"/>
                <a:gd name="T18" fmla="*/ 0 w 40"/>
                <a:gd name="T19" fmla="*/ 1 h 56"/>
                <a:gd name="T20" fmla="*/ 0 w 40"/>
                <a:gd name="T21" fmla="*/ 1 h 56"/>
                <a:gd name="T22" fmla="*/ 0 w 40"/>
                <a:gd name="T23" fmla="*/ 1 h 56"/>
                <a:gd name="T24" fmla="*/ 0 w 40"/>
                <a:gd name="T25" fmla="*/ 1 h 56"/>
                <a:gd name="T26" fmla="*/ 0 w 40"/>
                <a:gd name="T27" fmla="*/ 1 h 56"/>
                <a:gd name="T28" fmla="*/ 0 w 40"/>
                <a:gd name="T29" fmla="*/ 1 h 56"/>
                <a:gd name="T30" fmla="*/ 0 w 40"/>
                <a:gd name="T31" fmla="*/ 1 h 56"/>
                <a:gd name="T32" fmla="*/ 0 w 40"/>
                <a:gd name="T33" fmla="*/ 1 h 56"/>
                <a:gd name="T34" fmla="*/ 0 w 40"/>
                <a:gd name="T35" fmla="*/ 1 h 56"/>
                <a:gd name="T36" fmla="*/ 0 w 40"/>
                <a:gd name="T37" fmla="*/ 1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56"/>
                <a:gd name="T59" fmla="*/ 40 w 40"/>
                <a:gd name="T60" fmla="*/ 56 h 5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84" name="Freeform 603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4678" y="2197"/>
              <a:ext cx="30" cy="36"/>
            </a:xfrm>
            <a:custGeom>
              <a:avLst/>
              <a:gdLst>
                <a:gd name="T0" fmla="*/ 0 w 106"/>
                <a:gd name="T1" fmla="*/ 1 h 71"/>
                <a:gd name="T2" fmla="*/ 0 w 106"/>
                <a:gd name="T3" fmla="*/ 1 h 71"/>
                <a:gd name="T4" fmla="*/ 0 w 106"/>
                <a:gd name="T5" fmla="*/ 1 h 71"/>
                <a:gd name="T6" fmla="*/ 0 w 106"/>
                <a:gd name="T7" fmla="*/ 1 h 71"/>
                <a:gd name="T8" fmla="*/ 0 w 106"/>
                <a:gd name="T9" fmla="*/ 1 h 71"/>
                <a:gd name="T10" fmla="*/ 0 w 106"/>
                <a:gd name="T11" fmla="*/ 1 h 71"/>
                <a:gd name="T12" fmla="*/ 0 w 106"/>
                <a:gd name="T13" fmla="*/ 1 h 71"/>
                <a:gd name="T14" fmla="*/ 0 w 106"/>
                <a:gd name="T15" fmla="*/ 1 h 71"/>
                <a:gd name="T16" fmla="*/ 0 w 106"/>
                <a:gd name="T17" fmla="*/ 0 h 71"/>
                <a:gd name="T18" fmla="*/ 0 w 106"/>
                <a:gd name="T19" fmla="*/ 1 h 71"/>
                <a:gd name="T20" fmla="*/ 0 w 106"/>
                <a:gd name="T21" fmla="*/ 1 h 71"/>
                <a:gd name="T22" fmla="*/ 0 w 106"/>
                <a:gd name="T23" fmla="*/ 1 h 71"/>
                <a:gd name="T24" fmla="*/ 0 w 106"/>
                <a:gd name="T25" fmla="*/ 1 h 71"/>
                <a:gd name="T26" fmla="*/ 0 w 106"/>
                <a:gd name="T27" fmla="*/ 1 h 71"/>
                <a:gd name="T28" fmla="*/ 0 w 106"/>
                <a:gd name="T29" fmla="*/ 1 h 71"/>
                <a:gd name="T30" fmla="*/ 0 w 106"/>
                <a:gd name="T31" fmla="*/ 1 h 71"/>
                <a:gd name="T32" fmla="*/ 0 w 106"/>
                <a:gd name="T33" fmla="*/ 1 h 71"/>
                <a:gd name="T34" fmla="*/ 0 w 106"/>
                <a:gd name="T35" fmla="*/ 1 h 71"/>
                <a:gd name="T36" fmla="*/ 0 w 106"/>
                <a:gd name="T37" fmla="*/ 1 h 71"/>
                <a:gd name="T38" fmla="*/ 0 w 106"/>
                <a:gd name="T39" fmla="*/ 1 h 71"/>
                <a:gd name="T40" fmla="*/ 0 w 106"/>
                <a:gd name="T41" fmla="*/ 1 h 71"/>
                <a:gd name="T42" fmla="*/ 0 w 106"/>
                <a:gd name="T43" fmla="*/ 1 h 71"/>
                <a:gd name="T44" fmla="*/ 0 w 106"/>
                <a:gd name="T45" fmla="*/ 1 h 71"/>
                <a:gd name="T46" fmla="*/ 0 w 106"/>
                <a:gd name="T47" fmla="*/ 1 h 71"/>
                <a:gd name="T48" fmla="*/ 0 w 106"/>
                <a:gd name="T49" fmla="*/ 1 h 71"/>
                <a:gd name="T50" fmla="*/ 0 w 106"/>
                <a:gd name="T51" fmla="*/ 1 h 71"/>
                <a:gd name="T52" fmla="*/ 0 w 106"/>
                <a:gd name="T53" fmla="*/ 1 h 71"/>
                <a:gd name="T54" fmla="*/ 0 w 106"/>
                <a:gd name="T55" fmla="*/ 1 h 71"/>
                <a:gd name="T56" fmla="*/ 0 w 106"/>
                <a:gd name="T57" fmla="*/ 1 h 71"/>
                <a:gd name="T58" fmla="*/ 0 w 106"/>
                <a:gd name="T59" fmla="*/ 1 h 71"/>
                <a:gd name="T60" fmla="*/ 0 w 106"/>
                <a:gd name="T61" fmla="*/ 1 h 71"/>
                <a:gd name="T62" fmla="*/ 0 w 106"/>
                <a:gd name="T63" fmla="*/ 1 h 71"/>
                <a:gd name="T64" fmla="*/ 0 w 106"/>
                <a:gd name="T65" fmla="*/ 1 h 71"/>
                <a:gd name="T66" fmla="*/ 0 w 106"/>
                <a:gd name="T67" fmla="*/ 1 h 71"/>
                <a:gd name="T68" fmla="*/ 0 w 106"/>
                <a:gd name="T69" fmla="*/ 1 h 71"/>
                <a:gd name="T70" fmla="*/ 0 w 106"/>
                <a:gd name="T71" fmla="*/ 1 h 71"/>
                <a:gd name="T72" fmla="*/ 0 w 106"/>
                <a:gd name="T73" fmla="*/ 1 h 71"/>
                <a:gd name="T74" fmla="*/ 0 w 106"/>
                <a:gd name="T75" fmla="*/ 1 h 71"/>
                <a:gd name="T76" fmla="*/ 0 w 106"/>
                <a:gd name="T77" fmla="*/ 1 h 71"/>
                <a:gd name="T78" fmla="*/ 0 w 106"/>
                <a:gd name="T79" fmla="*/ 1 h 71"/>
                <a:gd name="T80" fmla="*/ 0 w 106"/>
                <a:gd name="T81" fmla="*/ 1 h 71"/>
                <a:gd name="T82" fmla="*/ 0 w 106"/>
                <a:gd name="T83" fmla="*/ 1 h 71"/>
                <a:gd name="T84" fmla="*/ 0 w 106"/>
                <a:gd name="T85" fmla="*/ 1 h 71"/>
                <a:gd name="T86" fmla="*/ 0 w 106"/>
                <a:gd name="T87" fmla="*/ 1 h 71"/>
                <a:gd name="T88" fmla="*/ 0 w 106"/>
                <a:gd name="T89" fmla="*/ 1 h 71"/>
                <a:gd name="T90" fmla="*/ 0 w 106"/>
                <a:gd name="T91" fmla="*/ 1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6"/>
                <a:gd name="T139" fmla="*/ 0 h 71"/>
                <a:gd name="T140" fmla="*/ 106 w 106"/>
                <a:gd name="T141" fmla="*/ 71 h 7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grpSp>
          <p:nvGrpSpPr>
            <p:cNvPr id="4" name="Group 604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1847" y="3336"/>
              <a:ext cx="45" cy="35"/>
              <a:chOff x="1654" y="3671"/>
              <a:chExt cx="49" cy="17"/>
            </a:xfrm>
            <a:grpFill/>
          </p:grpSpPr>
          <p:sp>
            <p:nvSpPr>
              <p:cNvPr id="18996" name="Freeform 605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0 w 59"/>
                  <a:gd name="T1" fmla="*/ 0 h 43"/>
                  <a:gd name="T2" fmla="*/ 0 w 59"/>
                  <a:gd name="T3" fmla="*/ 0 h 43"/>
                  <a:gd name="T4" fmla="*/ 0 w 59"/>
                  <a:gd name="T5" fmla="*/ 0 h 43"/>
                  <a:gd name="T6" fmla="*/ 0 w 59"/>
                  <a:gd name="T7" fmla="*/ 0 h 43"/>
                  <a:gd name="T8" fmla="*/ 0 w 59"/>
                  <a:gd name="T9" fmla="*/ 0 h 43"/>
                  <a:gd name="T10" fmla="*/ 0 w 59"/>
                  <a:gd name="T11" fmla="*/ 0 h 43"/>
                  <a:gd name="T12" fmla="*/ 0 w 59"/>
                  <a:gd name="T13" fmla="*/ 0 h 43"/>
                  <a:gd name="T14" fmla="*/ 0 w 59"/>
                  <a:gd name="T15" fmla="*/ 0 h 43"/>
                  <a:gd name="T16" fmla="*/ 0 w 59"/>
                  <a:gd name="T17" fmla="*/ 0 h 43"/>
                  <a:gd name="T18" fmla="*/ 0 w 59"/>
                  <a:gd name="T19" fmla="*/ 0 h 43"/>
                  <a:gd name="T20" fmla="*/ 0 w 59"/>
                  <a:gd name="T21" fmla="*/ 0 h 43"/>
                  <a:gd name="T22" fmla="*/ 0 w 59"/>
                  <a:gd name="T23" fmla="*/ 0 h 43"/>
                  <a:gd name="T24" fmla="*/ 0 w 59"/>
                  <a:gd name="T25" fmla="*/ 0 h 43"/>
                  <a:gd name="T26" fmla="*/ 0 w 59"/>
                  <a:gd name="T27" fmla="*/ 0 h 43"/>
                  <a:gd name="T28" fmla="*/ 0 w 59"/>
                  <a:gd name="T29" fmla="*/ 0 h 43"/>
                  <a:gd name="T30" fmla="*/ 0 w 59"/>
                  <a:gd name="T31" fmla="*/ 0 h 43"/>
                  <a:gd name="T32" fmla="*/ 0 w 59"/>
                  <a:gd name="T33" fmla="*/ 0 h 43"/>
                  <a:gd name="T34" fmla="*/ 0 w 59"/>
                  <a:gd name="T35" fmla="*/ 0 h 43"/>
                  <a:gd name="T36" fmla="*/ 0 w 59"/>
                  <a:gd name="T37" fmla="*/ 0 h 43"/>
                  <a:gd name="T38" fmla="*/ 0 w 59"/>
                  <a:gd name="T39" fmla="*/ 0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9"/>
                  <a:gd name="T61" fmla="*/ 0 h 43"/>
                  <a:gd name="T62" fmla="*/ 59 w 59"/>
                  <a:gd name="T63" fmla="*/ 43 h 4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97" name="Freeform 606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0 h 51"/>
                  <a:gd name="T2" fmla="*/ 0 w 67"/>
                  <a:gd name="T3" fmla="*/ 0 h 51"/>
                  <a:gd name="T4" fmla="*/ 0 w 67"/>
                  <a:gd name="T5" fmla="*/ 0 h 51"/>
                  <a:gd name="T6" fmla="*/ 0 w 67"/>
                  <a:gd name="T7" fmla="*/ 0 h 51"/>
                  <a:gd name="T8" fmla="*/ 0 w 67"/>
                  <a:gd name="T9" fmla="*/ 0 h 51"/>
                  <a:gd name="T10" fmla="*/ 0 w 67"/>
                  <a:gd name="T11" fmla="*/ 0 h 51"/>
                  <a:gd name="T12" fmla="*/ 0 w 67"/>
                  <a:gd name="T13" fmla="*/ 0 h 51"/>
                  <a:gd name="T14" fmla="*/ 0 w 67"/>
                  <a:gd name="T15" fmla="*/ 0 h 51"/>
                  <a:gd name="T16" fmla="*/ 0 w 67"/>
                  <a:gd name="T17" fmla="*/ 0 h 51"/>
                  <a:gd name="T18" fmla="*/ 0 w 67"/>
                  <a:gd name="T19" fmla="*/ 0 h 51"/>
                  <a:gd name="T20" fmla="*/ 0 w 67"/>
                  <a:gd name="T21" fmla="*/ 0 h 51"/>
                  <a:gd name="T22" fmla="*/ 0 w 67"/>
                  <a:gd name="T23" fmla="*/ 0 h 51"/>
                  <a:gd name="T24" fmla="*/ 0 w 67"/>
                  <a:gd name="T25" fmla="*/ 0 h 51"/>
                  <a:gd name="T26" fmla="*/ 0 w 67"/>
                  <a:gd name="T27" fmla="*/ 0 h 51"/>
                  <a:gd name="T28" fmla="*/ 0 w 67"/>
                  <a:gd name="T29" fmla="*/ 0 h 51"/>
                  <a:gd name="T30" fmla="*/ 0 w 67"/>
                  <a:gd name="T31" fmla="*/ 0 h 51"/>
                  <a:gd name="T32" fmla="*/ 0 w 67"/>
                  <a:gd name="T33" fmla="*/ 0 h 51"/>
                  <a:gd name="T34" fmla="*/ 0 w 67"/>
                  <a:gd name="T35" fmla="*/ 0 h 51"/>
                  <a:gd name="T36" fmla="*/ 0 w 67"/>
                  <a:gd name="T37" fmla="*/ 0 h 51"/>
                  <a:gd name="T38" fmla="*/ 0 w 67"/>
                  <a:gd name="T39" fmla="*/ 0 h 51"/>
                  <a:gd name="T40" fmla="*/ 0 w 67"/>
                  <a:gd name="T41" fmla="*/ 0 h 51"/>
                  <a:gd name="T42" fmla="*/ 0 w 67"/>
                  <a:gd name="T43" fmla="*/ 0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67"/>
                  <a:gd name="T67" fmla="*/ 0 h 51"/>
                  <a:gd name="T68" fmla="*/ 67 w 67"/>
                  <a:gd name="T69" fmla="*/ 51 h 5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</p:grpSp>
        <p:sp>
          <p:nvSpPr>
            <p:cNvPr id="18486" name="Freeform 607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1607" y="1947"/>
              <a:ext cx="21" cy="37"/>
            </a:xfrm>
            <a:custGeom>
              <a:avLst/>
              <a:gdLst>
                <a:gd name="T0" fmla="*/ 0 w 80"/>
                <a:gd name="T1" fmla="*/ 82 h 34"/>
                <a:gd name="T2" fmla="*/ 0 w 80"/>
                <a:gd name="T3" fmla="*/ 106 h 34"/>
                <a:gd name="T4" fmla="*/ 0 w 80"/>
                <a:gd name="T5" fmla="*/ 115 h 34"/>
                <a:gd name="T6" fmla="*/ 0 w 80"/>
                <a:gd name="T7" fmla="*/ 126 h 34"/>
                <a:gd name="T8" fmla="*/ 0 w 80"/>
                <a:gd name="T9" fmla="*/ 137 h 34"/>
                <a:gd name="T10" fmla="*/ 0 w 80"/>
                <a:gd name="T11" fmla="*/ 161 h 34"/>
                <a:gd name="T12" fmla="*/ 0 w 80"/>
                <a:gd name="T13" fmla="*/ 171 h 34"/>
                <a:gd name="T14" fmla="*/ 0 w 80"/>
                <a:gd name="T15" fmla="*/ 176 h 34"/>
                <a:gd name="T16" fmla="*/ 0 w 80"/>
                <a:gd name="T17" fmla="*/ 186 h 34"/>
                <a:gd name="T18" fmla="*/ 0 w 80"/>
                <a:gd name="T19" fmla="*/ 176 h 34"/>
                <a:gd name="T20" fmla="*/ 0 w 80"/>
                <a:gd name="T21" fmla="*/ 175 h 34"/>
                <a:gd name="T22" fmla="*/ 0 w 80"/>
                <a:gd name="T23" fmla="*/ 161 h 34"/>
                <a:gd name="T24" fmla="*/ 0 w 80"/>
                <a:gd name="T25" fmla="*/ 148 h 34"/>
                <a:gd name="T26" fmla="*/ 0 w 80"/>
                <a:gd name="T27" fmla="*/ 115 h 34"/>
                <a:gd name="T28" fmla="*/ 0 w 80"/>
                <a:gd name="T29" fmla="*/ 82 h 34"/>
                <a:gd name="T30" fmla="*/ 0 w 80"/>
                <a:gd name="T31" fmla="*/ 53 h 34"/>
                <a:gd name="T32" fmla="*/ 0 w 80"/>
                <a:gd name="T33" fmla="*/ 41 h 34"/>
                <a:gd name="T34" fmla="*/ 0 w 80"/>
                <a:gd name="T35" fmla="*/ 4 h 34"/>
                <a:gd name="T36" fmla="*/ 0 w 80"/>
                <a:gd name="T37" fmla="*/ 2 h 34"/>
                <a:gd name="T38" fmla="*/ 0 w 80"/>
                <a:gd name="T39" fmla="*/ 0 h 34"/>
                <a:gd name="T40" fmla="*/ 0 w 80"/>
                <a:gd name="T41" fmla="*/ 0 h 34"/>
                <a:gd name="T42" fmla="*/ 0 w 80"/>
                <a:gd name="T43" fmla="*/ 1 h 34"/>
                <a:gd name="T44" fmla="*/ 0 w 80"/>
                <a:gd name="T45" fmla="*/ 2 h 34"/>
                <a:gd name="T46" fmla="*/ 0 w 80"/>
                <a:gd name="T47" fmla="*/ 2 h 34"/>
                <a:gd name="T48" fmla="*/ 0 w 80"/>
                <a:gd name="T49" fmla="*/ 2 h 34"/>
                <a:gd name="T50" fmla="*/ 0 w 80"/>
                <a:gd name="T51" fmla="*/ 3 h 34"/>
                <a:gd name="T52" fmla="*/ 0 w 80"/>
                <a:gd name="T53" fmla="*/ 5 h 34"/>
                <a:gd name="T54" fmla="*/ 0 w 80"/>
                <a:gd name="T55" fmla="*/ 41 h 34"/>
                <a:gd name="T56" fmla="*/ 0 w 80"/>
                <a:gd name="T57" fmla="*/ 49 h 34"/>
                <a:gd name="T58" fmla="*/ 0 w 80"/>
                <a:gd name="T59" fmla="*/ 58 h 34"/>
                <a:gd name="T60" fmla="*/ 0 w 80"/>
                <a:gd name="T61" fmla="*/ 82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0"/>
                <a:gd name="T94" fmla="*/ 0 h 34"/>
                <a:gd name="T95" fmla="*/ 80 w 80"/>
                <a:gd name="T96" fmla="*/ 34 h 3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87" name="Freeform 608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1645" y="1951"/>
              <a:ext cx="1" cy="37"/>
            </a:xfrm>
            <a:custGeom>
              <a:avLst/>
              <a:gdLst>
                <a:gd name="T0" fmla="*/ 0 w 7"/>
                <a:gd name="T1" fmla="*/ 0 h 13"/>
                <a:gd name="T2" fmla="*/ 0 w 7"/>
                <a:gd name="T3" fmla="*/ 2147483647 h 13"/>
                <a:gd name="T4" fmla="*/ 0 w 7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7"/>
                <a:gd name="T10" fmla="*/ 0 h 13"/>
                <a:gd name="T11" fmla="*/ 7 w 7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88" name="Freeform 609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1653" y="1952"/>
              <a:ext cx="5" cy="37"/>
            </a:xfrm>
            <a:custGeom>
              <a:avLst/>
              <a:gdLst>
                <a:gd name="T0" fmla="*/ 0 w 20"/>
                <a:gd name="T1" fmla="*/ 0 h 6"/>
                <a:gd name="T2" fmla="*/ 0 w 20"/>
                <a:gd name="T3" fmla="*/ 2147483647 h 6"/>
                <a:gd name="T4" fmla="*/ 0 w 20"/>
                <a:gd name="T5" fmla="*/ 2147483647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6"/>
                <a:gd name="T14" fmla="*/ 20 w 20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89" name="Freeform 610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1663" y="1946"/>
              <a:ext cx="5" cy="36"/>
            </a:xfrm>
            <a:custGeom>
              <a:avLst/>
              <a:gdLst>
                <a:gd name="T0" fmla="*/ 0 w 14"/>
                <a:gd name="T1" fmla="*/ 2147483647 h 12"/>
                <a:gd name="T2" fmla="*/ 0 w 14"/>
                <a:gd name="T3" fmla="*/ 0 h 12"/>
                <a:gd name="T4" fmla="*/ 0 w 14"/>
                <a:gd name="T5" fmla="*/ 2147483647 h 12"/>
                <a:gd name="T6" fmla="*/ 0 60000 65536"/>
                <a:gd name="T7" fmla="*/ 0 60000 65536"/>
                <a:gd name="T8" fmla="*/ 0 60000 65536"/>
                <a:gd name="T9" fmla="*/ 0 w 14"/>
                <a:gd name="T10" fmla="*/ 0 h 12"/>
                <a:gd name="T11" fmla="*/ 14 w 14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90" name="Freeform 611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1649" y="1941"/>
              <a:ext cx="7" cy="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2147483647 h 7"/>
                <a:gd name="T4" fmla="*/ 0 w 27"/>
                <a:gd name="T5" fmla="*/ 2147483647 h 7"/>
                <a:gd name="T6" fmla="*/ 0 w 27"/>
                <a:gd name="T7" fmla="*/ 2147483647 h 7"/>
                <a:gd name="T8" fmla="*/ 0 w 27"/>
                <a:gd name="T9" fmla="*/ 2147483647 h 7"/>
                <a:gd name="T10" fmla="*/ 0 w 27"/>
                <a:gd name="T11" fmla="*/ 2147483647 h 7"/>
                <a:gd name="T12" fmla="*/ 0 w 27"/>
                <a:gd name="T13" fmla="*/ 2147483647 h 7"/>
                <a:gd name="T14" fmla="*/ 0 w 27"/>
                <a:gd name="T15" fmla="*/ 2147483647 h 7"/>
                <a:gd name="T16" fmla="*/ 0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91" name="Freeform 612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1682" y="1959"/>
              <a:ext cx="10" cy="38"/>
            </a:xfrm>
            <a:custGeom>
              <a:avLst/>
              <a:gdLst>
                <a:gd name="T0" fmla="*/ 0 w 27"/>
                <a:gd name="T1" fmla="*/ 0 h 6"/>
                <a:gd name="T2" fmla="*/ 0 w 27"/>
                <a:gd name="T3" fmla="*/ 2147483647 h 6"/>
                <a:gd name="T4" fmla="*/ 0 w 27"/>
                <a:gd name="T5" fmla="*/ 2147483647 h 6"/>
                <a:gd name="T6" fmla="*/ 0 60000 65536"/>
                <a:gd name="T7" fmla="*/ 0 60000 65536"/>
                <a:gd name="T8" fmla="*/ 0 60000 65536"/>
                <a:gd name="T9" fmla="*/ 0 w 27"/>
                <a:gd name="T10" fmla="*/ 0 h 6"/>
                <a:gd name="T11" fmla="*/ 27 w 27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92" name="Line 613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1688" y="1957"/>
              <a:ext cx="4" cy="6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93" name="Line 614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1688" y="1973"/>
              <a:ext cx="4" cy="7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94" name="Freeform 615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1688" y="1970"/>
              <a:ext cx="7" cy="37"/>
            </a:xfrm>
            <a:custGeom>
              <a:avLst/>
              <a:gdLst>
                <a:gd name="T0" fmla="*/ 0 w 20"/>
                <a:gd name="T1" fmla="*/ 139024 h 24"/>
                <a:gd name="T2" fmla="*/ 0 w 20"/>
                <a:gd name="T3" fmla="*/ 139024 h 24"/>
                <a:gd name="T4" fmla="*/ 0 w 20"/>
                <a:gd name="T5" fmla="*/ 125711 h 24"/>
                <a:gd name="T6" fmla="*/ 0 w 20"/>
                <a:gd name="T7" fmla="*/ 116094 h 24"/>
                <a:gd name="T8" fmla="*/ 0 w 20"/>
                <a:gd name="T9" fmla="*/ 93912 h 24"/>
                <a:gd name="T10" fmla="*/ 0 w 20"/>
                <a:gd name="T11" fmla="*/ 75304 h 24"/>
                <a:gd name="T12" fmla="*/ 0 w 20"/>
                <a:gd name="T13" fmla="*/ 52892 h 24"/>
                <a:gd name="T14" fmla="*/ 0 w 20"/>
                <a:gd name="T15" fmla="*/ 22254 h 24"/>
                <a:gd name="T16" fmla="*/ 0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4"/>
                <a:gd name="T29" fmla="*/ 20 w 20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95" name="Freeform 616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1692" y="1988"/>
              <a:ext cx="12" cy="35"/>
            </a:xfrm>
            <a:custGeom>
              <a:avLst/>
              <a:gdLst>
                <a:gd name="T0" fmla="*/ 0 w 33"/>
                <a:gd name="T1" fmla="*/ 6091 h 25"/>
                <a:gd name="T2" fmla="*/ 0 w 33"/>
                <a:gd name="T3" fmla="*/ 16204 h 25"/>
                <a:gd name="T4" fmla="*/ 0 w 33"/>
                <a:gd name="T5" fmla="*/ 16713 h 25"/>
                <a:gd name="T6" fmla="*/ 0 w 33"/>
                <a:gd name="T7" fmla="*/ 18297 h 25"/>
                <a:gd name="T8" fmla="*/ 0 w 33"/>
                <a:gd name="T9" fmla="*/ 21088 h 25"/>
                <a:gd name="T10" fmla="*/ 0 w 33"/>
                <a:gd name="T11" fmla="*/ 21088 h 25"/>
                <a:gd name="T12" fmla="*/ 0 w 33"/>
                <a:gd name="T13" fmla="*/ 0 h 25"/>
                <a:gd name="T14" fmla="*/ 0 w 33"/>
                <a:gd name="T15" fmla="*/ 0 h 25"/>
                <a:gd name="T16" fmla="*/ 0 w 33"/>
                <a:gd name="T17" fmla="*/ 6091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96" name="Freeform 617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1697" y="2018"/>
              <a:ext cx="10" cy="36"/>
            </a:xfrm>
            <a:custGeom>
              <a:avLst/>
              <a:gdLst>
                <a:gd name="T0" fmla="*/ 0 w 40"/>
                <a:gd name="T1" fmla="*/ 0 h 18"/>
                <a:gd name="T2" fmla="*/ 0 w 40"/>
                <a:gd name="T3" fmla="*/ 6291455 h 18"/>
                <a:gd name="T4" fmla="*/ 0 w 40"/>
                <a:gd name="T5" fmla="*/ 11534335 h 18"/>
                <a:gd name="T6" fmla="*/ 0 w 40"/>
                <a:gd name="T7" fmla="*/ 14680054 h 18"/>
                <a:gd name="T8" fmla="*/ 0 w 40"/>
                <a:gd name="T9" fmla="*/ 16777217 h 18"/>
                <a:gd name="T10" fmla="*/ 0 w 40"/>
                <a:gd name="T11" fmla="*/ 18874368 h 18"/>
                <a:gd name="T12" fmla="*/ 0 w 40"/>
                <a:gd name="T13" fmla="*/ 18874368 h 18"/>
                <a:gd name="T14" fmla="*/ 0 w 40"/>
                <a:gd name="T15" fmla="*/ 0 h 18"/>
                <a:gd name="T16" fmla="*/ 0 w 40"/>
                <a:gd name="T17" fmla="*/ 0 h 18"/>
                <a:gd name="T18" fmla="*/ 0 w 40"/>
                <a:gd name="T19" fmla="*/ 0 h 18"/>
                <a:gd name="T20" fmla="*/ 0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0"/>
                <a:gd name="T37" fmla="*/ 0 h 18"/>
                <a:gd name="T38" fmla="*/ 40 w 4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97" name="Freeform 618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1703" y="2034"/>
              <a:ext cx="2" cy="36"/>
            </a:xfrm>
            <a:custGeom>
              <a:avLst/>
              <a:gdLst>
                <a:gd name="T0" fmla="*/ 0 w 11"/>
                <a:gd name="T1" fmla="*/ 331 h 32"/>
                <a:gd name="T2" fmla="*/ 0 w 11"/>
                <a:gd name="T3" fmla="*/ 287 h 32"/>
                <a:gd name="T4" fmla="*/ 0 w 11"/>
                <a:gd name="T5" fmla="*/ 255 h 32"/>
                <a:gd name="T6" fmla="*/ 0 w 11"/>
                <a:gd name="T7" fmla="*/ 228 h 32"/>
                <a:gd name="T8" fmla="*/ 0 w 11"/>
                <a:gd name="T9" fmla="*/ 181 h 32"/>
                <a:gd name="T10" fmla="*/ 0 w 11"/>
                <a:gd name="T11" fmla="*/ 88 h 32"/>
                <a:gd name="T12" fmla="*/ 0 w 11"/>
                <a:gd name="T13" fmla="*/ 0 h 32"/>
                <a:gd name="T14" fmla="*/ 0 w 11"/>
                <a:gd name="T15" fmla="*/ 3 h 32"/>
                <a:gd name="T16" fmla="*/ 0 w 11"/>
                <a:gd name="T17" fmla="*/ 69 h 32"/>
                <a:gd name="T18" fmla="*/ 0 w 11"/>
                <a:gd name="T19" fmla="*/ 111 h 32"/>
                <a:gd name="T20" fmla="*/ 0 w 11"/>
                <a:gd name="T21" fmla="*/ 160 h 32"/>
                <a:gd name="T22" fmla="*/ 0 w 11"/>
                <a:gd name="T23" fmla="*/ 202 h 32"/>
                <a:gd name="T24" fmla="*/ 0 w 11"/>
                <a:gd name="T25" fmla="*/ 254 h 32"/>
                <a:gd name="T26" fmla="*/ 0 w 11"/>
                <a:gd name="T27" fmla="*/ 287 h 32"/>
                <a:gd name="T28" fmla="*/ 0 w 11"/>
                <a:gd name="T29" fmla="*/ 331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"/>
                <a:gd name="T46" fmla="*/ 0 h 32"/>
                <a:gd name="T47" fmla="*/ 11 w 11"/>
                <a:gd name="T48" fmla="*/ 32 h 3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98" name="Freeform 619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1718" y="2053"/>
              <a:ext cx="1" cy="35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45027 h 24"/>
                <a:gd name="T4" fmla="*/ 0 w 14"/>
                <a:gd name="T5" fmla="*/ 22986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"/>
                <a:gd name="T13" fmla="*/ 0 h 24"/>
                <a:gd name="T14" fmla="*/ 14 w 14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499" name="Freeform 620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1692" y="2061"/>
              <a:ext cx="11" cy="37"/>
            </a:xfrm>
            <a:custGeom>
              <a:avLst/>
              <a:gdLst>
                <a:gd name="T0" fmla="*/ 0 w 27"/>
                <a:gd name="T1" fmla="*/ 21954089 h 18"/>
                <a:gd name="T2" fmla="*/ 0 w 27"/>
                <a:gd name="T3" fmla="*/ 27537353 h 18"/>
                <a:gd name="T4" fmla="*/ 0 w 27"/>
                <a:gd name="T5" fmla="*/ 32622746 h 18"/>
                <a:gd name="T6" fmla="*/ 0 w 27"/>
                <a:gd name="T7" fmla="*/ 12502110 h 18"/>
                <a:gd name="T8" fmla="*/ 0 w 27"/>
                <a:gd name="T9" fmla="*/ 0 h 18"/>
                <a:gd name="T10" fmla="*/ 0 w 27"/>
                <a:gd name="T11" fmla="*/ 0 h 18"/>
                <a:gd name="T12" fmla="*/ 0 w 27"/>
                <a:gd name="T13" fmla="*/ 1639285 h 18"/>
                <a:gd name="T14" fmla="*/ 0 w 27"/>
                <a:gd name="T15" fmla="*/ 3369641 h 18"/>
                <a:gd name="T16" fmla="*/ 0 w 27"/>
                <a:gd name="T17" fmla="*/ 6926481 h 18"/>
                <a:gd name="T18" fmla="*/ 0 w 27"/>
                <a:gd name="T19" fmla="*/ 14237771 h 18"/>
                <a:gd name="T20" fmla="*/ 0 w 27"/>
                <a:gd name="T21" fmla="*/ 21954089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7"/>
                <a:gd name="T34" fmla="*/ 0 h 18"/>
                <a:gd name="T35" fmla="*/ 27 w 27"/>
                <a:gd name="T36" fmla="*/ 18 h 1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00" name="Freeform 621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1682" y="2102"/>
              <a:ext cx="17" cy="36"/>
            </a:xfrm>
            <a:custGeom>
              <a:avLst/>
              <a:gdLst>
                <a:gd name="T0" fmla="*/ 0 w 47"/>
                <a:gd name="T1" fmla="*/ 1 h 49"/>
                <a:gd name="T2" fmla="*/ 0 w 47"/>
                <a:gd name="T3" fmla="*/ 1 h 49"/>
                <a:gd name="T4" fmla="*/ 0 w 47"/>
                <a:gd name="T5" fmla="*/ 1 h 49"/>
                <a:gd name="T6" fmla="*/ 0 w 47"/>
                <a:gd name="T7" fmla="*/ 1 h 49"/>
                <a:gd name="T8" fmla="*/ 0 w 47"/>
                <a:gd name="T9" fmla="*/ 1 h 49"/>
                <a:gd name="T10" fmla="*/ 0 w 47"/>
                <a:gd name="T11" fmla="*/ 1 h 49"/>
                <a:gd name="T12" fmla="*/ 0 w 47"/>
                <a:gd name="T13" fmla="*/ 1 h 49"/>
                <a:gd name="T14" fmla="*/ 0 w 47"/>
                <a:gd name="T15" fmla="*/ 1 h 49"/>
                <a:gd name="T16" fmla="*/ 0 w 47"/>
                <a:gd name="T17" fmla="*/ 1 h 49"/>
                <a:gd name="T18" fmla="*/ 0 w 47"/>
                <a:gd name="T19" fmla="*/ 1 h 49"/>
                <a:gd name="T20" fmla="*/ 0 w 47"/>
                <a:gd name="T21" fmla="*/ 1 h 49"/>
                <a:gd name="T22" fmla="*/ 0 w 47"/>
                <a:gd name="T23" fmla="*/ 1 h 49"/>
                <a:gd name="T24" fmla="*/ 0 w 47"/>
                <a:gd name="T25" fmla="*/ 1 h 49"/>
                <a:gd name="T26" fmla="*/ 0 w 47"/>
                <a:gd name="T27" fmla="*/ 1 h 49"/>
                <a:gd name="T28" fmla="*/ 0 w 47"/>
                <a:gd name="T29" fmla="*/ 1 h 49"/>
                <a:gd name="T30" fmla="*/ 0 w 47"/>
                <a:gd name="T31" fmla="*/ 1 h 49"/>
                <a:gd name="T32" fmla="*/ 0 w 47"/>
                <a:gd name="T33" fmla="*/ 0 h 49"/>
                <a:gd name="T34" fmla="*/ 0 w 47"/>
                <a:gd name="T35" fmla="*/ 0 h 49"/>
                <a:gd name="T36" fmla="*/ 0 w 47"/>
                <a:gd name="T37" fmla="*/ 1 h 49"/>
                <a:gd name="T38" fmla="*/ 0 w 47"/>
                <a:gd name="T39" fmla="*/ 1 h 49"/>
                <a:gd name="T40" fmla="*/ 0 w 47"/>
                <a:gd name="T41" fmla="*/ 1 h 49"/>
                <a:gd name="T42" fmla="*/ 0 w 47"/>
                <a:gd name="T43" fmla="*/ 1 h 49"/>
                <a:gd name="T44" fmla="*/ 0 w 47"/>
                <a:gd name="T45" fmla="*/ 1 h 49"/>
                <a:gd name="T46" fmla="*/ 0 w 47"/>
                <a:gd name="T47" fmla="*/ 1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7"/>
                <a:gd name="T73" fmla="*/ 0 h 49"/>
                <a:gd name="T74" fmla="*/ 47 w 47"/>
                <a:gd name="T75" fmla="*/ 49 h 4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01" name="Freeform 622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1695" y="2087"/>
              <a:ext cx="9" cy="36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147483647 h 9"/>
                <a:gd name="T4" fmla="*/ 0 w 26"/>
                <a:gd name="T5" fmla="*/ 2147483647 h 9"/>
                <a:gd name="T6" fmla="*/ 0 w 26"/>
                <a:gd name="T7" fmla="*/ 2147483647 h 9"/>
                <a:gd name="T8" fmla="*/ 0 w 26"/>
                <a:gd name="T9" fmla="*/ 2147483647 h 9"/>
                <a:gd name="T10" fmla="*/ 0 w 26"/>
                <a:gd name="T11" fmla="*/ 2147483647 h 9"/>
                <a:gd name="T12" fmla="*/ 0 w 26"/>
                <a:gd name="T13" fmla="*/ 2147483647 h 9"/>
                <a:gd name="T14" fmla="*/ 0 w 26"/>
                <a:gd name="T15" fmla="*/ 2147483647 h 9"/>
                <a:gd name="T16" fmla="*/ 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9"/>
                <a:gd name="T32" fmla="*/ 26 w 2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02" name="Freeform 623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342" y="1880"/>
              <a:ext cx="11" cy="36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874368 h 18"/>
                <a:gd name="T4" fmla="*/ 0 w 39"/>
                <a:gd name="T5" fmla="*/ 18874368 h 18"/>
                <a:gd name="T6" fmla="*/ 0 w 39"/>
                <a:gd name="T7" fmla="*/ 18874368 h 18"/>
                <a:gd name="T8" fmla="*/ 0 w 39"/>
                <a:gd name="T9" fmla="*/ 17825792 h 18"/>
                <a:gd name="T10" fmla="*/ 0 w 39"/>
                <a:gd name="T11" fmla="*/ 14680054 h 18"/>
                <a:gd name="T12" fmla="*/ 0 w 39"/>
                <a:gd name="T13" fmla="*/ 12582911 h 18"/>
                <a:gd name="T14" fmla="*/ 0 w 39"/>
                <a:gd name="T15" fmla="*/ 10485760 h 18"/>
                <a:gd name="T16" fmla="*/ 0 w 39"/>
                <a:gd name="T17" fmla="*/ 8388608 h 18"/>
                <a:gd name="T18" fmla="*/ 0 w 39"/>
                <a:gd name="T19" fmla="*/ 6291455 h 18"/>
                <a:gd name="T20" fmla="*/ 0 w 39"/>
                <a:gd name="T21" fmla="*/ 5242880 h 18"/>
                <a:gd name="T22" fmla="*/ 0 w 39"/>
                <a:gd name="T23" fmla="*/ 3145728 h 18"/>
                <a:gd name="T24" fmla="*/ 0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9"/>
                <a:gd name="T43" fmla="*/ 0 h 18"/>
                <a:gd name="T44" fmla="*/ 39 w 39"/>
                <a:gd name="T45" fmla="*/ 18 h 1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grpSp>
          <p:nvGrpSpPr>
            <p:cNvPr id="5" name="Group 624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1428" y="1775"/>
              <a:ext cx="90" cy="123"/>
              <a:chOff x="1199" y="2121"/>
              <a:chExt cx="97" cy="123"/>
            </a:xfrm>
            <a:grpFill/>
          </p:grpSpPr>
          <p:sp>
            <p:nvSpPr>
              <p:cNvPr id="18986" name="Freeform 625"/>
              <p:cNvSpPr>
                <a:spLocks/>
              </p:cNvSpPr>
              <p:nvPr/>
            </p:nvSpPr>
            <p:spPr bwMode="auto">
              <a:xfrm>
                <a:off x="1274" y="2236"/>
                <a:ext cx="15" cy="8"/>
              </a:xfrm>
              <a:custGeom>
                <a:avLst/>
                <a:gdLst>
                  <a:gd name="T0" fmla="*/ 0 w 52"/>
                  <a:gd name="T1" fmla="*/ 0 h 25"/>
                  <a:gd name="T2" fmla="*/ 0 w 52"/>
                  <a:gd name="T3" fmla="*/ 0 h 25"/>
                  <a:gd name="T4" fmla="*/ 0 w 52"/>
                  <a:gd name="T5" fmla="*/ 0 h 25"/>
                  <a:gd name="T6" fmla="*/ 0 w 52"/>
                  <a:gd name="T7" fmla="*/ 0 h 25"/>
                  <a:gd name="T8" fmla="*/ 0 w 52"/>
                  <a:gd name="T9" fmla="*/ 0 h 25"/>
                  <a:gd name="T10" fmla="*/ 0 w 52"/>
                  <a:gd name="T11" fmla="*/ 0 h 25"/>
                  <a:gd name="T12" fmla="*/ 0 w 52"/>
                  <a:gd name="T13" fmla="*/ 0 h 25"/>
                  <a:gd name="T14" fmla="*/ 0 w 52"/>
                  <a:gd name="T15" fmla="*/ 0 h 25"/>
                  <a:gd name="T16" fmla="*/ 0 w 52"/>
                  <a:gd name="T17" fmla="*/ 0 h 25"/>
                  <a:gd name="T18" fmla="*/ 0 w 52"/>
                  <a:gd name="T19" fmla="*/ 0 h 25"/>
                  <a:gd name="T20" fmla="*/ 0 w 52"/>
                  <a:gd name="T21" fmla="*/ 0 h 25"/>
                  <a:gd name="T22" fmla="*/ 0 w 52"/>
                  <a:gd name="T23" fmla="*/ 0 h 25"/>
                  <a:gd name="T24" fmla="*/ 0 w 52"/>
                  <a:gd name="T25" fmla="*/ 0 h 25"/>
                  <a:gd name="T26" fmla="*/ 0 w 52"/>
                  <a:gd name="T27" fmla="*/ 0 h 25"/>
                  <a:gd name="T28" fmla="*/ 0 w 52"/>
                  <a:gd name="T29" fmla="*/ 0 h 25"/>
                  <a:gd name="T30" fmla="*/ 0 w 52"/>
                  <a:gd name="T31" fmla="*/ 0 h 25"/>
                  <a:gd name="T32" fmla="*/ 0 w 52"/>
                  <a:gd name="T33" fmla="*/ 0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2"/>
                  <a:gd name="T52" fmla="*/ 0 h 25"/>
                  <a:gd name="T53" fmla="*/ 52 w 52"/>
                  <a:gd name="T54" fmla="*/ 25 h 2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87" name="Freeform 626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0 h 13"/>
                  <a:gd name="T4" fmla="*/ 0 w 33"/>
                  <a:gd name="T5" fmla="*/ 0 h 13"/>
                  <a:gd name="T6" fmla="*/ 0 w 33"/>
                  <a:gd name="T7" fmla="*/ 0 h 13"/>
                  <a:gd name="T8" fmla="*/ 0 w 33"/>
                  <a:gd name="T9" fmla="*/ 0 h 13"/>
                  <a:gd name="T10" fmla="*/ 0 w 33"/>
                  <a:gd name="T11" fmla="*/ 0 h 13"/>
                  <a:gd name="T12" fmla="*/ 0 w 33"/>
                  <a:gd name="T13" fmla="*/ 0 h 13"/>
                  <a:gd name="T14" fmla="*/ 0 w 33"/>
                  <a:gd name="T15" fmla="*/ 0 h 13"/>
                  <a:gd name="T16" fmla="*/ 0 w 33"/>
                  <a:gd name="T17" fmla="*/ 0 h 13"/>
                  <a:gd name="T18" fmla="*/ 0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3"/>
                  <a:gd name="T34" fmla="*/ 0 h 13"/>
                  <a:gd name="T35" fmla="*/ 33 w 33"/>
                  <a:gd name="T36" fmla="*/ 13 h 1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88" name="Freeform 627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0 w 67"/>
                  <a:gd name="T1" fmla="*/ 0 h 86"/>
                  <a:gd name="T2" fmla="*/ 0 w 67"/>
                  <a:gd name="T3" fmla="*/ 0 h 86"/>
                  <a:gd name="T4" fmla="*/ 0 w 67"/>
                  <a:gd name="T5" fmla="*/ 0 h 86"/>
                  <a:gd name="T6" fmla="*/ 0 w 67"/>
                  <a:gd name="T7" fmla="*/ 0 h 86"/>
                  <a:gd name="T8" fmla="*/ 0 w 67"/>
                  <a:gd name="T9" fmla="*/ 0 h 86"/>
                  <a:gd name="T10" fmla="*/ 0 w 67"/>
                  <a:gd name="T11" fmla="*/ 0 h 86"/>
                  <a:gd name="T12" fmla="*/ 0 w 67"/>
                  <a:gd name="T13" fmla="*/ 0 h 86"/>
                  <a:gd name="T14" fmla="*/ 0 w 67"/>
                  <a:gd name="T15" fmla="*/ 0 h 86"/>
                  <a:gd name="T16" fmla="*/ 0 w 67"/>
                  <a:gd name="T17" fmla="*/ 0 h 86"/>
                  <a:gd name="T18" fmla="*/ 0 w 67"/>
                  <a:gd name="T19" fmla="*/ 0 h 86"/>
                  <a:gd name="T20" fmla="*/ 0 w 67"/>
                  <a:gd name="T21" fmla="*/ 0 h 86"/>
                  <a:gd name="T22" fmla="*/ 0 w 67"/>
                  <a:gd name="T23" fmla="*/ 0 h 86"/>
                  <a:gd name="T24" fmla="*/ 0 w 67"/>
                  <a:gd name="T25" fmla="*/ 0 h 86"/>
                  <a:gd name="T26" fmla="*/ 0 w 67"/>
                  <a:gd name="T27" fmla="*/ 0 h 86"/>
                  <a:gd name="T28" fmla="*/ 0 w 67"/>
                  <a:gd name="T29" fmla="*/ 0 h 86"/>
                  <a:gd name="T30" fmla="*/ 0 w 67"/>
                  <a:gd name="T31" fmla="*/ 0 h 86"/>
                  <a:gd name="T32" fmla="*/ 0 w 67"/>
                  <a:gd name="T33" fmla="*/ 0 h 86"/>
                  <a:gd name="T34" fmla="*/ 0 w 67"/>
                  <a:gd name="T35" fmla="*/ 0 h 86"/>
                  <a:gd name="T36" fmla="*/ 0 w 67"/>
                  <a:gd name="T37" fmla="*/ 0 h 86"/>
                  <a:gd name="T38" fmla="*/ 0 w 67"/>
                  <a:gd name="T39" fmla="*/ 0 h 86"/>
                  <a:gd name="T40" fmla="*/ 0 w 67"/>
                  <a:gd name="T41" fmla="*/ 0 h 86"/>
                  <a:gd name="T42" fmla="*/ 0 w 67"/>
                  <a:gd name="T43" fmla="*/ 0 h 86"/>
                  <a:gd name="T44" fmla="*/ 0 w 67"/>
                  <a:gd name="T45" fmla="*/ 0 h 86"/>
                  <a:gd name="T46" fmla="*/ 0 w 67"/>
                  <a:gd name="T47" fmla="*/ 0 h 86"/>
                  <a:gd name="T48" fmla="*/ 0 w 67"/>
                  <a:gd name="T49" fmla="*/ 0 h 86"/>
                  <a:gd name="T50" fmla="*/ 0 w 67"/>
                  <a:gd name="T51" fmla="*/ 0 h 86"/>
                  <a:gd name="T52" fmla="*/ 0 w 67"/>
                  <a:gd name="T53" fmla="*/ 0 h 86"/>
                  <a:gd name="T54" fmla="*/ 0 w 67"/>
                  <a:gd name="T55" fmla="*/ 0 h 86"/>
                  <a:gd name="T56" fmla="*/ 0 w 67"/>
                  <a:gd name="T57" fmla="*/ 0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67"/>
                  <a:gd name="T88" fmla="*/ 0 h 86"/>
                  <a:gd name="T89" fmla="*/ 67 w 67"/>
                  <a:gd name="T90" fmla="*/ 86 h 8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89" name="Freeform 628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0 w 49"/>
                  <a:gd name="T1" fmla="*/ 0 h 86"/>
                  <a:gd name="T2" fmla="*/ 0 w 49"/>
                  <a:gd name="T3" fmla="*/ 0 h 86"/>
                  <a:gd name="T4" fmla="*/ 0 w 49"/>
                  <a:gd name="T5" fmla="*/ 0 h 86"/>
                  <a:gd name="T6" fmla="*/ 0 w 49"/>
                  <a:gd name="T7" fmla="*/ 0 h 86"/>
                  <a:gd name="T8" fmla="*/ 0 w 49"/>
                  <a:gd name="T9" fmla="*/ 0 h 86"/>
                  <a:gd name="T10" fmla="*/ 0 w 49"/>
                  <a:gd name="T11" fmla="*/ 0 h 86"/>
                  <a:gd name="T12" fmla="*/ 0 w 49"/>
                  <a:gd name="T13" fmla="*/ 0 h 86"/>
                  <a:gd name="T14" fmla="*/ 0 w 49"/>
                  <a:gd name="T15" fmla="*/ 0 h 86"/>
                  <a:gd name="T16" fmla="*/ 0 w 49"/>
                  <a:gd name="T17" fmla="*/ 0 h 86"/>
                  <a:gd name="T18" fmla="*/ 0 w 49"/>
                  <a:gd name="T19" fmla="*/ 0 h 86"/>
                  <a:gd name="T20" fmla="*/ 0 w 49"/>
                  <a:gd name="T21" fmla="*/ 0 h 86"/>
                  <a:gd name="T22" fmla="*/ 0 w 49"/>
                  <a:gd name="T23" fmla="*/ 0 h 86"/>
                  <a:gd name="T24" fmla="*/ 0 w 49"/>
                  <a:gd name="T25" fmla="*/ 0 h 86"/>
                  <a:gd name="T26" fmla="*/ 0 w 49"/>
                  <a:gd name="T27" fmla="*/ 0 h 86"/>
                  <a:gd name="T28" fmla="*/ 0 w 49"/>
                  <a:gd name="T29" fmla="*/ 0 h 86"/>
                  <a:gd name="T30" fmla="*/ 0 w 49"/>
                  <a:gd name="T31" fmla="*/ 0 h 86"/>
                  <a:gd name="T32" fmla="*/ 0 w 49"/>
                  <a:gd name="T33" fmla="*/ 0 h 86"/>
                  <a:gd name="T34" fmla="*/ 0 w 49"/>
                  <a:gd name="T35" fmla="*/ 0 h 86"/>
                  <a:gd name="T36" fmla="*/ 0 w 49"/>
                  <a:gd name="T37" fmla="*/ 0 h 86"/>
                  <a:gd name="T38" fmla="*/ 0 w 49"/>
                  <a:gd name="T39" fmla="*/ 0 h 86"/>
                  <a:gd name="T40" fmla="*/ 0 w 49"/>
                  <a:gd name="T41" fmla="*/ 0 h 86"/>
                  <a:gd name="T42" fmla="*/ 0 w 49"/>
                  <a:gd name="T43" fmla="*/ 0 h 86"/>
                  <a:gd name="T44" fmla="*/ 0 w 49"/>
                  <a:gd name="T45" fmla="*/ 0 h 86"/>
                  <a:gd name="T46" fmla="*/ 0 w 49"/>
                  <a:gd name="T47" fmla="*/ 0 h 86"/>
                  <a:gd name="T48" fmla="*/ 0 w 49"/>
                  <a:gd name="T49" fmla="*/ 0 h 86"/>
                  <a:gd name="T50" fmla="*/ 0 w 49"/>
                  <a:gd name="T51" fmla="*/ 0 h 86"/>
                  <a:gd name="T52" fmla="*/ 0 w 49"/>
                  <a:gd name="T53" fmla="*/ 0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49"/>
                  <a:gd name="T82" fmla="*/ 0 h 86"/>
                  <a:gd name="T83" fmla="*/ 49 w 49"/>
                  <a:gd name="T84" fmla="*/ 86 h 8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90" name="Freeform 629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0 h 12"/>
                  <a:gd name="T2" fmla="*/ 0 w 6"/>
                  <a:gd name="T3" fmla="*/ 0 h 12"/>
                  <a:gd name="T4" fmla="*/ 0 w 6"/>
                  <a:gd name="T5" fmla="*/ 0 h 12"/>
                  <a:gd name="T6" fmla="*/ 0 w 6"/>
                  <a:gd name="T7" fmla="*/ 0 h 12"/>
                  <a:gd name="T8" fmla="*/ 0 w 6"/>
                  <a:gd name="T9" fmla="*/ 0 h 12"/>
                  <a:gd name="T10" fmla="*/ 0 w 6"/>
                  <a:gd name="T11" fmla="*/ 0 h 12"/>
                  <a:gd name="T12" fmla="*/ 0 w 6"/>
                  <a:gd name="T13" fmla="*/ 0 h 12"/>
                  <a:gd name="T14" fmla="*/ 0 w 6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12"/>
                  <a:gd name="T26" fmla="*/ 6 w 6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91" name="Freeform 630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0 w 39"/>
                  <a:gd name="T3" fmla="*/ 0 h 48"/>
                  <a:gd name="T4" fmla="*/ 0 w 39"/>
                  <a:gd name="T5" fmla="*/ 0 h 48"/>
                  <a:gd name="T6" fmla="*/ 0 w 39"/>
                  <a:gd name="T7" fmla="*/ 0 h 48"/>
                  <a:gd name="T8" fmla="*/ 0 w 39"/>
                  <a:gd name="T9" fmla="*/ 0 h 48"/>
                  <a:gd name="T10" fmla="*/ 0 w 39"/>
                  <a:gd name="T11" fmla="*/ 0 h 48"/>
                  <a:gd name="T12" fmla="*/ 0 w 39"/>
                  <a:gd name="T13" fmla="*/ 0 h 48"/>
                  <a:gd name="T14" fmla="*/ 0 w 39"/>
                  <a:gd name="T15" fmla="*/ 0 h 48"/>
                  <a:gd name="T16" fmla="*/ 0 w 39"/>
                  <a:gd name="T17" fmla="*/ 0 h 48"/>
                  <a:gd name="T18" fmla="*/ 0 w 39"/>
                  <a:gd name="T19" fmla="*/ 0 h 48"/>
                  <a:gd name="T20" fmla="*/ 0 w 39"/>
                  <a:gd name="T21" fmla="*/ 0 h 48"/>
                  <a:gd name="T22" fmla="*/ 0 w 39"/>
                  <a:gd name="T23" fmla="*/ 0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9"/>
                  <a:gd name="T40" fmla="*/ 0 h 48"/>
                  <a:gd name="T41" fmla="*/ 39 w 39"/>
                  <a:gd name="T42" fmla="*/ 48 h 4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92" name="Freeform 631"/>
              <p:cNvSpPr>
                <a:spLocks/>
              </p:cNvSpPr>
              <p:nvPr/>
            </p:nvSpPr>
            <p:spPr bwMode="auto">
              <a:xfrm>
                <a:off x="1247" y="2167"/>
                <a:ext cx="0" cy="14"/>
              </a:xfrm>
              <a:custGeom>
                <a:avLst/>
                <a:gdLst>
                  <a:gd name="T0" fmla="*/ 0 w 16"/>
                  <a:gd name="T1" fmla="*/ 0 h 43"/>
                  <a:gd name="T2" fmla="*/ 0 w 16"/>
                  <a:gd name="T3" fmla="*/ 0 h 43"/>
                  <a:gd name="T4" fmla="*/ 0 w 16"/>
                  <a:gd name="T5" fmla="*/ 0 h 43"/>
                  <a:gd name="T6" fmla="*/ 0 w 16"/>
                  <a:gd name="T7" fmla="*/ 0 h 43"/>
                  <a:gd name="T8" fmla="*/ 0 w 16"/>
                  <a:gd name="T9" fmla="*/ 0 h 43"/>
                  <a:gd name="T10" fmla="*/ 0 w 16"/>
                  <a:gd name="T11" fmla="*/ 0 h 43"/>
                  <a:gd name="T12" fmla="*/ 0 w 16"/>
                  <a:gd name="T13" fmla="*/ 0 h 43"/>
                  <a:gd name="T14" fmla="*/ 0 w 16"/>
                  <a:gd name="T15" fmla="*/ 0 h 43"/>
                  <a:gd name="T16" fmla="*/ 0 w 16"/>
                  <a:gd name="T17" fmla="*/ 0 h 43"/>
                  <a:gd name="T18" fmla="*/ 0 w 16"/>
                  <a:gd name="T19" fmla="*/ 0 h 43"/>
                  <a:gd name="T20" fmla="*/ 0 w 16"/>
                  <a:gd name="T21" fmla="*/ 0 h 43"/>
                  <a:gd name="T22" fmla="*/ 0 w 16"/>
                  <a:gd name="T23" fmla="*/ 0 h 43"/>
                  <a:gd name="T24" fmla="*/ 0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6"/>
                  <a:gd name="T40" fmla="*/ 0 h 43"/>
                  <a:gd name="T41" fmla="*/ 0 w 16"/>
                  <a:gd name="T42" fmla="*/ 43 h 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93" name="Freeform 632"/>
              <p:cNvSpPr>
                <a:spLocks/>
              </p:cNvSpPr>
              <p:nvPr/>
            </p:nvSpPr>
            <p:spPr bwMode="auto">
              <a:xfrm>
                <a:off x="1247" y="2190"/>
                <a:ext cx="9" cy="12"/>
              </a:xfrm>
              <a:custGeom>
                <a:avLst/>
                <a:gdLst>
                  <a:gd name="T0" fmla="*/ 0 w 24"/>
                  <a:gd name="T1" fmla="*/ 0 h 37"/>
                  <a:gd name="T2" fmla="*/ 0 w 24"/>
                  <a:gd name="T3" fmla="*/ 0 h 37"/>
                  <a:gd name="T4" fmla="*/ 0 w 24"/>
                  <a:gd name="T5" fmla="*/ 0 h 37"/>
                  <a:gd name="T6" fmla="*/ 0 w 24"/>
                  <a:gd name="T7" fmla="*/ 0 h 37"/>
                  <a:gd name="T8" fmla="*/ 0 w 24"/>
                  <a:gd name="T9" fmla="*/ 0 h 37"/>
                  <a:gd name="T10" fmla="*/ 0 w 24"/>
                  <a:gd name="T11" fmla="*/ 0 h 37"/>
                  <a:gd name="T12" fmla="*/ 0 w 24"/>
                  <a:gd name="T13" fmla="*/ 0 h 37"/>
                  <a:gd name="T14" fmla="*/ 0 w 24"/>
                  <a:gd name="T15" fmla="*/ 0 h 37"/>
                  <a:gd name="T16" fmla="*/ 0 w 24"/>
                  <a:gd name="T17" fmla="*/ 0 h 37"/>
                  <a:gd name="T18" fmla="*/ 0 w 24"/>
                  <a:gd name="T19" fmla="*/ 0 h 37"/>
                  <a:gd name="T20" fmla="*/ 0 w 24"/>
                  <a:gd name="T21" fmla="*/ 0 h 37"/>
                  <a:gd name="T22" fmla="*/ 0 w 24"/>
                  <a:gd name="T23" fmla="*/ 0 h 37"/>
                  <a:gd name="T24" fmla="*/ 0 w 24"/>
                  <a:gd name="T25" fmla="*/ 0 h 37"/>
                  <a:gd name="T26" fmla="*/ 0 w 24"/>
                  <a:gd name="T27" fmla="*/ 0 h 37"/>
                  <a:gd name="T28" fmla="*/ 0 w 24"/>
                  <a:gd name="T29" fmla="*/ 0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4"/>
                  <a:gd name="T46" fmla="*/ 0 h 37"/>
                  <a:gd name="T47" fmla="*/ 24 w 24"/>
                  <a:gd name="T48" fmla="*/ 37 h 3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94" name="Freeform 633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0 w 34"/>
                  <a:gd name="T1" fmla="*/ 0 h 55"/>
                  <a:gd name="T2" fmla="*/ 0 w 34"/>
                  <a:gd name="T3" fmla="*/ 0 h 55"/>
                  <a:gd name="T4" fmla="*/ 0 w 34"/>
                  <a:gd name="T5" fmla="*/ 0 h 55"/>
                  <a:gd name="T6" fmla="*/ 0 w 34"/>
                  <a:gd name="T7" fmla="*/ 0 h 55"/>
                  <a:gd name="T8" fmla="*/ 0 w 34"/>
                  <a:gd name="T9" fmla="*/ 0 h 55"/>
                  <a:gd name="T10" fmla="*/ 0 w 34"/>
                  <a:gd name="T11" fmla="*/ 0 h 55"/>
                  <a:gd name="T12" fmla="*/ 0 w 34"/>
                  <a:gd name="T13" fmla="*/ 0 h 55"/>
                  <a:gd name="T14" fmla="*/ 0 w 34"/>
                  <a:gd name="T15" fmla="*/ 0 h 55"/>
                  <a:gd name="T16" fmla="*/ 0 w 34"/>
                  <a:gd name="T17" fmla="*/ 0 h 55"/>
                  <a:gd name="T18" fmla="*/ 0 w 34"/>
                  <a:gd name="T19" fmla="*/ 0 h 55"/>
                  <a:gd name="T20" fmla="*/ 0 w 34"/>
                  <a:gd name="T21" fmla="*/ 0 h 55"/>
                  <a:gd name="T22" fmla="*/ 0 w 34"/>
                  <a:gd name="T23" fmla="*/ 0 h 55"/>
                  <a:gd name="T24" fmla="*/ 0 w 34"/>
                  <a:gd name="T25" fmla="*/ 0 h 55"/>
                  <a:gd name="T26" fmla="*/ 0 w 34"/>
                  <a:gd name="T27" fmla="*/ 0 h 55"/>
                  <a:gd name="T28" fmla="*/ 0 w 34"/>
                  <a:gd name="T29" fmla="*/ 0 h 55"/>
                  <a:gd name="T30" fmla="*/ 0 w 34"/>
                  <a:gd name="T31" fmla="*/ 0 h 55"/>
                  <a:gd name="T32" fmla="*/ 0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4"/>
                  <a:gd name="T52" fmla="*/ 0 h 55"/>
                  <a:gd name="T53" fmla="*/ 34 w 34"/>
                  <a:gd name="T54" fmla="*/ 55 h 5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95" name="Freeform 634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0 w 33"/>
                  <a:gd name="T3" fmla="*/ 0 h 12"/>
                  <a:gd name="T4" fmla="*/ 0 w 33"/>
                  <a:gd name="T5" fmla="*/ 0 h 12"/>
                  <a:gd name="T6" fmla="*/ 0 w 33"/>
                  <a:gd name="T7" fmla="*/ 0 h 12"/>
                  <a:gd name="T8" fmla="*/ 0 w 33"/>
                  <a:gd name="T9" fmla="*/ 0 h 12"/>
                  <a:gd name="T10" fmla="*/ 0 w 33"/>
                  <a:gd name="T11" fmla="*/ 0 h 12"/>
                  <a:gd name="T12" fmla="*/ 0 w 33"/>
                  <a:gd name="T13" fmla="*/ 0 h 12"/>
                  <a:gd name="T14" fmla="*/ 0 w 33"/>
                  <a:gd name="T15" fmla="*/ 0 h 12"/>
                  <a:gd name="T16" fmla="*/ 0 w 33"/>
                  <a:gd name="T17" fmla="*/ 0 h 12"/>
                  <a:gd name="T18" fmla="*/ 0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3"/>
                  <a:gd name="T34" fmla="*/ 0 h 12"/>
                  <a:gd name="T35" fmla="*/ 33 w 33"/>
                  <a:gd name="T36" fmla="*/ 12 h 1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</p:grpSp>
        <p:sp>
          <p:nvSpPr>
            <p:cNvPr id="18504" name="Freeform 635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5395" y="2674"/>
              <a:ext cx="9" cy="36"/>
            </a:xfrm>
            <a:custGeom>
              <a:avLst/>
              <a:gdLst>
                <a:gd name="T0" fmla="*/ 0 w 33"/>
                <a:gd name="T1" fmla="*/ 1 h 62"/>
                <a:gd name="T2" fmla="*/ 0 w 33"/>
                <a:gd name="T3" fmla="*/ 1 h 62"/>
                <a:gd name="T4" fmla="*/ 0 w 33"/>
                <a:gd name="T5" fmla="*/ 1 h 62"/>
                <a:gd name="T6" fmla="*/ 0 w 33"/>
                <a:gd name="T7" fmla="*/ 1 h 62"/>
                <a:gd name="T8" fmla="*/ 0 w 33"/>
                <a:gd name="T9" fmla="*/ 1 h 62"/>
                <a:gd name="T10" fmla="*/ 0 w 33"/>
                <a:gd name="T11" fmla="*/ 1 h 62"/>
                <a:gd name="T12" fmla="*/ 0 w 33"/>
                <a:gd name="T13" fmla="*/ 1 h 62"/>
                <a:gd name="T14" fmla="*/ 0 w 33"/>
                <a:gd name="T15" fmla="*/ 1 h 62"/>
                <a:gd name="T16" fmla="*/ 0 w 33"/>
                <a:gd name="T17" fmla="*/ 1 h 62"/>
                <a:gd name="T18" fmla="*/ 0 w 33"/>
                <a:gd name="T19" fmla="*/ 1 h 62"/>
                <a:gd name="T20" fmla="*/ 0 w 33"/>
                <a:gd name="T21" fmla="*/ 0 h 62"/>
                <a:gd name="T22" fmla="*/ 0 w 33"/>
                <a:gd name="T23" fmla="*/ 1 h 62"/>
                <a:gd name="T24" fmla="*/ 0 w 33"/>
                <a:gd name="T25" fmla="*/ 1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62"/>
                <a:gd name="T41" fmla="*/ 33 w 33"/>
                <a:gd name="T42" fmla="*/ 62 h 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05" name="Freeform 636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5402" y="2731"/>
              <a:ext cx="6" cy="37"/>
            </a:xfrm>
            <a:custGeom>
              <a:avLst/>
              <a:gdLst>
                <a:gd name="T0" fmla="*/ 0 w 26"/>
                <a:gd name="T1" fmla="*/ 32622746 h 18"/>
                <a:gd name="T2" fmla="*/ 0 w 26"/>
                <a:gd name="T3" fmla="*/ 0 h 18"/>
                <a:gd name="T4" fmla="*/ 0 w 26"/>
                <a:gd name="T5" fmla="*/ 0 h 18"/>
                <a:gd name="T6" fmla="*/ 0 w 26"/>
                <a:gd name="T7" fmla="*/ 21954089 h 18"/>
                <a:gd name="T8" fmla="*/ 0 w 26"/>
                <a:gd name="T9" fmla="*/ 1068037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8"/>
                <a:gd name="T17" fmla="*/ 26 w 26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06" name="Freeform 637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5480" y="2674"/>
              <a:ext cx="53" cy="82"/>
            </a:xfrm>
            <a:custGeom>
              <a:avLst/>
              <a:gdLst>
                <a:gd name="T0" fmla="*/ 0 w 180"/>
                <a:gd name="T1" fmla="*/ 0 h 240"/>
                <a:gd name="T2" fmla="*/ 0 w 180"/>
                <a:gd name="T3" fmla="*/ 0 h 240"/>
                <a:gd name="T4" fmla="*/ 0 w 180"/>
                <a:gd name="T5" fmla="*/ 0 h 240"/>
                <a:gd name="T6" fmla="*/ 0 w 180"/>
                <a:gd name="T7" fmla="*/ 0 h 240"/>
                <a:gd name="T8" fmla="*/ 0 w 180"/>
                <a:gd name="T9" fmla="*/ 0 h 240"/>
                <a:gd name="T10" fmla="*/ 0 w 180"/>
                <a:gd name="T11" fmla="*/ 0 h 240"/>
                <a:gd name="T12" fmla="*/ 0 w 180"/>
                <a:gd name="T13" fmla="*/ 0 h 240"/>
                <a:gd name="T14" fmla="*/ 0 w 180"/>
                <a:gd name="T15" fmla="*/ 0 h 240"/>
                <a:gd name="T16" fmla="*/ 0 w 180"/>
                <a:gd name="T17" fmla="*/ 0 h 240"/>
                <a:gd name="T18" fmla="*/ 0 w 180"/>
                <a:gd name="T19" fmla="*/ 0 h 240"/>
                <a:gd name="T20" fmla="*/ 0 w 180"/>
                <a:gd name="T21" fmla="*/ 0 h 240"/>
                <a:gd name="T22" fmla="*/ 0 w 180"/>
                <a:gd name="T23" fmla="*/ 0 h 240"/>
                <a:gd name="T24" fmla="*/ 0 w 180"/>
                <a:gd name="T25" fmla="*/ 0 h 240"/>
                <a:gd name="T26" fmla="*/ 0 w 180"/>
                <a:gd name="T27" fmla="*/ 0 h 240"/>
                <a:gd name="T28" fmla="*/ 0 w 180"/>
                <a:gd name="T29" fmla="*/ 0 h 240"/>
                <a:gd name="T30" fmla="*/ 0 w 180"/>
                <a:gd name="T31" fmla="*/ 0 h 240"/>
                <a:gd name="T32" fmla="*/ 0 w 180"/>
                <a:gd name="T33" fmla="*/ 0 h 240"/>
                <a:gd name="T34" fmla="*/ 0 w 180"/>
                <a:gd name="T35" fmla="*/ 0 h 240"/>
                <a:gd name="T36" fmla="*/ 0 w 180"/>
                <a:gd name="T37" fmla="*/ 0 h 240"/>
                <a:gd name="T38" fmla="*/ 0 w 180"/>
                <a:gd name="T39" fmla="*/ 0 h 240"/>
                <a:gd name="T40" fmla="*/ 0 w 180"/>
                <a:gd name="T41" fmla="*/ 0 h 240"/>
                <a:gd name="T42" fmla="*/ 0 w 180"/>
                <a:gd name="T43" fmla="*/ 0 h 240"/>
                <a:gd name="T44" fmla="*/ 0 w 180"/>
                <a:gd name="T45" fmla="*/ 0 h 240"/>
                <a:gd name="T46" fmla="*/ 0 w 180"/>
                <a:gd name="T47" fmla="*/ 0 h 240"/>
                <a:gd name="T48" fmla="*/ 0 w 180"/>
                <a:gd name="T49" fmla="*/ 0 h 240"/>
                <a:gd name="T50" fmla="*/ 0 w 180"/>
                <a:gd name="T51" fmla="*/ 0 h 240"/>
                <a:gd name="T52" fmla="*/ 0 w 180"/>
                <a:gd name="T53" fmla="*/ 0 h 240"/>
                <a:gd name="T54" fmla="*/ 0 w 180"/>
                <a:gd name="T55" fmla="*/ 0 h 240"/>
                <a:gd name="T56" fmla="*/ 0 w 180"/>
                <a:gd name="T57" fmla="*/ 0 h 240"/>
                <a:gd name="T58" fmla="*/ 0 w 180"/>
                <a:gd name="T59" fmla="*/ 0 h 240"/>
                <a:gd name="T60" fmla="*/ 0 w 180"/>
                <a:gd name="T61" fmla="*/ 0 h 240"/>
                <a:gd name="T62" fmla="*/ 0 w 180"/>
                <a:gd name="T63" fmla="*/ 0 h 240"/>
                <a:gd name="T64" fmla="*/ 0 w 180"/>
                <a:gd name="T65" fmla="*/ 0 h 240"/>
                <a:gd name="T66" fmla="*/ 0 w 180"/>
                <a:gd name="T67" fmla="*/ 0 h 240"/>
                <a:gd name="T68" fmla="*/ 0 w 180"/>
                <a:gd name="T69" fmla="*/ 0 h 240"/>
                <a:gd name="T70" fmla="*/ 0 w 180"/>
                <a:gd name="T71" fmla="*/ 0 h 240"/>
                <a:gd name="T72" fmla="*/ 0 w 180"/>
                <a:gd name="T73" fmla="*/ 0 h 240"/>
                <a:gd name="T74" fmla="*/ 0 w 180"/>
                <a:gd name="T75" fmla="*/ 0 h 240"/>
                <a:gd name="T76" fmla="*/ 0 w 180"/>
                <a:gd name="T77" fmla="*/ 0 h 240"/>
                <a:gd name="T78" fmla="*/ 0 w 180"/>
                <a:gd name="T79" fmla="*/ 0 h 240"/>
                <a:gd name="T80" fmla="*/ 0 w 180"/>
                <a:gd name="T81" fmla="*/ 0 h 240"/>
                <a:gd name="T82" fmla="*/ 0 w 180"/>
                <a:gd name="T83" fmla="*/ 0 h 240"/>
                <a:gd name="T84" fmla="*/ 0 w 180"/>
                <a:gd name="T85" fmla="*/ 0 h 240"/>
                <a:gd name="T86" fmla="*/ 0 w 180"/>
                <a:gd name="T87" fmla="*/ 0 h 240"/>
                <a:gd name="T88" fmla="*/ 0 w 180"/>
                <a:gd name="T89" fmla="*/ 0 h 240"/>
                <a:gd name="T90" fmla="*/ 0 w 180"/>
                <a:gd name="T91" fmla="*/ 0 h 240"/>
                <a:gd name="T92" fmla="*/ 0 w 180"/>
                <a:gd name="T93" fmla="*/ 0 h 240"/>
                <a:gd name="T94" fmla="*/ 0 w 180"/>
                <a:gd name="T95" fmla="*/ 0 h 240"/>
                <a:gd name="T96" fmla="*/ 0 w 180"/>
                <a:gd name="T97" fmla="*/ 0 h 240"/>
                <a:gd name="T98" fmla="*/ 0 w 180"/>
                <a:gd name="T99" fmla="*/ 0 h 240"/>
                <a:gd name="T100" fmla="*/ 0 w 180"/>
                <a:gd name="T101" fmla="*/ 0 h 240"/>
                <a:gd name="T102" fmla="*/ 0 w 180"/>
                <a:gd name="T103" fmla="*/ 0 h 240"/>
                <a:gd name="T104" fmla="*/ 0 w 180"/>
                <a:gd name="T105" fmla="*/ 0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80"/>
                <a:gd name="T160" fmla="*/ 0 h 240"/>
                <a:gd name="T161" fmla="*/ 180 w 180"/>
                <a:gd name="T162" fmla="*/ 240 h 2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07" name="Freeform 638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5480" y="2657"/>
              <a:ext cx="9" cy="36"/>
            </a:xfrm>
            <a:custGeom>
              <a:avLst/>
              <a:gdLst>
                <a:gd name="T0" fmla="*/ 0 w 27"/>
                <a:gd name="T1" fmla="*/ 0 h 30"/>
                <a:gd name="T2" fmla="*/ 0 w 27"/>
                <a:gd name="T3" fmla="*/ 179 h 30"/>
                <a:gd name="T4" fmla="*/ 0 w 27"/>
                <a:gd name="T5" fmla="*/ 434 h 30"/>
                <a:gd name="T6" fmla="*/ 0 w 27"/>
                <a:gd name="T7" fmla="*/ 535 h 30"/>
                <a:gd name="T8" fmla="*/ 0 w 27"/>
                <a:gd name="T9" fmla="*/ 750 h 30"/>
                <a:gd name="T10" fmla="*/ 0 w 27"/>
                <a:gd name="T11" fmla="*/ 924 h 30"/>
                <a:gd name="T12" fmla="*/ 0 w 27"/>
                <a:gd name="T13" fmla="*/ 1144 h 30"/>
                <a:gd name="T14" fmla="*/ 0 w 27"/>
                <a:gd name="T15" fmla="*/ 1016 h 30"/>
                <a:gd name="T16" fmla="*/ 0 w 27"/>
                <a:gd name="T17" fmla="*/ 924 h 30"/>
                <a:gd name="T18" fmla="*/ 0 w 27"/>
                <a:gd name="T19" fmla="*/ 770 h 30"/>
                <a:gd name="T20" fmla="*/ 0 w 27"/>
                <a:gd name="T21" fmla="*/ 446 h 30"/>
                <a:gd name="T22" fmla="*/ 0 w 27"/>
                <a:gd name="T23" fmla="*/ 310 h 30"/>
                <a:gd name="T24" fmla="*/ 0 w 27"/>
                <a:gd name="T25" fmla="*/ 149 h 30"/>
                <a:gd name="T26" fmla="*/ 0 w 27"/>
                <a:gd name="T27" fmla="*/ 1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7"/>
                <a:gd name="T46" fmla="*/ 0 h 30"/>
                <a:gd name="T47" fmla="*/ 27 w 27"/>
                <a:gd name="T48" fmla="*/ 30 h 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grpSp>
          <p:nvGrpSpPr>
            <p:cNvPr id="6" name="Group 639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5268" y="2985"/>
              <a:ext cx="313" cy="255"/>
              <a:chOff x="5372" y="3323"/>
              <a:chExt cx="341" cy="253"/>
            </a:xfrm>
            <a:grpFill/>
          </p:grpSpPr>
          <p:sp>
            <p:nvSpPr>
              <p:cNvPr id="18983" name="Freeform 640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0 h 33"/>
                  <a:gd name="T2" fmla="*/ 0 w 53"/>
                  <a:gd name="T3" fmla="*/ 0 h 33"/>
                  <a:gd name="T4" fmla="*/ 0 w 53"/>
                  <a:gd name="T5" fmla="*/ 0 h 33"/>
                  <a:gd name="T6" fmla="*/ 0 w 53"/>
                  <a:gd name="T7" fmla="*/ 0 h 33"/>
                  <a:gd name="T8" fmla="*/ 0 w 53"/>
                  <a:gd name="T9" fmla="*/ 0 h 33"/>
                  <a:gd name="T10" fmla="*/ 0 w 53"/>
                  <a:gd name="T11" fmla="*/ 0 h 33"/>
                  <a:gd name="T12" fmla="*/ 0 w 53"/>
                  <a:gd name="T13" fmla="*/ 0 h 33"/>
                  <a:gd name="T14" fmla="*/ 0 w 53"/>
                  <a:gd name="T15" fmla="*/ 0 h 33"/>
                  <a:gd name="T16" fmla="*/ 0 w 53"/>
                  <a:gd name="T17" fmla="*/ 0 h 33"/>
                  <a:gd name="T18" fmla="*/ 0 w 53"/>
                  <a:gd name="T19" fmla="*/ 0 h 33"/>
                  <a:gd name="T20" fmla="*/ 0 w 53"/>
                  <a:gd name="T21" fmla="*/ 0 h 33"/>
                  <a:gd name="T22" fmla="*/ 0 w 53"/>
                  <a:gd name="T23" fmla="*/ 0 h 33"/>
                  <a:gd name="T24" fmla="*/ 0 w 53"/>
                  <a:gd name="T25" fmla="*/ 0 h 33"/>
                  <a:gd name="T26" fmla="*/ 0 w 53"/>
                  <a:gd name="T27" fmla="*/ 0 h 33"/>
                  <a:gd name="T28" fmla="*/ 0 w 53"/>
                  <a:gd name="T29" fmla="*/ 0 h 33"/>
                  <a:gd name="T30" fmla="*/ 0 w 53"/>
                  <a:gd name="T31" fmla="*/ 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3"/>
                  <a:gd name="T49" fmla="*/ 0 h 33"/>
                  <a:gd name="T50" fmla="*/ 53 w 53"/>
                  <a:gd name="T51" fmla="*/ 33 h 3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84" name="Freeform 641"/>
              <p:cNvSpPr>
                <a:spLocks/>
              </p:cNvSpPr>
              <p:nvPr/>
            </p:nvSpPr>
            <p:spPr bwMode="auto">
              <a:xfrm>
                <a:off x="5379" y="3446"/>
                <a:ext cx="207" cy="117"/>
              </a:xfrm>
              <a:custGeom>
                <a:avLst/>
                <a:gdLst>
                  <a:gd name="T0" fmla="*/ 0 w 631"/>
                  <a:gd name="T1" fmla="*/ 0 h 358"/>
                  <a:gd name="T2" fmla="*/ 0 w 631"/>
                  <a:gd name="T3" fmla="*/ 0 h 358"/>
                  <a:gd name="T4" fmla="*/ 0 w 631"/>
                  <a:gd name="T5" fmla="*/ 0 h 358"/>
                  <a:gd name="T6" fmla="*/ 0 w 631"/>
                  <a:gd name="T7" fmla="*/ 0 h 358"/>
                  <a:gd name="T8" fmla="*/ 0 w 631"/>
                  <a:gd name="T9" fmla="*/ 0 h 358"/>
                  <a:gd name="T10" fmla="*/ 0 w 631"/>
                  <a:gd name="T11" fmla="*/ 0 h 358"/>
                  <a:gd name="T12" fmla="*/ 0 w 631"/>
                  <a:gd name="T13" fmla="*/ 0 h 358"/>
                  <a:gd name="T14" fmla="*/ 0 w 631"/>
                  <a:gd name="T15" fmla="*/ 0 h 358"/>
                  <a:gd name="T16" fmla="*/ 0 w 631"/>
                  <a:gd name="T17" fmla="*/ 0 h 358"/>
                  <a:gd name="T18" fmla="*/ 0 w 631"/>
                  <a:gd name="T19" fmla="*/ 0 h 358"/>
                  <a:gd name="T20" fmla="*/ 0 w 631"/>
                  <a:gd name="T21" fmla="*/ 0 h 358"/>
                  <a:gd name="T22" fmla="*/ 0 w 631"/>
                  <a:gd name="T23" fmla="*/ 0 h 358"/>
                  <a:gd name="T24" fmla="*/ 0 w 631"/>
                  <a:gd name="T25" fmla="*/ 0 h 358"/>
                  <a:gd name="T26" fmla="*/ 0 w 631"/>
                  <a:gd name="T27" fmla="*/ 0 h 358"/>
                  <a:gd name="T28" fmla="*/ 0 w 631"/>
                  <a:gd name="T29" fmla="*/ 0 h 358"/>
                  <a:gd name="T30" fmla="*/ 0 w 631"/>
                  <a:gd name="T31" fmla="*/ 0 h 358"/>
                  <a:gd name="T32" fmla="*/ 0 w 631"/>
                  <a:gd name="T33" fmla="*/ 0 h 358"/>
                  <a:gd name="T34" fmla="*/ 0 w 631"/>
                  <a:gd name="T35" fmla="*/ 0 h 358"/>
                  <a:gd name="T36" fmla="*/ 0 w 631"/>
                  <a:gd name="T37" fmla="*/ 0 h 358"/>
                  <a:gd name="T38" fmla="*/ 0 w 631"/>
                  <a:gd name="T39" fmla="*/ 0 h 358"/>
                  <a:gd name="T40" fmla="*/ 0 w 631"/>
                  <a:gd name="T41" fmla="*/ 0 h 358"/>
                  <a:gd name="T42" fmla="*/ 0 w 631"/>
                  <a:gd name="T43" fmla="*/ 0 h 358"/>
                  <a:gd name="T44" fmla="*/ 0 w 631"/>
                  <a:gd name="T45" fmla="*/ 0 h 358"/>
                  <a:gd name="T46" fmla="*/ 0 w 631"/>
                  <a:gd name="T47" fmla="*/ 0 h 358"/>
                  <a:gd name="T48" fmla="*/ 0 w 631"/>
                  <a:gd name="T49" fmla="*/ 0 h 358"/>
                  <a:gd name="T50" fmla="*/ 0 w 631"/>
                  <a:gd name="T51" fmla="*/ 0 h 358"/>
                  <a:gd name="T52" fmla="*/ 0 w 631"/>
                  <a:gd name="T53" fmla="*/ 0 h 358"/>
                  <a:gd name="T54" fmla="*/ 0 w 631"/>
                  <a:gd name="T55" fmla="*/ 0 h 358"/>
                  <a:gd name="T56" fmla="*/ 0 w 631"/>
                  <a:gd name="T57" fmla="*/ 0 h 358"/>
                  <a:gd name="T58" fmla="*/ 0 w 631"/>
                  <a:gd name="T59" fmla="*/ 0 h 358"/>
                  <a:gd name="T60" fmla="*/ 0 w 631"/>
                  <a:gd name="T61" fmla="*/ 0 h 358"/>
                  <a:gd name="T62" fmla="*/ 0 w 631"/>
                  <a:gd name="T63" fmla="*/ 0 h 358"/>
                  <a:gd name="T64" fmla="*/ 0 w 631"/>
                  <a:gd name="T65" fmla="*/ 0 h 358"/>
                  <a:gd name="T66" fmla="*/ 0 w 631"/>
                  <a:gd name="T67" fmla="*/ 0 h 358"/>
                  <a:gd name="T68" fmla="*/ 0 w 631"/>
                  <a:gd name="T69" fmla="*/ 0 h 358"/>
                  <a:gd name="T70" fmla="*/ 0 w 631"/>
                  <a:gd name="T71" fmla="*/ 0 h 358"/>
                  <a:gd name="T72" fmla="*/ 0 w 631"/>
                  <a:gd name="T73" fmla="*/ 0 h 358"/>
                  <a:gd name="T74" fmla="*/ 0 w 631"/>
                  <a:gd name="T75" fmla="*/ 0 h 358"/>
                  <a:gd name="T76" fmla="*/ 0 w 631"/>
                  <a:gd name="T77" fmla="*/ 0 h 358"/>
                  <a:gd name="T78" fmla="*/ 0 w 631"/>
                  <a:gd name="T79" fmla="*/ 0 h 358"/>
                  <a:gd name="T80" fmla="*/ 0 w 631"/>
                  <a:gd name="T81" fmla="*/ 0 h 358"/>
                  <a:gd name="T82" fmla="*/ 0 w 631"/>
                  <a:gd name="T83" fmla="*/ 0 h 358"/>
                  <a:gd name="T84" fmla="*/ 0 w 631"/>
                  <a:gd name="T85" fmla="*/ 0 h 358"/>
                  <a:gd name="T86" fmla="*/ 0 w 631"/>
                  <a:gd name="T87" fmla="*/ 0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631"/>
                  <a:gd name="T133" fmla="*/ 0 h 358"/>
                  <a:gd name="T134" fmla="*/ 631 w 631"/>
                  <a:gd name="T135" fmla="*/ 358 h 35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85" name="Freeform 642"/>
              <p:cNvSpPr>
                <a:spLocks/>
              </p:cNvSpPr>
              <p:nvPr/>
            </p:nvSpPr>
            <p:spPr bwMode="auto">
              <a:xfrm>
                <a:off x="5598" y="3323"/>
                <a:ext cx="115" cy="141"/>
              </a:xfrm>
              <a:custGeom>
                <a:avLst/>
                <a:gdLst>
                  <a:gd name="T0" fmla="*/ 0 w 359"/>
                  <a:gd name="T1" fmla="*/ 0 h 431"/>
                  <a:gd name="T2" fmla="*/ 0 w 359"/>
                  <a:gd name="T3" fmla="*/ 0 h 431"/>
                  <a:gd name="T4" fmla="*/ 0 w 359"/>
                  <a:gd name="T5" fmla="*/ 0 h 431"/>
                  <a:gd name="T6" fmla="*/ 0 w 359"/>
                  <a:gd name="T7" fmla="*/ 0 h 431"/>
                  <a:gd name="T8" fmla="*/ 0 w 359"/>
                  <a:gd name="T9" fmla="*/ 0 h 431"/>
                  <a:gd name="T10" fmla="*/ 0 w 359"/>
                  <a:gd name="T11" fmla="*/ 0 h 431"/>
                  <a:gd name="T12" fmla="*/ 0 w 359"/>
                  <a:gd name="T13" fmla="*/ 0 h 431"/>
                  <a:gd name="T14" fmla="*/ 0 w 359"/>
                  <a:gd name="T15" fmla="*/ 0 h 431"/>
                  <a:gd name="T16" fmla="*/ 0 w 359"/>
                  <a:gd name="T17" fmla="*/ 0 h 431"/>
                  <a:gd name="T18" fmla="*/ 0 w 359"/>
                  <a:gd name="T19" fmla="*/ 0 h 431"/>
                  <a:gd name="T20" fmla="*/ 0 w 359"/>
                  <a:gd name="T21" fmla="*/ 0 h 431"/>
                  <a:gd name="T22" fmla="*/ 0 w 359"/>
                  <a:gd name="T23" fmla="*/ 0 h 431"/>
                  <a:gd name="T24" fmla="*/ 0 w 359"/>
                  <a:gd name="T25" fmla="*/ 0 h 431"/>
                  <a:gd name="T26" fmla="*/ 0 w 359"/>
                  <a:gd name="T27" fmla="*/ 0 h 431"/>
                  <a:gd name="T28" fmla="*/ 0 w 359"/>
                  <a:gd name="T29" fmla="*/ 0 h 431"/>
                  <a:gd name="T30" fmla="*/ 0 w 359"/>
                  <a:gd name="T31" fmla="*/ 0 h 431"/>
                  <a:gd name="T32" fmla="*/ 0 w 359"/>
                  <a:gd name="T33" fmla="*/ 0 h 431"/>
                  <a:gd name="T34" fmla="*/ 0 w 359"/>
                  <a:gd name="T35" fmla="*/ 0 h 431"/>
                  <a:gd name="T36" fmla="*/ 0 w 359"/>
                  <a:gd name="T37" fmla="*/ 0 h 431"/>
                  <a:gd name="T38" fmla="*/ 0 w 359"/>
                  <a:gd name="T39" fmla="*/ 0 h 431"/>
                  <a:gd name="T40" fmla="*/ 0 w 359"/>
                  <a:gd name="T41" fmla="*/ 0 h 431"/>
                  <a:gd name="T42" fmla="*/ 0 w 359"/>
                  <a:gd name="T43" fmla="*/ 0 h 431"/>
                  <a:gd name="T44" fmla="*/ 0 w 359"/>
                  <a:gd name="T45" fmla="*/ 0 h 431"/>
                  <a:gd name="T46" fmla="*/ 0 w 359"/>
                  <a:gd name="T47" fmla="*/ 0 h 431"/>
                  <a:gd name="T48" fmla="*/ 0 w 359"/>
                  <a:gd name="T49" fmla="*/ 0 h 431"/>
                  <a:gd name="T50" fmla="*/ 0 w 359"/>
                  <a:gd name="T51" fmla="*/ 0 h 431"/>
                  <a:gd name="T52" fmla="*/ 0 w 359"/>
                  <a:gd name="T53" fmla="*/ 0 h 431"/>
                  <a:gd name="T54" fmla="*/ 0 w 359"/>
                  <a:gd name="T55" fmla="*/ 0 h 431"/>
                  <a:gd name="T56" fmla="*/ 0 w 359"/>
                  <a:gd name="T57" fmla="*/ 0 h 431"/>
                  <a:gd name="T58" fmla="*/ 0 w 359"/>
                  <a:gd name="T59" fmla="*/ 0 h 431"/>
                  <a:gd name="T60" fmla="*/ 0 w 359"/>
                  <a:gd name="T61" fmla="*/ 0 h 431"/>
                  <a:gd name="T62" fmla="*/ 0 w 359"/>
                  <a:gd name="T63" fmla="*/ 0 h 431"/>
                  <a:gd name="T64" fmla="*/ 0 w 359"/>
                  <a:gd name="T65" fmla="*/ 0 h 431"/>
                  <a:gd name="T66" fmla="*/ 0 w 359"/>
                  <a:gd name="T67" fmla="*/ 0 h 431"/>
                  <a:gd name="T68" fmla="*/ 0 w 359"/>
                  <a:gd name="T69" fmla="*/ 0 h 431"/>
                  <a:gd name="T70" fmla="*/ 0 w 359"/>
                  <a:gd name="T71" fmla="*/ 0 h 431"/>
                  <a:gd name="T72" fmla="*/ 0 w 359"/>
                  <a:gd name="T73" fmla="*/ 0 h 431"/>
                  <a:gd name="T74" fmla="*/ 0 w 359"/>
                  <a:gd name="T75" fmla="*/ 0 h 431"/>
                  <a:gd name="T76" fmla="*/ 0 w 359"/>
                  <a:gd name="T77" fmla="*/ 0 h 431"/>
                  <a:gd name="T78" fmla="*/ 0 w 359"/>
                  <a:gd name="T79" fmla="*/ 0 h 431"/>
                  <a:gd name="T80" fmla="*/ 0 w 359"/>
                  <a:gd name="T81" fmla="*/ 0 h 431"/>
                  <a:gd name="T82" fmla="*/ 0 w 359"/>
                  <a:gd name="T83" fmla="*/ 0 h 431"/>
                  <a:gd name="T84" fmla="*/ 0 w 359"/>
                  <a:gd name="T85" fmla="*/ 0 h 431"/>
                  <a:gd name="T86" fmla="*/ 0 w 359"/>
                  <a:gd name="T87" fmla="*/ 0 h 431"/>
                  <a:gd name="T88" fmla="*/ 0 w 359"/>
                  <a:gd name="T89" fmla="*/ 0 h 431"/>
                  <a:gd name="T90" fmla="*/ 0 w 359"/>
                  <a:gd name="T91" fmla="*/ 0 h 431"/>
                  <a:gd name="T92" fmla="*/ 0 w 359"/>
                  <a:gd name="T93" fmla="*/ 0 h 431"/>
                  <a:gd name="T94" fmla="*/ 0 w 359"/>
                  <a:gd name="T95" fmla="*/ 0 h 431"/>
                  <a:gd name="T96" fmla="*/ 0 w 359"/>
                  <a:gd name="T97" fmla="*/ 0 h 431"/>
                  <a:gd name="T98" fmla="*/ 0 w 359"/>
                  <a:gd name="T99" fmla="*/ 0 h 431"/>
                  <a:gd name="T100" fmla="*/ 0 w 359"/>
                  <a:gd name="T101" fmla="*/ 0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59"/>
                  <a:gd name="T154" fmla="*/ 0 h 431"/>
                  <a:gd name="T155" fmla="*/ 359 w 359"/>
                  <a:gd name="T156" fmla="*/ 431 h 43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</p:grpSp>
        <p:sp>
          <p:nvSpPr>
            <p:cNvPr id="18509" name="Freeform 643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5025" y="2139"/>
              <a:ext cx="6" cy="36"/>
            </a:xfrm>
            <a:custGeom>
              <a:avLst/>
              <a:gdLst>
                <a:gd name="T0" fmla="*/ 0 w 21"/>
                <a:gd name="T1" fmla="*/ 1 h 62"/>
                <a:gd name="T2" fmla="*/ 0 w 21"/>
                <a:gd name="T3" fmla="*/ 1 h 62"/>
                <a:gd name="T4" fmla="*/ 0 w 21"/>
                <a:gd name="T5" fmla="*/ 1 h 62"/>
                <a:gd name="T6" fmla="*/ 0 w 21"/>
                <a:gd name="T7" fmla="*/ 1 h 62"/>
                <a:gd name="T8" fmla="*/ 0 w 21"/>
                <a:gd name="T9" fmla="*/ 1 h 62"/>
                <a:gd name="T10" fmla="*/ 0 w 21"/>
                <a:gd name="T11" fmla="*/ 1 h 62"/>
                <a:gd name="T12" fmla="*/ 0 w 21"/>
                <a:gd name="T13" fmla="*/ 0 h 62"/>
                <a:gd name="T14" fmla="*/ 0 w 21"/>
                <a:gd name="T15" fmla="*/ 1 h 62"/>
                <a:gd name="T16" fmla="*/ 0 w 21"/>
                <a:gd name="T17" fmla="*/ 1 h 62"/>
                <a:gd name="T18" fmla="*/ 0 w 21"/>
                <a:gd name="T19" fmla="*/ 1 h 62"/>
                <a:gd name="T20" fmla="*/ 0 w 21"/>
                <a:gd name="T21" fmla="*/ 1 h 62"/>
                <a:gd name="T22" fmla="*/ 0 w 21"/>
                <a:gd name="T23" fmla="*/ 1 h 62"/>
                <a:gd name="T24" fmla="*/ 0 w 21"/>
                <a:gd name="T25" fmla="*/ 1 h 62"/>
                <a:gd name="T26" fmla="*/ 0 w 21"/>
                <a:gd name="T27" fmla="*/ 1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62"/>
                <a:gd name="T44" fmla="*/ 21 w 21"/>
                <a:gd name="T45" fmla="*/ 62 h 6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10" name="Freeform 644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5521" y="2707"/>
              <a:ext cx="9" cy="36"/>
            </a:xfrm>
            <a:custGeom>
              <a:avLst/>
              <a:gdLst>
                <a:gd name="T0" fmla="*/ 0 w 33"/>
                <a:gd name="T1" fmla="*/ 0 h 24"/>
                <a:gd name="T2" fmla="*/ 0 w 33"/>
                <a:gd name="T3" fmla="*/ 17528 h 24"/>
                <a:gd name="T4" fmla="*/ 0 w 33"/>
                <a:gd name="T5" fmla="*/ 32988 h 24"/>
                <a:gd name="T6" fmla="*/ 0 w 33"/>
                <a:gd name="T7" fmla="*/ 42978 h 24"/>
                <a:gd name="T8" fmla="*/ 0 w 33"/>
                <a:gd name="T9" fmla="*/ 53562 h 24"/>
                <a:gd name="T10" fmla="*/ 0 w 33"/>
                <a:gd name="T11" fmla="*/ 67202 h 24"/>
                <a:gd name="T12" fmla="*/ 0 w 33"/>
                <a:gd name="T13" fmla="*/ 80337 h 24"/>
                <a:gd name="T14" fmla="*/ 0 w 33"/>
                <a:gd name="T15" fmla="*/ 0 h 24"/>
                <a:gd name="T16" fmla="*/ 0 w 33"/>
                <a:gd name="T17" fmla="*/ 0 h 24"/>
                <a:gd name="T18" fmla="*/ 0 w 33"/>
                <a:gd name="T19" fmla="*/ 0 h 24"/>
                <a:gd name="T20" fmla="*/ 0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24"/>
                <a:gd name="T38" fmla="*/ 33 w 33"/>
                <a:gd name="T39" fmla="*/ 24 h 2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11" name="Freeform 645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5536" y="2713"/>
              <a:ext cx="12" cy="37"/>
            </a:xfrm>
            <a:custGeom>
              <a:avLst/>
              <a:gdLst>
                <a:gd name="T0" fmla="*/ 0 w 33"/>
                <a:gd name="T1" fmla="*/ 63581 h 25"/>
                <a:gd name="T2" fmla="*/ 0 w 33"/>
                <a:gd name="T3" fmla="*/ 57344 h 25"/>
                <a:gd name="T4" fmla="*/ 0 w 33"/>
                <a:gd name="T5" fmla="*/ 46286 h 25"/>
                <a:gd name="T6" fmla="*/ 0 w 33"/>
                <a:gd name="T7" fmla="*/ 0 h 25"/>
                <a:gd name="T8" fmla="*/ 0 w 33"/>
                <a:gd name="T9" fmla="*/ 0 h 25"/>
                <a:gd name="T10" fmla="*/ 0 w 33"/>
                <a:gd name="T11" fmla="*/ 0 h 25"/>
                <a:gd name="T12" fmla="*/ 0 w 33"/>
                <a:gd name="T13" fmla="*/ 0 h 25"/>
                <a:gd name="T14" fmla="*/ 0 w 33"/>
                <a:gd name="T15" fmla="*/ 0 h 25"/>
                <a:gd name="T16" fmla="*/ 0 w 33"/>
                <a:gd name="T17" fmla="*/ 63581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12" name="Freeform 646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5068" y="2132"/>
              <a:ext cx="1" cy="35"/>
            </a:xfrm>
            <a:custGeom>
              <a:avLst/>
              <a:gdLst>
                <a:gd name="T0" fmla="*/ 0 w 7"/>
                <a:gd name="T1" fmla="*/ 0 h 35"/>
                <a:gd name="T2" fmla="*/ 0 w 7"/>
                <a:gd name="T3" fmla="*/ 0 h 35"/>
                <a:gd name="T4" fmla="*/ 0 w 7"/>
                <a:gd name="T5" fmla="*/ 0 h 35"/>
                <a:gd name="T6" fmla="*/ 0 60000 65536"/>
                <a:gd name="T7" fmla="*/ 0 60000 65536"/>
                <a:gd name="T8" fmla="*/ 0 60000 65536"/>
                <a:gd name="T9" fmla="*/ 0 w 7"/>
                <a:gd name="T10" fmla="*/ 0 h 35"/>
                <a:gd name="T11" fmla="*/ 7 w 7"/>
                <a:gd name="T12" fmla="*/ 35 h 3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35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13" name="Freeform 647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5108" y="2097"/>
              <a:ext cx="4" cy="36"/>
            </a:xfrm>
            <a:custGeom>
              <a:avLst/>
              <a:gdLst>
                <a:gd name="T0" fmla="*/ 0 w 16"/>
                <a:gd name="T1" fmla="*/ 0 h 25"/>
                <a:gd name="T2" fmla="*/ 0 w 16"/>
                <a:gd name="T3" fmla="*/ 9256 h 25"/>
                <a:gd name="T4" fmla="*/ 0 w 16"/>
                <a:gd name="T5" fmla="*/ 19194 h 25"/>
                <a:gd name="T6" fmla="*/ 0 w 16"/>
                <a:gd name="T7" fmla="*/ 23610 h 25"/>
                <a:gd name="T8" fmla="*/ 0 w 16"/>
                <a:gd name="T9" fmla="*/ 29591 h 25"/>
                <a:gd name="T10" fmla="*/ 0 w 16"/>
                <a:gd name="T11" fmla="*/ 33998 h 25"/>
                <a:gd name="T12" fmla="*/ 0 w 16"/>
                <a:gd name="T13" fmla="*/ 37107 h 25"/>
                <a:gd name="T14" fmla="*/ 0 w 16"/>
                <a:gd name="T15" fmla="*/ 35628 h 25"/>
                <a:gd name="T16" fmla="*/ 0 w 16"/>
                <a:gd name="T17" fmla="*/ 30354 h 25"/>
                <a:gd name="T18" fmla="*/ 0 w 16"/>
                <a:gd name="T19" fmla="*/ 25849 h 25"/>
                <a:gd name="T20" fmla="*/ 0 w 16"/>
                <a:gd name="T21" fmla="*/ 19194 h 25"/>
                <a:gd name="T22" fmla="*/ 0 w 16"/>
                <a:gd name="T23" fmla="*/ 13329 h 25"/>
                <a:gd name="T24" fmla="*/ 0 w 16"/>
                <a:gd name="T25" fmla="*/ 6428 h 25"/>
                <a:gd name="T26" fmla="*/ 0 w 16"/>
                <a:gd name="T27" fmla="*/ 1 h 25"/>
                <a:gd name="T28" fmla="*/ 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6"/>
                <a:gd name="T46" fmla="*/ 0 h 25"/>
                <a:gd name="T47" fmla="*/ 16 w 16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14" name="Freeform 648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5185" y="2027"/>
              <a:ext cx="3" cy="36"/>
            </a:xfrm>
            <a:custGeom>
              <a:avLst/>
              <a:gdLst>
                <a:gd name="T0" fmla="*/ 0 w 14"/>
                <a:gd name="T1" fmla="*/ 0 h 18"/>
                <a:gd name="T2" fmla="*/ 0 w 14"/>
                <a:gd name="T3" fmla="*/ 1048576 h 18"/>
                <a:gd name="T4" fmla="*/ 0 w 14"/>
                <a:gd name="T5" fmla="*/ 2097152 h 18"/>
                <a:gd name="T6" fmla="*/ 0 w 14"/>
                <a:gd name="T7" fmla="*/ 4194304 h 18"/>
                <a:gd name="T8" fmla="*/ 0 w 14"/>
                <a:gd name="T9" fmla="*/ 7340031 h 18"/>
                <a:gd name="T10" fmla="*/ 0 w 14"/>
                <a:gd name="T11" fmla="*/ 13631486 h 18"/>
                <a:gd name="T12" fmla="*/ 0 w 14"/>
                <a:gd name="T13" fmla="*/ 18874368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18"/>
                <a:gd name="T26" fmla="*/ 14 w 14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15" name="Freeform 649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5289" y="2467"/>
              <a:ext cx="18" cy="37"/>
            </a:xfrm>
            <a:custGeom>
              <a:avLst/>
              <a:gdLst>
                <a:gd name="T0" fmla="*/ 0 w 67"/>
                <a:gd name="T1" fmla="*/ 0 h 74"/>
                <a:gd name="T2" fmla="*/ 0 w 67"/>
                <a:gd name="T3" fmla="*/ 1 h 74"/>
                <a:gd name="T4" fmla="*/ 0 w 67"/>
                <a:gd name="T5" fmla="*/ 1 h 74"/>
                <a:gd name="T6" fmla="*/ 0 w 67"/>
                <a:gd name="T7" fmla="*/ 1 h 74"/>
                <a:gd name="T8" fmla="*/ 0 w 67"/>
                <a:gd name="T9" fmla="*/ 1 h 74"/>
                <a:gd name="T10" fmla="*/ 0 w 67"/>
                <a:gd name="T11" fmla="*/ 1 h 74"/>
                <a:gd name="T12" fmla="*/ 0 w 67"/>
                <a:gd name="T13" fmla="*/ 1 h 74"/>
                <a:gd name="T14" fmla="*/ 0 w 67"/>
                <a:gd name="T15" fmla="*/ 1 h 74"/>
                <a:gd name="T16" fmla="*/ 0 w 67"/>
                <a:gd name="T17" fmla="*/ 1 h 74"/>
                <a:gd name="T18" fmla="*/ 0 w 67"/>
                <a:gd name="T19" fmla="*/ 1 h 74"/>
                <a:gd name="T20" fmla="*/ 0 w 67"/>
                <a:gd name="T21" fmla="*/ 1 h 74"/>
                <a:gd name="T22" fmla="*/ 0 w 67"/>
                <a:gd name="T23" fmla="*/ 1 h 74"/>
                <a:gd name="T24" fmla="*/ 0 w 67"/>
                <a:gd name="T25" fmla="*/ 1 h 74"/>
                <a:gd name="T26" fmla="*/ 0 w 67"/>
                <a:gd name="T27" fmla="*/ 1 h 74"/>
                <a:gd name="T28" fmla="*/ 0 w 67"/>
                <a:gd name="T29" fmla="*/ 1 h 74"/>
                <a:gd name="T30" fmla="*/ 0 w 67"/>
                <a:gd name="T31" fmla="*/ 1 h 74"/>
                <a:gd name="T32" fmla="*/ 0 w 67"/>
                <a:gd name="T33" fmla="*/ 1 h 74"/>
                <a:gd name="T34" fmla="*/ 0 w 67"/>
                <a:gd name="T35" fmla="*/ 1 h 74"/>
                <a:gd name="T36" fmla="*/ 0 w 67"/>
                <a:gd name="T37" fmla="*/ 0 h 74"/>
                <a:gd name="T38" fmla="*/ 0 w 67"/>
                <a:gd name="T39" fmla="*/ 0 h 74"/>
                <a:gd name="T40" fmla="*/ 0 w 67"/>
                <a:gd name="T41" fmla="*/ 0 h 74"/>
                <a:gd name="T42" fmla="*/ 0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7"/>
                <a:gd name="T70" fmla="*/ 0 h 74"/>
                <a:gd name="T71" fmla="*/ 67 w 67"/>
                <a:gd name="T72" fmla="*/ 74 h 7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16" name="Freeform 650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5332" y="2476"/>
              <a:ext cx="9" cy="36"/>
            </a:xfrm>
            <a:custGeom>
              <a:avLst/>
              <a:gdLst>
                <a:gd name="T0" fmla="*/ 0 w 34"/>
                <a:gd name="T1" fmla="*/ 0 h 38"/>
                <a:gd name="T2" fmla="*/ 0 w 34"/>
                <a:gd name="T3" fmla="*/ 3 h 38"/>
                <a:gd name="T4" fmla="*/ 0 w 34"/>
                <a:gd name="T5" fmla="*/ 7 h 38"/>
                <a:gd name="T6" fmla="*/ 0 w 34"/>
                <a:gd name="T7" fmla="*/ 9 h 38"/>
                <a:gd name="T8" fmla="*/ 0 w 34"/>
                <a:gd name="T9" fmla="*/ 9 h 38"/>
                <a:gd name="T10" fmla="*/ 0 w 34"/>
                <a:gd name="T11" fmla="*/ 9 h 38"/>
                <a:gd name="T12" fmla="*/ 0 w 34"/>
                <a:gd name="T13" fmla="*/ 13 h 38"/>
                <a:gd name="T14" fmla="*/ 0 w 34"/>
                <a:gd name="T15" fmla="*/ 12 h 38"/>
                <a:gd name="T16" fmla="*/ 0 w 34"/>
                <a:gd name="T17" fmla="*/ 12 h 38"/>
                <a:gd name="T18" fmla="*/ 0 w 34"/>
                <a:gd name="T19" fmla="*/ 11 h 38"/>
                <a:gd name="T20" fmla="*/ 0 w 34"/>
                <a:gd name="T21" fmla="*/ 9 h 38"/>
                <a:gd name="T22" fmla="*/ 0 w 34"/>
                <a:gd name="T23" fmla="*/ 9 h 38"/>
                <a:gd name="T24" fmla="*/ 0 w 34"/>
                <a:gd name="T25" fmla="*/ 9 h 38"/>
                <a:gd name="T26" fmla="*/ 0 w 34"/>
                <a:gd name="T27" fmla="*/ 9 h 38"/>
                <a:gd name="T28" fmla="*/ 0 w 34"/>
                <a:gd name="T29" fmla="*/ 9 h 38"/>
                <a:gd name="T30" fmla="*/ 0 w 34"/>
                <a:gd name="T31" fmla="*/ 9 h 38"/>
                <a:gd name="T32" fmla="*/ 0 w 34"/>
                <a:gd name="T33" fmla="*/ 9 h 38"/>
                <a:gd name="T34" fmla="*/ 0 w 34"/>
                <a:gd name="T35" fmla="*/ 9 h 38"/>
                <a:gd name="T36" fmla="*/ 0 w 34"/>
                <a:gd name="T37" fmla="*/ 9 h 38"/>
                <a:gd name="T38" fmla="*/ 0 w 34"/>
                <a:gd name="T39" fmla="*/ 6 h 38"/>
                <a:gd name="T40" fmla="*/ 0 w 34"/>
                <a:gd name="T41" fmla="*/ 0 h 38"/>
                <a:gd name="T42" fmla="*/ 0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4"/>
                <a:gd name="T70" fmla="*/ 0 h 38"/>
                <a:gd name="T71" fmla="*/ 34 w 34"/>
                <a:gd name="T72" fmla="*/ 38 h 3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17" name="Freeform 651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5235" y="2335"/>
              <a:ext cx="17" cy="35"/>
            </a:xfrm>
            <a:custGeom>
              <a:avLst/>
              <a:gdLst>
                <a:gd name="T0" fmla="*/ 0 w 53"/>
                <a:gd name="T1" fmla="*/ 101742 h 23"/>
                <a:gd name="T2" fmla="*/ 0 w 53"/>
                <a:gd name="T3" fmla="*/ 17520 h 23"/>
                <a:gd name="T4" fmla="*/ 0 w 53"/>
                <a:gd name="T5" fmla="*/ 9538 h 23"/>
                <a:gd name="T6" fmla="*/ 0 w 53"/>
                <a:gd name="T7" fmla="*/ 6268 h 23"/>
                <a:gd name="T8" fmla="*/ 0 w 53"/>
                <a:gd name="T9" fmla="*/ 0 h 23"/>
                <a:gd name="T10" fmla="*/ 0 w 53"/>
                <a:gd name="T11" fmla="*/ 0 h 23"/>
                <a:gd name="T12" fmla="*/ 0 w 53"/>
                <a:gd name="T13" fmla="*/ 6268 h 23"/>
                <a:gd name="T14" fmla="*/ 0 w 53"/>
                <a:gd name="T15" fmla="*/ 17520 h 23"/>
                <a:gd name="T16" fmla="*/ 0 w 53"/>
                <a:gd name="T17" fmla="*/ 58100 h 23"/>
                <a:gd name="T18" fmla="*/ 0 w 53"/>
                <a:gd name="T19" fmla="*/ 101742 h 23"/>
                <a:gd name="T20" fmla="*/ 0 w 53"/>
                <a:gd name="T21" fmla="*/ 10174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3"/>
                <a:gd name="T34" fmla="*/ 0 h 23"/>
                <a:gd name="T35" fmla="*/ 53 w 53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18" name="Freeform 652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5196" y="2319"/>
              <a:ext cx="7" cy="36"/>
            </a:xfrm>
            <a:custGeom>
              <a:avLst/>
              <a:gdLst>
                <a:gd name="T0" fmla="*/ 0 w 26"/>
                <a:gd name="T1" fmla="*/ 0 h 12"/>
                <a:gd name="T2" fmla="*/ 0 w 26"/>
                <a:gd name="T3" fmla="*/ 2147483647 h 12"/>
                <a:gd name="T4" fmla="*/ 0 w 26"/>
                <a:gd name="T5" fmla="*/ 2147483647 h 12"/>
                <a:gd name="T6" fmla="*/ 0 w 26"/>
                <a:gd name="T7" fmla="*/ 2147483647 h 12"/>
                <a:gd name="T8" fmla="*/ 0 w 26"/>
                <a:gd name="T9" fmla="*/ 2147483647 h 12"/>
                <a:gd name="T10" fmla="*/ 0 w 26"/>
                <a:gd name="T11" fmla="*/ 2147483647 h 12"/>
                <a:gd name="T12" fmla="*/ 0 w 26"/>
                <a:gd name="T13" fmla="*/ 2147483647 h 12"/>
                <a:gd name="T14" fmla="*/ 0 w 26"/>
                <a:gd name="T15" fmla="*/ 2147483647 h 12"/>
                <a:gd name="T16" fmla="*/ 0 w 26"/>
                <a:gd name="T17" fmla="*/ 2147483647 h 12"/>
                <a:gd name="T18" fmla="*/ 0 w 26"/>
                <a:gd name="T19" fmla="*/ 2147483647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12"/>
                <a:gd name="T35" fmla="*/ 26 w 26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19" name="Freeform 653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5332" y="2528"/>
              <a:ext cx="22" cy="36"/>
            </a:xfrm>
            <a:custGeom>
              <a:avLst/>
              <a:gdLst>
                <a:gd name="T0" fmla="*/ 0 w 73"/>
                <a:gd name="T1" fmla="*/ 0 h 36"/>
                <a:gd name="T2" fmla="*/ 0 w 73"/>
                <a:gd name="T3" fmla="*/ 0 h 36"/>
                <a:gd name="T4" fmla="*/ 0 w 73"/>
                <a:gd name="T5" fmla="*/ 0 h 36"/>
                <a:gd name="T6" fmla="*/ 0 w 73"/>
                <a:gd name="T7" fmla="*/ 0 h 36"/>
                <a:gd name="T8" fmla="*/ 0 w 73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3"/>
                <a:gd name="T16" fmla="*/ 0 h 36"/>
                <a:gd name="T17" fmla="*/ 73 w 73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3" h="36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20" name="Freeform 654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5302" y="2521"/>
              <a:ext cx="15" cy="36"/>
            </a:xfrm>
            <a:custGeom>
              <a:avLst/>
              <a:gdLst>
                <a:gd name="T0" fmla="*/ 0 w 53"/>
                <a:gd name="T1" fmla="*/ 0 h 3"/>
                <a:gd name="T2" fmla="*/ 0 w 53"/>
                <a:gd name="T3" fmla="*/ 0 h 3"/>
                <a:gd name="T4" fmla="*/ 0 w 53"/>
                <a:gd name="T5" fmla="*/ 2147483647 h 3"/>
                <a:gd name="T6" fmla="*/ 0 w 53"/>
                <a:gd name="T7" fmla="*/ 2147483647 h 3"/>
                <a:gd name="T8" fmla="*/ 0 w 53"/>
                <a:gd name="T9" fmla="*/ 2147483647 h 3"/>
                <a:gd name="T10" fmla="*/ 0 w 53"/>
                <a:gd name="T11" fmla="*/ 2147483647 h 3"/>
                <a:gd name="T12" fmla="*/ 0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3"/>
                <a:gd name="T22" fmla="*/ 0 h 3"/>
                <a:gd name="T23" fmla="*/ 53 w 5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21" name="Line 655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5325" y="2512"/>
              <a:ext cx="14" cy="4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22" name="Freeform 656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5339" y="2516"/>
              <a:ext cx="1" cy="36"/>
            </a:xfrm>
            <a:custGeom>
              <a:avLst/>
              <a:gdLst>
                <a:gd name="T0" fmla="*/ 0 w 1"/>
                <a:gd name="T1" fmla="*/ 0 h 13"/>
                <a:gd name="T2" fmla="*/ 0 w 1"/>
                <a:gd name="T3" fmla="*/ 2147483647 h 13"/>
                <a:gd name="T4" fmla="*/ 0 w 1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1"/>
                <a:gd name="T10" fmla="*/ 0 h 13"/>
                <a:gd name="T11" fmla="*/ 1 w 1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23" name="Freeform 657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5307" y="2512"/>
              <a:ext cx="10" cy="37"/>
            </a:xfrm>
            <a:custGeom>
              <a:avLst/>
              <a:gdLst>
                <a:gd name="T0" fmla="*/ 0 w 26"/>
                <a:gd name="T1" fmla="*/ 0 h 37"/>
                <a:gd name="T2" fmla="*/ 0 w 26"/>
                <a:gd name="T3" fmla="*/ 0 h 37"/>
                <a:gd name="T4" fmla="*/ 0 w 26"/>
                <a:gd name="T5" fmla="*/ 0 h 37"/>
                <a:gd name="T6" fmla="*/ 0 60000 65536"/>
                <a:gd name="T7" fmla="*/ 0 60000 65536"/>
                <a:gd name="T8" fmla="*/ 0 60000 65536"/>
                <a:gd name="T9" fmla="*/ 0 w 26"/>
                <a:gd name="T10" fmla="*/ 0 h 37"/>
                <a:gd name="T11" fmla="*/ 26 w 26"/>
                <a:gd name="T12" fmla="*/ 37 h 3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6" h="37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24" name="Freeform 658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5303" y="2500"/>
              <a:ext cx="4" cy="38"/>
            </a:xfrm>
            <a:custGeom>
              <a:avLst/>
              <a:gdLst>
                <a:gd name="T0" fmla="*/ 0 w 20"/>
                <a:gd name="T1" fmla="*/ 0 h 25"/>
                <a:gd name="T2" fmla="*/ 0 w 20"/>
                <a:gd name="T3" fmla="*/ 56561 h 25"/>
                <a:gd name="T4" fmla="*/ 0 w 20"/>
                <a:gd name="T5" fmla="*/ 76363 h 25"/>
                <a:gd name="T6" fmla="*/ 0 w 20"/>
                <a:gd name="T7" fmla="*/ 90630 h 25"/>
                <a:gd name="T8" fmla="*/ 0 w 20"/>
                <a:gd name="T9" fmla="*/ 104100 h 25"/>
                <a:gd name="T10" fmla="*/ 0 w 20"/>
                <a:gd name="T11" fmla="*/ 108878 h 25"/>
                <a:gd name="T12" fmla="*/ 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25"/>
                <a:gd name="T23" fmla="*/ 20 w 20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25" name="Freeform 659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5358" y="2328"/>
              <a:ext cx="1" cy="36"/>
            </a:xfrm>
            <a:custGeom>
              <a:avLst/>
              <a:gdLst>
                <a:gd name="T0" fmla="*/ 0 w 6"/>
                <a:gd name="T1" fmla="*/ 80337 h 24"/>
                <a:gd name="T2" fmla="*/ 0 w 6"/>
                <a:gd name="T3" fmla="*/ 0 h 24"/>
                <a:gd name="T4" fmla="*/ 0 w 6"/>
                <a:gd name="T5" fmla="*/ 39438 h 24"/>
                <a:gd name="T6" fmla="*/ 0 w 6"/>
                <a:gd name="T7" fmla="*/ 80337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24"/>
                <a:gd name="T14" fmla="*/ 6 w 6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grpSp>
          <p:nvGrpSpPr>
            <p:cNvPr id="7" name="Group 660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5273" y="2121"/>
              <a:ext cx="111" cy="72"/>
              <a:chOff x="5379" y="2466"/>
              <a:chExt cx="122" cy="71"/>
            </a:xfrm>
            <a:grpFill/>
          </p:grpSpPr>
          <p:sp>
            <p:nvSpPr>
              <p:cNvPr id="18974" name="Freeform 661"/>
              <p:cNvSpPr>
                <a:spLocks/>
              </p:cNvSpPr>
              <p:nvPr/>
            </p:nvSpPr>
            <p:spPr bwMode="auto">
              <a:xfrm>
                <a:off x="5428" y="2492"/>
                <a:ext cx="0" cy="9"/>
              </a:xfrm>
              <a:custGeom>
                <a:avLst/>
                <a:gdLst>
                  <a:gd name="T0" fmla="*/ 0 w 19"/>
                  <a:gd name="T1" fmla="*/ 0 h 25"/>
                  <a:gd name="T2" fmla="*/ 0 w 19"/>
                  <a:gd name="T3" fmla="*/ 0 h 25"/>
                  <a:gd name="T4" fmla="*/ 0 w 19"/>
                  <a:gd name="T5" fmla="*/ 0 h 25"/>
                  <a:gd name="T6" fmla="*/ 0 w 19"/>
                  <a:gd name="T7" fmla="*/ 0 h 25"/>
                  <a:gd name="T8" fmla="*/ 0 w 19"/>
                  <a:gd name="T9" fmla="*/ 0 h 25"/>
                  <a:gd name="T10" fmla="*/ 0 w 19"/>
                  <a:gd name="T11" fmla="*/ 0 h 25"/>
                  <a:gd name="T12" fmla="*/ 0 w 19"/>
                  <a:gd name="T13" fmla="*/ 0 h 25"/>
                  <a:gd name="T14" fmla="*/ 0 w 19"/>
                  <a:gd name="T15" fmla="*/ 0 h 25"/>
                  <a:gd name="T16" fmla="*/ 0 w 19"/>
                  <a:gd name="T17" fmla="*/ 0 h 25"/>
                  <a:gd name="T18" fmla="*/ 0 w 19"/>
                  <a:gd name="T19" fmla="*/ 0 h 25"/>
                  <a:gd name="T20" fmla="*/ 0 w 19"/>
                  <a:gd name="T21" fmla="*/ 0 h 25"/>
                  <a:gd name="T22" fmla="*/ 0 w 19"/>
                  <a:gd name="T23" fmla="*/ 0 h 25"/>
                  <a:gd name="T24" fmla="*/ 0 w 19"/>
                  <a:gd name="T25" fmla="*/ 0 h 25"/>
                  <a:gd name="T26" fmla="*/ 0 w 19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9"/>
                  <a:gd name="T43" fmla="*/ 0 h 25"/>
                  <a:gd name="T44" fmla="*/ 0 w 19"/>
                  <a:gd name="T45" fmla="*/ 25 h 2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75" name="Freeform 662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0 w 26"/>
                  <a:gd name="T1" fmla="*/ 0 h 18"/>
                  <a:gd name="T2" fmla="*/ 0 w 26"/>
                  <a:gd name="T3" fmla="*/ 0 h 18"/>
                  <a:gd name="T4" fmla="*/ 0 w 26"/>
                  <a:gd name="T5" fmla="*/ 0 h 18"/>
                  <a:gd name="T6" fmla="*/ 0 w 26"/>
                  <a:gd name="T7" fmla="*/ 0 h 18"/>
                  <a:gd name="T8" fmla="*/ 0 w 26"/>
                  <a:gd name="T9" fmla="*/ 0 h 18"/>
                  <a:gd name="T10" fmla="*/ 0 w 26"/>
                  <a:gd name="T11" fmla="*/ 0 h 18"/>
                  <a:gd name="T12" fmla="*/ 0 w 26"/>
                  <a:gd name="T13" fmla="*/ 0 h 18"/>
                  <a:gd name="T14" fmla="*/ 0 w 26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18"/>
                  <a:gd name="T26" fmla="*/ 26 w 26"/>
                  <a:gd name="T27" fmla="*/ 18 h 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76" name="Freeform 663"/>
              <p:cNvSpPr>
                <a:spLocks/>
              </p:cNvSpPr>
              <p:nvPr/>
            </p:nvSpPr>
            <p:spPr bwMode="auto">
              <a:xfrm>
                <a:off x="5392" y="2466"/>
                <a:ext cx="3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8"/>
                  <a:gd name="T11" fmla="*/ 13 w 13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77" name="Freeform 664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0 h 24"/>
                  <a:gd name="T2" fmla="*/ 0 w 26"/>
                  <a:gd name="T3" fmla="*/ 0 h 24"/>
                  <a:gd name="T4" fmla="*/ 0 w 26"/>
                  <a:gd name="T5" fmla="*/ 0 h 24"/>
                  <a:gd name="T6" fmla="*/ 0 w 26"/>
                  <a:gd name="T7" fmla="*/ 0 h 24"/>
                  <a:gd name="T8" fmla="*/ 0 w 26"/>
                  <a:gd name="T9" fmla="*/ 0 h 24"/>
                  <a:gd name="T10" fmla="*/ 0 w 26"/>
                  <a:gd name="T11" fmla="*/ 0 h 24"/>
                  <a:gd name="T12" fmla="*/ 0 w 26"/>
                  <a:gd name="T13" fmla="*/ 0 h 24"/>
                  <a:gd name="T14" fmla="*/ 0 w 26"/>
                  <a:gd name="T15" fmla="*/ 0 h 24"/>
                  <a:gd name="T16" fmla="*/ 0 w 26"/>
                  <a:gd name="T17" fmla="*/ 0 h 24"/>
                  <a:gd name="T18" fmla="*/ 0 w 2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24"/>
                  <a:gd name="T32" fmla="*/ 26 w 26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78" name="Freeform 665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0 h 6"/>
                  <a:gd name="T2" fmla="*/ 0 w 34"/>
                  <a:gd name="T3" fmla="*/ 0 h 6"/>
                  <a:gd name="T4" fmla="*/ 0 w 34"/>
                  <a:gd name="T5" fmla="*/ 0 h 6"/>
                  <a:gd name="T6" fmla="*/ 0 w 34"/>
                  <a:gd name="T7" fmla="*/ 0 h 6"/>
                  <a:gd name="T8" fmla="*/ 0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6"/>
                  <a:gd name="T17" fmla="*/ 34 w 3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79" name="Line 666"/>
              <p:cNvSpPr>
                <a:spLocks noChangeShapeType="1"/>
              </p:cNvSpPr>
              <p:nvPr/>
            </p:nvSpPr>
            <p:spPr bwMode="auto">
              <a:xfrm flipH="1">
                <a:off x="5496" y="2490"/>
                <a:ext cx="5" cy="1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80" name="Freeform 667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0 h 19"/>
                  <a:gd name="T2" fmla="*/ 0 w 1"/>
                  <a:gd name="T3" fmla="*/ 0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9"/>
                  <a:gd name="T11" fmla="*/ 1 w 1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81" name="Line 668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10" cy="1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82" name="Freeform 669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0 w 14"/>
                  <a:gd name="T1" fmla="*/ 0 h 6"/>
                  <a:gd name="T2" fmla="*/ 0 w 14"/>
                  <a:gd name="T3" fmla="*/ 0 h 6"/>
                  <a:gd name="T4" fmla="*/ 0 w 14"/>
                  <a:gd name="T5" fmla="*/ 0 h 6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6"/>
                  <a:gd name="T11" fmla="*/ 14 w 14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</p:grpSp>
        <p:sp>
          <p:nvSpPr>
            <p:cNvPr id="18527" name="Freeform 670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4306" y="2034"/>
              <a:ext cx="5" cy="36"/>
            </a:xfrm>
            <a:custGeom>
              <a:avLst/>
              <a:gdLst>
                <a:gd name="T0" fmla="*/ 0 w 26"/>
                <a:gd name="T1" fmla="*/ 0 h 111"/>
                <a:gd name="T2" fmla="*/ 0 w 26"/>
                <a:gd name="T3" fmla="*/ 0 h 111"/>
                <a:gd name="T4" fmla="*/ 0 w 26"/>
                <a:gd name="T5" fmla="*/ 0 h 111"/>
                <a:gd name="T6" fmla="*/ 0 w 26"/>
                <a:gd name="T7" fmla="*/ 0 h 111"/>
                <a:gd name="T8" fmla="*/ 0 w 26"/>
                <a:gd name="T9" fmla="*/ 0 h 111"/>
                <a:gd name="T10" fmla="*/ 0 w 26"/>
                <a:gd name="T11" fmla="*/ 0 h 111"/>
                <a:gd name="T12" fmla="*/ 0 w 26"/>
                <a:gd name="T13" fmla="*/ 0 h 111"/>
                <a:gd name="T14" fmla="*/ 0 w 26"/>
                <a:gd name="T15" fmla="*/ 0 h 111"/>
                <a:gd name="T16" fmla="*/ 0 w 26"/>
                <a:gd name="T17" fmla="*/ 0 h 111"/>
                <a:gd name="T18" fmla="*/ 0 w 26"/>
                <a:gd name="T19" fmla="*/ 0 h 111"/>
                <a:gd name="T20" fmla="*/ 0 w 26"/>
                <a:gd name="T21" fmla="*/ 0 h 111"/>
                <a:gd name="T22" fmla="*/ 0 w 26"/>
                <a:gd name="T23" fmla="*/ 0 h 111"/>
                <a:gd name="T24" fmla="*/ 0 w 26"/>
                <a:gd name="T25" fmla="*/ 0 h 111"/>
                <a:gd name="T26" fmla="*/ 0 w 26"/>
                <a:gd name="T27" fmla="*/ 0 h 111"/>
                <a:gd name="T28" fmla="*/ 0 w 26"/>
                <a:gd name="T29" fmla="*/ 0 h 111"/>
                <a:gd name="T30" fmla="*/ 0 w 26"/>
                <a:gd name="T31" fmla="*/ 0 h 111"/>
                <a:gd name="T32" fmla="*/ 0 w 26"/>
                <a:gd name="T33" fmla="*/ 0 h 111"/>
                <a:gd name="T34" fmla="*/ 0 w 26"/>
                <a:gd name="T35" fmla="*/ 0 h 111"/>
                <a:gd name="T36" fmla="*/ 0 w 26"/>
                <a:gd name="T37" fmla="*/ 0 h 111"/>
                <a:gd name="T38" fmla="*/ 0 w 26"/>
                <a:gd name="T39" fmla="*/ 0 h 111"/>
                <a:gd name="T40" fmla="*/ 0 w 26"/>
                <a:gd name="T41" fmla="*/ 0 h 111"/>
                <a:gd name="T42" fmla="*/ 0 w 26"/>
                <a:gd name="T43" fmla="*/ 0 h 111"/>
                <a:gd name="T44" fmla="*/ 0 w 26"/>
                <a:gd name="T45" fmla="*/ 0 h 111"/>
                <a:gd name="T46" fmla="*/ 0 w 26"/>
                <a:gd name="T47" fmla="*/ 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"/>
                <a:gd name="T73" fmla="*/ 0 h 111"/>
                <a:gd name="T74" fmla="*/ 26 w 26"/>
                <a:gd name="T75" fmla="*/ 111 h 11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28" name="Freeform 671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2191" y="3382"/>
              <a:ext cx="36" cy="37"/>
            </a:xfrm>
            <a:custGeom>
              <a:avLst/>
              <a:gdLst>
                <a:gd name="T0" fmla="*/ 0 w 126"/>
                <a:gd name="T1" fmla="*/ 1 h 62"/>
                <a:gd name="T2" fmla="*/ 0 w 126"/>
                <a:gd name="T3" fmla="*/ 1 h 62"/>
                <a:gd name="T4" fmla="*/ 0 w 126"/>
                <a:gd name="T5" fmla="*/ 1 h 62"/>
                <a:gd name="T6" fmla="*/ 0 w 126"/>
                <a:gd name="T7" fmla="*/ 1 h 62"/>
                <a:gd name="T8" fmla="*/ 0 w 126"/>
                <a:gd name="T9" fmla="*/ 1 h 62"/>
                <a:gd name="T10" fmla="*/ 0 w 126"/>
                <a:gd name="T11" fmla="*/ 1 h 62"/>
                <a:gd name="T12" fmla="*/ 0 w 126"/>
                <a:gd name="T13" fmla="*/ 1 h 62"/>
                <a:gd name="T14" fmla="*/ 0 w 126"/>
                <a:gd name="T15" fmla="*/ 1 h 62"/>
                <a:gd name="T16" fmla="*/ 0 w 126"/>
                <a:gd name="T17" fmla="*/ 1 h 62"/>
                <a:gd name="T18" fmla="*/ 0 w 126"/>
                <a:gd name="T19" fmla="*/ 1 h 62"/>
                <a:gd name="T20" fmla="*/ 0 w 126"/>
                <a:gd name="T21" fmla="*/ 1 h 62"/>
                <a:gd name="T22" fmla="*/ 0 w 126"/>
                <a:gd name="T23" fmla="*/ 1 h 62"/>
                <a:gd name="T24" fmla="*/ 0 w 126"/>
                <a:gd name="T25" fmla="*/ 1 h 62"/>
                <a:gd name="T26" fmla="*/ 0 w 126"/>
                <a:gd name="T27" fmla="*/ 1 h 62"/>
                <a:gd name="T28" fmla="*/ 0 w 126"/>
                <a:gd name="T29" fmla="*/ 1 h 62"/>
                <a:gd name="T30" fmla="*/ 0 w 126"/>
                <a:gd name="T31" fmla="*/ 1 h 62"/>
                <a:gd name="T32" fmla="*/ 0 w 126"/>
                <a:gd name="T33" fmla="*/ 1 h 62"/>
                <a:gd name="T34" fmla="*/ 0 w 126"/>
                <a:gd name="T35" fmla="*/ 1 h 62"/>
                <a:gd name="T36" fmla="*/ 0 w 126"/>
                <a:gd name="T37" fmla="*/ 1 h 62"/>
                <a:gd name="T38" fmla="*/ 0 w 126"/>
                <a:gd name="T39" fmla="*/ 1 h 62"/>
                <a:gd name="T40" fmla="*/ 0 w 126"/>
                <a:gd name="T41" fmla="*/ 1 h 62"/>
                <a:gd name="T42" fmla="*/ 0 w 126"/>
                <a:gd name="T43" fmla="*/ 1 h 62"/>
                <a:gd name="T44" fmla="*/ 0 w 126"/>
                <a:gd name="T45" fmla="*/ 1 h 62"/>
                <a:gd name="T46" fmla="*/ 0 w 126"/>
                <a:gd name="T47" fmla="*/ 1 h 62"/>
                <a:gd name="T48" fmla="*/ 0 w 126"/>
                <a:gd name="T49" fmla="*/ 0 h 62"/>
                <a:gd name="T50" fmla="*/ 0 w 126"/>
                <a:gd name="T51" fmla="*/ 0 h 62"/>
                <a:gd name="T52" fmla="*/ 0 w 126"/>
                <a:gd name="T53" fmla="*/ 1 h 62"/>
                <a:gd name="T54" fmla="*/ 0 w 126"/>
                <a:gd name="T55" fmla="*/ 1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6"/>
                <a:gd name="T85" fmla="*/ 0 h 62"/>
                <a:gd name="T86" fmla="*/ 126 w 126"/>
                <a:gd name="T87" fmla="*/ 62 h 6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29" name="Freeform 672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3761" y="3280"/>
              <a:ext cx="21" cy="35"/>
            </a:xfrm>
            <a:custGeom>
              <a:avLst/>
              <a:gdLst>
                <a:gd name="T0" fmla="*/ 0 w 66"/>
                <a:gd name="T1" fmla="*/ 0 h 44"/>
                <a:gd name="T2" fmla="*/ 0 w 66"/>
                <a:gd name="T3" fmla="*/ 1 h 44"/>
                <a:gd name="T4" fmla="*/ 0 w 66"/>
                <a:gd name="T5" fmla="*/ 2 h 44"/>
                <a:gd name="T6" fmla="*/ 0 w 66"/>
                <a:gd name="T7" fmla="*/ 2 h 44"/>
                <a:gd name="T8" fmla="*/ 0 w 66"/>
                <a:gd name="T9" fmla="*/ 2 h 44"/>
                <a:gd name="T10" fmla="*/ 0 w 66"/>
                <a:gd name="T11" fmla="*/ 2 h 44"/>
                <a:gd name="T12" fmla="*/ 0 w 66"/>
                <a:gd name="T13" fmla="*/ 2 h 44"/>
                <a:gd name="T14" fmla="*/ 0 w 66"/>
                <a:gd name="T15" fmla="*/ 2 h 44"/>
                <a:gd name="T16" fmla="*/ 0 w 66"/>
                <a:gd name="T17" fmla="*/ 2 h 44"/>
                <a:gd name="T18" fmla="*/ 0 w 66"/>
                <a:gd name="T19" fmla="*/ 2 h 44"/>
                <a:gd name="T20" fmla="*/ 0 w 66"/>
                <a:gd name="T21" fmla="*/ 2 h 44"/>
                <a:gd name="T22" fmla="*/ 0 w 66"/>
                <a:gd name="T23" fmla="*/ 2 h 44"/>
                <a:gd name="T24" fmla="*/ 0 w 66"/>
                <a:gd name="T25" fmla="*/ 2 h 44"/>
                <a:gd name="T26" fmla="*/ 0 w 66"/>
                <a:gd name="T27" fmla="*/ 2 h 44"/>
                <a:gd name="T28" fmla="*/ 0 w 66"/>
                <a:gd name="T29" fmla="*/ 2 h 44"/>
                <a:gd name="T30" fmla="*/ 0 w 66"/>
                <a:gd name="T31" fmla="*/ 2 h 44"/>
                <a:gd name="T32" fmla="*/ 0 w 66"/>
                <a:gd name="T33" fmla="*/ 2 h 44"/>
                <a:gd name="T34" fmla="*/ 0 w 66"/>
                <a:gd name="T35" fmla="*/ 2 h 44"/>
                <a:gd name="T36" fmla="*/ 0 w 66"/>
                <a:gd name="T37" fmla="*/ 2 h 44"/>
                <a:gd name="T38" fmla="*/ 0 w 66"/>
                <a:gd name="T39" fmla="*/ 2 h 44"/>
                <a:gd name="T40" fmla="*/ 0 w 66"/>
                <a:gd name="T41" fmla="*/ 2 h 44"/>
                <a:gd name="T42" fmla="*/ 0 w 66"/>
                <a:gd name="T43" fmla="*/ 2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6"/>
                <a:gd name="T70" fmla="*/ 0 h 44"/>
                <a:gd name="T71" fmla="*/ 66 w 66"/>
                <a:gd name="T72" fmla="*/ 44 h 4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30" name="Freeform 673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5231" y="1246"/>
              <a:ext cx="15" cy="36"/>
            </a:xfrm>
            <a:custGeom>
              <a:avLst/>
              <a:gdLst>
                <a:gd name="T0" fmla="*/ 0 w 46"/>
                <a:gd name="T1" fmla="*/ 0 h 16"/>
                <a:gd name="T2" fmla="*/ 0 w 46"/>
                <a:gd name="T3" fmla="*/ 78393167 h 16"/>
                <a:gd name="T4" fmla="*/ 0 w 46"/>
                <a:gd name="T5" fmla="*/ 141472193 h 16"/>
                <a:gd name="T6" fmla="*/ 0 w 46"/>
                <a:gd name="T7" fmla="*/ 152179775 h 16"/>
                <a:gd name="T8" fmla="*/ 0 w 46"/>
                <a:gd name="T9" fmla="*/ 166012841 h 16"/>
                <a:gd name="T10" fmla="*/ 0 w 46"/>
                <a:gd name="T11" fmla="*/ 176384580 h 16"/>
                <a:gd name="T12" fmla="*/ 0 w 46"/>
                <a:gd name="T13" fmla="*/ 176384580 h 16"/>
                <a:gd name="T14" fmla="*/ 0 w 46"/>
                <a:gd name="T15" fmla="*/ 152179775 h 16"/>
                <a:gd name="T16" fmla="*/ 0 w 46"/>
                <a:gd name="T17" fmla="*/ 122109098 h 16"/>
                <a:gd name="T18" fmla="*/ 0 w 46"/>
                <a:gd name="T19" fmla="*/ 62876580 h 16"/>
                <a:gd name="T20" fmla="*/ 0 w 46"/>
                <a:gd name="T21" fmla="*/ 0 h 16"/>
                <a:gd name="T22" fmla="*/ 0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16"/>
                <a:gd name="T38" fmla="*/ 46 w 46"/>
                <a:gd name="T39" fmla="*/ 16 h 1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31" name="Freeform 674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5352" y="1267"/>
              <a:ext cx="11" cy="36"/>
            </a:xfrm>
            <a:custGeom>
              <a:avLst/>
              <a:gdLst>
                <a:gd name="T0" fmla="*/ 0 w 39"/>
                <a:gd name="T1" fmla="*/ 16578 h 26"/>
                <a:gd name="T2" fmla="*/ 0 w 39"/>
                <a:gd name="T3" fmla="*/ 17529 h 26"/>
                <a:gd name="T4" fmla="*/ 0 w 39"/>
                <a:gd name="T5" fmla="*/ 17529 h 26"/>
                <a:gd name="T6" fmla="*/ 0 w 39"/>
                <a:gd name="T7" fmla="*/ 17529 h 26"/>
                <a:gd name="T8" fmla="*/ 0 w 39"/>
                <a:gd name="T9" fmla="*/ 16578 h 26"/>
                <a:gd name="T10" fmla="*/ 0 w 39"/>
                <a:gd name="T11" fmla="*/ 14638 h 26"/>
                <a:gd name="T12" fmla="*/ 0 w 39"/>
                <a:gd name="T13" fmla="*/ 11973 h 26"/>
                <a:gd name="T14" fmla="*/ 0 w 39"/>
                <a:gd name="T15" fmla="*/ 8647 h 26"/>
                <a:gd name="T16" fmla="*/ 0 w 39"/>
                <a:gd name="T17" fmla="*/ 4769 h 26"/>
                <a:gd name="T18" fmla="*/ 0 w 39"/>
                <a:gd name="T19" fmla="*/ 1959 h 26"/>
                <a:gd name="T20" fmla="*/ 0 w 39"/>
                <a:gd name="T21" fmla="*/ 0 h 26"/>
                <a:gd name="T22" fmla="*/ 0 w 39"/>
                <a:gd name="T23" fmla="*/ 3755 h 26"/>
                <a:gd name="T24" fmla="*/ 0 w 39"/>
                <a:gd name="T25" fmla="*/ 8647 h 26"/>
                <a:gd name="T26" fmla="*/ 0 w 39"/>
                <a:gd name="T27" fmla="*/ 13698 h 26"/>
                <a:gd name="T28" fmla="*/ 0 w 39"/>
                <a:gd name="T29" fmla="*/ 16578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9"/>
                <a:gd name="T46" fmla="*/ 0 h 26"/>
                <a:gd name="T47" fmla="*/ 39 w 39"/>
                <a:gd name="T48" fmla="*/ 26 h 2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32" name="Freeform 675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4976" y="1412"/>
              <a:ext cx="3" cy="37"/>
            </a:xfrm>
            <a:custGeom>
              <a:avLst/>
              <a:gdLst>
                <a:gd name="T0" fmla="*/ 0 w 11"/>
                <a:gd name="T1" fmla="*/ 0 h 25"/>
                <a:gd name="T2" fmla="*/ 0 w 11"/>
                <a:gd name="T3" fmla="*/ 11952 h 25"/>
                <a:gd name="T4" fmla="*/ 0 w 11"/>
                <a:gd name="T5" fmla="*/ 31274 h 25"/>
                <a:gd name="T6" fmla="*/ 0 w 11"/>
                <a:gd name="T7" fmla="*/ 50835 h 25"/>
                <a:gd name="T8" fmla="*/ 0 w 11"/>
                <a:gd name="T9" fmla="*/ 63581 h 25"/>
                <a:gd name="T10" fmla="*/ 0 w 11"/>
                <a:gd name="T11" fmla="*/ 58284 h 25"/>
                <a:gd name="T12" fmla="*/ 0 w 11"/>
                <a:gd name="T13" fmla="*/ 50835 h 25"/>
                <a:gd name="T14" fmla="*/ 0 w 11"/>
                <a:gd name="T15" fmla="*/ 38746 h 25"/>
                <a:gd name="T16" fmla="*/ 0 w 11"/>
                <a:gd name="T17" fmla="*/ 31274 h 25"/>
                <a:gd name="T18" fmla="*/ 0 w 11"/>
                <a:gd name="T19" fmla="*/ 21780 h 25"/>
                <a:gd name="T20" fmla="*/ 0 w 11"/>
                <a:gd name="T21" fmla="*/ 11952 h 25"/>
                <a:gd name="T22" fmla="*/ 0 w 11"/>
                <a:gd name="T23" fmla="*/ 4539 h 25"/>
                <a:gd name="T24" fmla="*/ 0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"/>
                <a:gd name="T40" fmla="*/ 0 h 25"/>
                <a:gd name="T41" fmla="*/ 11 w 11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33" name="Freeform 676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4849" y="1766"/>
              <a:ext cx="10" cy="37"/>
            </a:xfrm>
            <a:custGeom>
              <a:avLst/>
              <a:gdLst>
                <a:gd name="T0" fmla="*/ 1 w 20"/>
                <a:gd name="T1" fmla="*/ 0 h 31"/>
                <a:gd name="T2" fmla="*/ 1 w 20"/>
                <a:gd name="T3" fmla="*/ 423 h 31"/>
                <a:gd name="T4" fmla="*/ 1 w 20"/>
                <a:gd name="T5" fmla="*/ 720 h 31"/>
                <a:gd name="T6" fmla="*/ 1 w 20"/>
                <a:gd name="T7" fmla="*/ 898 h 31"/>
                <a:gd name="T8" fmla="*/ 0 w 20"/>
                <a:gd name="T9" fmla="*/ 1072 h 31"/>
                <a:gd name="T10" fmla="*/ 0 w 20"/>
                <a:gd name="T11" fmla="*/ 869 h 31"/>
                <a:gd name="T12" fmla="*/ 1 w 20"/>
                <a:gd name="T13" fmla="*/ 640 h 31"/>
                <a:gd name="T14" fmla="*/ 1 w 20"/>
                <a:gd name="T15" fmla="*/ 449 h 31"/>
                <a:gd name="T16" fmla="*/ 1 w 20"/>
                <a:gd name="T17" fmla="*/ 315 h 31"/>
                <a:gd name="T18" fmla="*/ 1 w 20"/>
                <a:gd name="T19" fmla="*/ 209 h 31"/>
                <a:gd name="T20" fmla="*/ 1 w 20"/>
                <a:gd name="T21" fmla="*/ 123 h 31"/>
                <a:gd name="T22" fmla="*/ 1 w 20"/>
                <a:gd name="T23" fmla="*/ 0 h 31"/>
                <a:gd name="T24" fmla="*/ 1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"/>
                <a:gd name="T40" fmla="*/ 0 h 31"/>
                <a:gd name="T41" fmla="*/ 20 w 20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34" name="Freeform 677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4861" y="1725"/>
              <a:ext cx="11" cy="36"/>
            </a:xfrm>
            <a:custGeom>
              <a:avLst/>
              <a:gdLst>
                <a:gd name="T0" fmla="*/ 0 w 26"/>
                <a:gd name="T1" fmla="*/ 18 h 37"/>
                <a:gd name="T2" fmla="*/ 0 w 26"/>
                <a:gd name="T3" fmla="*/ 12 h 37"/>
                <a:gd name="T4" fmla="*/ 0 w 26"/>
                <a:gd name="T5" fmla="*/ 7 h 37"/>
                <a:gd name="T6" fmla="*/ 0 w 26"/>
                <a:gd name="T7" fmla="*/ 4 h 37"/>
                <a:gd name="T8" fmla="*/ 0 w 26"/>
                <a:gd name="T9" fmla="*/ 1 h 37"/>
                <a:gd name="T10" fmla="*/ 0 w 26"/>
                <a:gd name="T11" fmla="*/ 0 h 37"/>
                <a:gd name="T12" fmla="*/ 0 w 26"/>
                <a:gd name="T13" fmla="*/ 6 h 37"/>
                <a:gd name="T14" fmla="*/ 0 w 26"/>
                <a:gd name="T15" fmla="*/ 11 h 37"/>
                <a:gd name="T16" fmla="*/ 0 w 26"/>
                <a:gd name="T17" fmla="*/ 17 h 37"/>
                <a:gd name="T18" fmla="*/ 0 w 26"/>
                <a:gd name="T19" fmla="*/ 18 h 37"/>
                <a:gd name="T20" fmla="*/ 0 w 26"/>
                <a:gd name="T21" fmla="*/ 18 h 37"/>
                <a:gd name="T22" fmla="*/ 0 w 26"/>
                <a:gd name="T23" fmla="*/ 18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37"/>
                <a:gd name="T38" fmla="*/ 26 w 26"/>
                <a:gd name="T39" fmla="*/ 37 h 3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35" name="Freeform 678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4785" y="1630"/>
              <a:ext cx="1" cy="38"/>
            </a:xfrm>
            <a:custGeom>
              <a:avLst/>
              <a:gdLst>
                <a:gd name="T0" fmla="*/ 0 w 7"/>
                <a:gd name="T1" fmla="*/ 55599432 h 18"/>
                <a:gd name="T2" fmla="*/ 0 w 7"/>
                <a:gd name="T3" fmla="*/ 0 h 18"/>
                <a:gd name="T4" fmla="*/ 0 w 7"/>
                <a:gd name="T5" fmla="*/ 36716378 h 18"/>
                <a:gd name="T6" fmla="*/ 0 w 7"/>
                <a:gd name="T7" fmla="*/ 55599432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8"/>
                <a:gd name="T14" fmla="*/ 7 w 7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36" name="Freeform 679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2637" y="1080"/>
              <a:ext cx="6" cy="36"/>
            </a:xfrm>
            <a:custGeom>
              <a:avLst/>
              <a:gdLst>
                <a:gd name="T0" fmla="*/ 0 w 33"/>
                <a:gd name="T1" fmla="*/ 247 h 31"/>
                <a:gd name="T2" fmla="*/ 0 w 33"/>
                <a:gd name="T3" fmla="*/ 0 h 31"/>
                <a:gd name="T4" fmla="*/ 0 w 33"/>
                <a:gd name="T5" fmla="*/ 101 h 31"/>
                <a:gd name="T6" fmla="*/ 0 w 33"/>
                <a:gd name="T7" fmla="*/ 247 h 31"/>
                <a:gd name="T8" fmla="*/ 0 w 33"/>
                <a:gd name="T9" fmla="*/ 449 h 31"/>
                <a:gd name="T10" fmla="*/ 0 w 33"/>
                <a:gd name="T11" fmla="*/ 619 h 31"/>
                <a:gd name="T12" fmla="*/ 0 w 33"/>
                <a:gd name="T13" fmla="*/ 605 h 31"/>
                <a:gd name="T14" fmla="*/ 0 w 33"/>
                <a:gd name="T15" fmla="*/ 553 h 31"/>
                <a:gd name="T16" fmla="*/ 0 w 33"/>
                <a:gd name="T17" fmla="*/ 487 h 31"/>
                <a:gd name="T18" fmla="*/ 0 w 33"/>
                <a:gd name="T19" fmla="*/ 449 h 31"/>
                <a:gd name="T20" fmla="*/ 0 w 33"/>
                <a:gd name="T21" fmla="*/ 293 h 31"/>
                <a:gd name="T22" fmla="*/ 0 w 33"/>
                <a:gd name="T23" fmla="*/ 2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31"/>
                <a:gd name="T38" fmla="*/ 33 w 33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37" name="Freeform 680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2627" y="934"/>
              <a:ext cx="2" cy="36"/>
            </a:xfrm>
            <a:custGeom>
              <a:avLst/>
              <a:gdLst>
                <a:gd name="T0" fmla="*/ 0 w 14"/>
                <a:gd name="T1" fmla="*/ 0 h 6"/>
                <a:gd name="T2" fmla="*/ 0 w 14"/>
                <a:gd name="T3" fmla="*/ 2147483647 h 6"/>
                <a:gd name="T4" fmla="*/ 0 w 14"/>
                <a:gd name="T5" fmla="*/ 0 h 6"/>
                <a:gd name="T6" fmla="*/ 0 60000 65536"/>
                <a:gd name="T7" fmla="*/ 0 60000 65536"/>
                <a:gd name="T8" fmla="*/ 0 60000 65536"/>
                <a:gd name="T9" fmla="*/ 0 w 14"/>
                <a:gd name="T10" fmla="*/ 0 h 6"/>
                <a:gd name="T11" fmla="*/ 14 w 14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38" name="Freeform 681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3638" y="2054"/>
              <a:ext cx="17" cy="35"/>
            </a:xfrm>
            <a:custGeom>
              <a:avLst/>
              <a:gdLst>
                <a:gd name="T0" fmla="*/ 0 w 59"/>
                <a:gd name="T1" fmla="*/ 68 h 31"/>
                <a:gd name="T2" fmla="*/ 0 w 59"/>
                <a:gd name="T3" fmla="*/ 125 h 31"/>
                <a:gd name="T4" fmla="*/ 0 w 59"/>
                <a:gd name="T5" fmla="*/ 164 h 31"/>
                <a:gd name="T6" fmla="*/ 0 w 59"/>
                <a:gd name="T7" fmla="*/ 209 h 31"/>
                <a:gd name="T8" fmla="*/ 0 w 59"/>
                <a:gd name="T9" fmla="*/ 266 h 31"/>
                <a:gd name="T10" fmla="*/ 0 w 59"/>
                <a:gd name="T11" fmla="*/ 300 h 31"/>
                <a:gd name="T12" fmla="*/ 0 w 59"/>
                <a:gd name="T13" fmla="*/ 330 h 31"/>
                <a:gd name="T14" fmla="*/ 0 w 59"/>
                <a:gd name="T15" fmla="*/ 353 h 31"/>
                <a:gd name="T16" fmla="*/ 0 w 59"/>
                <a:gd name="T17" fmla="*/ 353 h 31"/>
                <a:gd name="T18" fmla="*/ 0 w 59"/>
                <a:gd name="T19" fmla="*/ 353 h 31"/>
                <a:gd name="T20" fmla="*/ 0 w 59"/>
                <a:gd name="T21" fmla="*/ 339 h 31"/>
                <a:gd name="T22" fmla="*/ 0 w 59"/>
                <a:gd name="T23" fmla="*/ 330 h 31"/>
                <a:gd name="T24" fmla="*/ 0 w 59"/>
                <a:gd name="T25" fmla="*/ 300 h 31"/>
                <a:gd name="T26" fmla="*/ 0 w 59"/>
                <a:gd name="T27" fmla="*/ 229 h 31"/>
                <a:gd name="T28" fmla="*/ 0 w 59"/>
                <a:gd name="T29" fmla="*/ 141 h 31"/>
                <a:gd name="T30" fmla="*/ 0 w 59"/>
                <a:gd name="T31" fmla="*/ 98 h 31"/>
                <a:gd name="T32" fmla="*/ 0 w 59"/>
                <a:gd name="T33" fmla="*/ 68 h 31"/>
                <a:gd name="T34" fmla="*/ 0 w 59"/>
                <a:gd name="T35" fmla="*/ 53 h 31"/>
                <a:gd name="T36" fmla="*/ 0 w 59"/>
                <a:gd name="T37" fmla="*/ 3 h 31"/>
                <a:gd name="T38" fmla="*/ 0 w 59"/>
                <a:gd name="T39" fmla="*/ 1 h 31"/>
                <a:gd name="T40" fmla="*/ 0 w 59"/>
                <a:gd name="T41" fmla="*/ 0 h 31"/>
                <a:gd name="T42" fmla="*/ 0 w 59"/>
                <a:gd name="T43" fmla="*/ 0 h 31"/>
                <a:gd name="T44" fmla="*/ 0 w 59"/>
                <a:gd name="T45" fmla="*/ 2 h 31"/>
                <a:gd name="T46" fmla="*/ 0 w 59"/>
                <a:gd name="T47" fmla="*/ 53 h 31"/>
                <a:gd name="T48" fmla="*/ 0 w 59"/>
                <a:gd name="T49" fmla="*/ 68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39" name="Freeform 682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3435" y="1967"/>
              <a:ext cx="13" cy="37"/>
            </a:xfrm>
            <a:custGeom>
              <a:avLst/>
              <a:gdLst>
                <a:gd name="T0" fmla="*/ 0 w 47"/>
                <a:gd name="T1" fmla="*/ 0 h 68"/>
                <a:gd name="T2" fmla="*/ 0 w 47"/>
                <a:gd name="T3" fmla="*/ 1 h 68"/>
                <a:gd name="T4" fmla="*/ 0 w 47"/>
                <a:gd name="T5" fmla="*/ 1 h 68"/>
                <a:gd name="T6" fmla="*/ 0 w 47"/>
                <a:gd name="T7" fmla="*/ 1 h 68"/>
                <a:gd name="T8" fmla="*/ 0 w 47"/>
                <a:gd name="T9" fmla="*/ 1 h 68"/>
                <a:gd name="T10" fmla="*/ 0 w 47"/>
                <a:gd name="T11" fmla="*/ 1 h 68"/>
                <a:gd name="T12" fmla="*/ 0 w 47"/>
                <a:gd name="T13" fmla="*/ 1 h 68"/>
                <a:gd name="T14" fmla="*/ 0 w 47"/>
                <a:gd name="T15" fmla="*/ 1 h 68"/>
                <a:gd name="T16" fmla="*/ 0 w 47"/>
                <a:gd name="T17" fmla="*/ 1 h 68"/>
                <a:gd name="T18" fmla="*/ 0 w 47"/>
                <a:gd name="T19" fmla="*/ 1 h 68"/>
                <a:gd name="T20" fmla="*/ 0 w 47"/>
                <a:gd name="T21" fmla="*/ 1 h 68"/>
                <a:gd name="T22" fmla="*/ 0 w 47"/>
                <a:gd name="T23" fmla="*/ 1 h 68"/>
                <a:gd name="T24" fmla="*/ 0 w 47"/>
                <a:gd name="T25" fmla="*/ 1 h 68"/>
                <a:gd name="T26" fmla="*/ 0 w 47"/>
                <a:gd name="T27" fmla="*/ 1 h 68"/>
                <a:gd name="T28" fmla="*/ 0 w 47"/>
                <a:gd name="T29" fmla="*/ 1 h 68"/>
                <a:gd name="T30" fmla="*/ 0 w 47"/>
                <a:gd name="T31" fmla="*/ 1 h 68"/>
                <a:gd name="T32" fmla="*/ 0 w 47"/>
                <a:gd name="T33" fmla="*/ 1 h 68"/>
                <a:gd name="T34" fmla="*/ 0 w 47"/>
                <a:gd name="T35" fmla="*/ 1 h 68"/>
                <a:gd name="T36" fmla="*/ 0 w 47"/>
                <a:gd name="T37" fmla="*/ 1 h 68"/>
                <a:gd name="T38" fmla="*/ 0 w 47"/>
                <a:gd name="T39" fmla="*/ 1 h 68"/>
                <a:gd name="T40" fmla="*/ 0 w 47"/>
                <a:gd name="T41" fmla="*/ 1 h 68"/>
                <a:gd name="T42" fmla="*/ 0 w 47"/>
                <a:gd name="T43" fmla="*/ 1 h 68"/>
                <a:gd name="T44" fmla="*/ 0 w 47"/>
                <a:gd name="T45" fmla="*/ 1 h 68"/>
                <a:gd name="T46" fmla="*/ 0 w 47"/>
                <a:gd name="T47" fmla="*/ 1 h 68"/>
                <a:gd name="T48" fmla="*/ 0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7"/>
                <a:gd name="T76" fmla="*/ 0 h 68"/>
                <a:gd name="T77" fmla="*/ 47 w 47"/>
                <a:gd name="T78" fmla="*/ 68 h 6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grpSp>
          <p:nvGrpSpPr>
            <p:cNvPr id="8" name="Group 683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3962" y="2085"/>
              <a:ext cx="31" cy="236"/>
              <a:chOff x="3950" y="2430"/>
              <a:chExt cx="36" cy="234"/>
            </a:xfrm>
            <a:grpFill/>
          </p:grpSpPr>
          <p:sp>
            <p:nvSpPr>
              <p:cNvPr id="18943" name="Freeform 684"/>
              <p:cNvSpPr>
                <a:spLocks/>
              </p:cNvSpPr>
              <p:nvPr/>
            </p:nvSpPr>
            <p:spPr bwMode="auto">
              <a:xfrm>
                <a:off x="3976" y="2658"/>
                <a:ext cx="7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20"/>
                  <a:gd name="T23" fmla="*/ 19 w 19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44" name="Freeform 685"/>
              <p:cNvSpPr>
                <a:spLocks/>
              </p:cNvSpPr>
              <p:nvPr/>
            </p:nvSpPr>
            <p:spPr bwMode="auto">
              <a:xfrm>
                <a:off x="3976" y="2644"/>
                <a:ext cx="7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45" name="Freeform 686"/>
              <p:cNvSpPr>
                <a:spLocks/>
              </p:cNvSpPr>
              <p:nvPr/>
            </p:nvSpPr>
            <p:spPr bwMode="auto">
              <a:xfrm>
                <a:off x="3976" y="2637"/>
                <a:ext cx="7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"/>
                  <a:gd name="T17" fmla="*/ 19 w 19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46" name="Rectangle 687"/>
              <p:cNvSpPr>
                <a:spLocks noChangeArrowheads="1"/>
              </p:cNvSpPr>
              <p:nvPr/>
            </p:nvSpPr>
            <p:spPr bwMode="auto">
              <a:xfrm>
                <a:off x="3976" y="2632"/>
                <a:ext cx="7" cy="2"/>
              </a:xfrm>
              <a:prstGeom prst="rect">
                <a:avLst/>
              </a:prstGeom>
              <a:grpFill/>
              <a:ln w="317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ct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  <a:ea typeface="ＭＳ Ｐゴシック" pitchFamily="34" charset="-128"/>
                </a:endParaRPr>
              </a:p>
            </p:txBody>
          </p:sp>
          <p:sp>
            <p:nvSpPr>
              <p:cNvPr id="18947" name="Line 688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48" name="Freeform 689"/>
              <p:cNvSpPr>
                <a:spLocks/>
              </p:cNvSpPr>
              <p:nvPr/>
            </p:nvSpPr>
            <p:spPr bwMode="auto">
              <a:xfrm>
                <a:off x="3976" y="2595"/>
                <a:ext cx="1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49" name="Freeform 690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24"/>
                  <a:gd name="T23" fmla="*/ 14 w 14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50" name="Line 691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1" cy="1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51" name="Freeform 692"/>
              <p:cNvSpPr>
                <a:spLocks/>
              </p:cNvSpPr>
              <p:nvPr/>
            </p:nvSpPr>
            <p:spPr bwMode="auto">
              <a:xfrm>
                <a:off x="3977" y="2572"/>
                <a:ext cx="6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2"/>
                  <a:gd name="T11" fmla="*/ 13 w 13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52" name="Freeform 693"/>
              <p:cNvSpPr>
                <a:spLocks/>
              </p:cNvSpPr>
              <p:nvPr/>
            </p:nvSpPr>
            <p:spPr bwMode="auto">
              <a:xfrm>
                <a:off x="3981" y="2585"/>
                <a:ext cx="1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19"/>
                  <a:gd name="T14" fmla="*/ 7 w 7"/>
                  <a:gd name="T15" fmla="*/ 19 h 1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53" name="Line 694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54" name="Freeform 695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18"/>
                  <a:gd name="T14" fmla="*/ 8 w 8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55" name="Freeform 696"/>
              <p:cNvSpPr>
                <a:spLocks/>
              </p:cNvSpPr>
              <p:nvPr/>
            </p:nvSpPr>
            <p:spPr bwMode="auto">
              <a:xfrm>
                <a:off x="3969" y="2532"/>
                <a:ext cx="1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9"/>
                  <a:gd name="T11" fmla="*/ 6 w 6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56" name="Freeform 697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28"/>
                  <a:gd name="T10" fmla="*/ 0 h 19"/>
                  <a:gd name="T11" fmla="*/ 28 w 28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57" name="Freeform 698"/>
              <p:cNvSpPr>
                <a:spLocks/>
              </p:cNvSpPr>
              <p:nvPr/>
            </p:nvSpPr>
            <p:spPr bwMode="auto">
              <a:xfrm>
                <a:off x="3970" y="2513"/>
                <a:ext cx="6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9"/>
                  <a:gd name="T11" fmla="*/ 15 w 15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58" name="Freeform 699"/>
              <p:cNvSpPr>
                <a:spLocks/>
              </p:cNvSpPr>
              <p:nvPr/>
            </p:nvSpPr>
            <p:spPr bwMode="auto">
              <a:xfrm>
                <a:off x="3976" y="2658"/>
                <a:ext cx="7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20"/>
                  <a:gd name="T23" fmla="*/ 19 w 19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59" name="Freeform 700"/>
              <p:cNvSpPr>
                <a:spLocks/>
              </p:cNvSpPr>
              <p:nvPr/>
            </p:nvSpPr>
            <p:spPr bwMode="auto">
              <a:xfrm>
                <a:off x="3976" y="2644"/>
                <a:ext cx="7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60" name="Freeform 701"/>
              <p:cNvSpPr>
                <a:spLocks/>
              </p:cNvSpPr>
              <p:nvPr/>
            </p:nvSpPr>
            <p:spPr bwMode="auto">
              <a:xfrm>
                <a:off x="3976" y="2637"/>
                <a:ext cx="7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"/>
                  <a:gd name="T17" fmla="*/ 19 w 19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61" name="Rectangle 702"/>
              <p:cNvSpPr>
                <a:spLocks noChangeArrowheads="1"/>
              </p:cNvSpPr>
              <p:nvPr/>
            </p:nvSpPr>
            <p:spPr bwMode="auto">
              <a:xfrm>
                <a:off x="3976" y="2632"/>
                <a:ext cx="7" cy="2"/>
              </a:xfrm>
              <a:prstGeom prst="rect">
                <a:avLst/>
              </a:prstGeom>
              <a:grpFill/>
              <a:ln w="317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ct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  <a:ea typeface="ＭＳ Ｐゴシック" pitchFamily="34" charset="-128"/>
                </a:endParaRPr>
              </a:p>
            </p:txBody>
          </p:sp>
          <p:sp>
            <p:nvSpPr>
              <p:cNvPr id="18962" name="Line 703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63" name="Freeform 704"/>
              <p:cNvSpPr>
                <a:spLocks/>
              </p:cNvSpPr>
              <p:nvPr/>
            </p:nvSpPr>
            <p:spPr bwMode="auto">
              <a:xfrm>
                <a:off x="3976" y="2595"/>
                <a:ext cx="1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64" name="Freeform 705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24"/>
                  <a:gd name="T23" fmla="*/ 14 w 14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65" name="Line 706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1" cy="1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66" name="Freeform 707"/>
              <p:cNvSpPr>
                <a:spLocks/>
              </p:cNvSpPr>
              <p:nvPr/>
            </p:nvSpPr>
            <p:spPr bwMode="auto">
              <a:xfrm>
                <a:off x="3977" y="2572"/>
                <a:ext cx="6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2"/>
                  <a:gd name="T11" fmla="*/ 13 w 13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67" name="Freeform 708"/>
              <p:cNvSpPr>
                <a:spLocks/>
              </p:cNvSpPr>
              <p:nvPr/>
            </p:nvSpPr>
            <p:spPr bwMode="auto">
              <a:xfrm>
                <a:off x="3981" y="2585"/>
                <a:ext cx="1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19"/>
                  <a:gd name="T14" fmla="*/ 7 w 7"/>
                  <a:gd name="T15" fmla="*/ 19 h 1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68" name="Line 709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69" name="Freeform 710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18"/>
                  <a:gd name="T14" fmla="*/ 8 w 8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70" name="Freeform 711"/>
              <p:cNvSpPr>
                <a:spLocks/>
              </p:cNvSpPr>
              <p:nvPr/>
            </p:nvSpPr>
            <p:spPr bwMode="auto">
              <a:xfrm>
                <a:off x="3969" y="2532"/>
                <a:ext cx="1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9"/>
                  <a:gd name="T11" fmla="*/ 6 w 6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71" name="Freeform 712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28"/>
                  <a:gd name="T10" fmla="*/ 0 h 19"/>
                  <a:gd name="T11" fmla="*/ 28 w 28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72" name="Freeform 713"/>
              <p:cNvSpPr>
                <a:spLocks/>
              </p:cNvSpPr>
              <p:nvPr/>
            </p:nvSpPr>
            <p:spPr bwMode="auto">
              <a:xfrm>
                <a:off x="3970" y="2513"/>
                <a:ext cx="6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9"/>
                  <a:gd name="T11" fmla="*/ 15 w 15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73" name="Freeform 714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"/>
                  <a:gd name="T13" fmla="*/ 0 h 18"/>
                  <a:gd name="T14" fmla="*/ 20 w 20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</p:grpSp>
        <p:grpSp>
          <p:nvGrpSpPr>
            <p:cNvPr id="9" name="Group 715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5371" y="2400"/>
              <a:ext cx="127" cy="135"/>
              <a:chOff x="5486" y="2743"/>
              <a:chExt cx="137" cy="132"/>
            </a:xfrm>
            <a:grpFill/>
          </p:grpSpPr>
          <p:sp>
            <p:nvSpPr>
              <p:cNvPr id="18934" name="Freeform 716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0 h 87"/>
                  <a:gd name="T2" fmla="*/ 0 w 40"/>
                  <a:gd name="T3" fmla="*/ 0 h 87"/>
                  <a:gd name="T4" fmla="*/ 0 w 40"/>
                  <a:gd name="T5" fmla="*/ 0 h 87"/>
                  <a:gd name="T6" fmla="*/ 0 w 40"/>
                  <a:gd name="T7" fmla="*/ 0 h 87"/>
                  <a:gd name="T8" fmla="*/ 0 w 40"/>
                  <a:gd name="T9" fmla="*/ 0 h 87"/>
                  <a:gd name="T10" fmla="*/ 0 w 40"/>
                  <a:gd name="T11" fmla="*/ 0 h 87"/>
                  <a:gd name="T12" fmla="*/ 0 w 40"/>
                  <a:gd name="T13" fmla="*/ 0 h 87"/>
                  <a:gd name="T14" fmla="*/ 0 w 40"/>
                  <a:gd name="T15" fmla="*/ 0 h 87"/>
                  <a:gd name="T16" fmla="*/ 0 w 40"/>
                  <a:gd name="T17" fmla="*/ 0 h 87"/>
                  <a:gd name="T18" fmla="*/ 0 w 40"/>
                  <a:gd name="T19" fmla="*/ 0 h 87"/>
                  <a:gd name="T20" fmla="*/ 0 w 40"/>
                  <a:gd name="T21" fmla="*/ 0 h 87"/>
                  <a:gd name="T22" fmla="*/ 0 w 40"/>
                  <a:gd name="T23" fmla="*/ 0 h 87"/>
                  <a:gd name="T24" fmla="*/ 0 w 40"/>
                  <a:gd name="T25" fmla="*/ 0 h 87"/>
                  <a:gd name="T26" fmla="*/ 0 w 40"/>
                  <a:gd name="T27" fmla="*/ 0 h 87"/>
                  <a:gd name="T28" fmla="*/ 0 w 40"/>
                  <a:gd name="T29" fmla="*/ 0 h 87"/>
                  <a:gd name="T30" fmla="*/ 0 w 40"/>
                  <a:gd name="T31" fmla="*/ 0 h 87"/>
                  <a:gd name="T32" fmla="*/ 0 w 40"/>
                  <a:gd name="T33" fmla="*/ 0 h 87"/>
                  <a:gd name="T34" fmla="*/ 0 w 40"/>
                  <a:gd name="T35" fmla="*/ 0 h 87"/>
                  <a:gd name="T36" fmla="*/ 0 w 40"/>
                  <a:gd name="T37" fmla="*/ 0 h 87"/>
                  <a:gd name="T38" fmla="*/ 0 w 40"/>
                  <a:gd name="T39" fmla="*/ 0 h 87"/>
                  <a:gd name="T40" fmla="*/ 0 w 40"/>
                  <a:gd name="T41" fmla="*/ 0 h 87"/>
                  <a:gd name="T42" fmla="*/ 0 w 40"/>
                  <a:gd name="T43" fmla="*/ 0 h 87"/>
                  <a:gd name="T44" fmla="*/ 0 w 40"/>
                  <a:gd name="T45" fmla="*/ 0 h 87"/>
                  <a:gd name="T46" fmla="*/ 0 w 40"/>
                  <a:gd name="T47" fmla="*/ 0 h 87"/>
                  <a:gd name="T48" fmla="*/ 0 w 40"/>
                  <a:gd name="T49" fmla="*/ 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0"/>
                  <a:gd name="T76" fmla="*/ 0 h 87"/>
                  <a:gd name="T77" fmla="*/ 40 w 40"/>
                  <a:gd name="T78" fmla="*/ 87 h 8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35" name="Freeform 717"/>
              <p:cNvSpPr>
                <a:spLocks/>
              </p:cNvSpPr>
              <p:nvPr/>
            </p:nvSpPr>
            <p:spPr bwMode="auto">
              <a:xfrm>
                <a:off x="5603" y="2842"/>
                <a:ext cx="20" cy="20"/>
              </a:xfrm>
              <a:custGeom>
                <a:avLst/>
                <a:gdLst>
                  <a:gd name="T0" fmla="*/ 0 w 61"/>
                  <a:gd name="T1" fmla="*/ 0 h 37"/>
                  <a:gd name="T2" fmla="*/ 0 w 61"/>
                  <a:gd name="T3" fmla="*/ 0 h 37"/>
                  <a:gd name="T4" fmla="*/ 0 w 61"/>
                  <a:gd name="T5" fmla="*/ 0 h 37"/>
                  <a:gd name="T6" fmla="*/ 0 w 61"/>
                  <a:gd name="T7" fmla="*/ 0 h 37"/>
                  <a:gd name="T8" fmla="*/ 0 w 61"/>
                  <a:gd name="T9" fmla="*/ 0 h 37"/>
                  <a:gd name="T10" fmla="*/ 0 w 61"/>
                  <a:gd name="T11" fmla="*/ 0 h 37"/>
                  <a:gd name="T12" fmla="*/ 0 w 61"/>
                  <a:gd name="T13" fmla="*/ 0 h 37"/>
                  <a:gd name="T14" fmla="*/ 0 w 61"/>
                  <a:gd name="T15" fmla="*/ 0 h 37"/>
                  <a:gd name="T16" fmla="*/ 0 w 61"/>
                  <a:gd name="T17" fmla="*/ 0 h 37"/>
                  <a:gd name="T18" fmla="*/ 0 w 61"/>
                  <a:gd name="T19" fmla="*/ 0 h 37"/>
                  <a:gd name="T20" fmla="*/ 0 w 61"/>
                  <a:gd name="T21" fmla="*/ 0 h 37"/>
                  <a:gd name="T22" fmla="*/ 0 w 61"/>
                  <a:gd name="T23" fmla="*/ 0 h 37"/>
                  <a:gd name="T24" fmla="*/ 0 w 61"/>
                  <a:gd name="T25" fmla="*/ 0 h 37"/>
                  <a:gd name="T26" fmla="*/ 0 w 61"/>
                  <a:gd name="T27" fmla="*/ 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61"/>
                  <a:gd name="T43" fmla="*/ 0 h 37"/>
                  <a:gd name="T44" fmla="*/ 61 w 61"/>
                  <a:gd name="T45" fmla="*/ 37 h 3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36" name="Freeform 718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0 w 40"/>
                  <a:gd name="T1" fmla="*/ 0 h 30"/>
                  <a:gd name="T2" fmla="*/ 0 w 40"/>
                  <a:gd name="T3" fmla="*/ 0 h 30"/>
                  <a:gd name="T4" fmla="*/ 0 w 40"/>
                  <a:gd name="T5" fmla="*/ 0 h 30"/>
                  <a:gd name="T6" fmla="*/ 0 w 40"/>
                  <a:gd name="T7" fmla="*/ 0 h 30"/>
                  <a:gd name="T8" fmla="*/ 0 w 40"/>
                  <a:gd name="T9" fmla="*/ 0 h 30"/>
                  <a:gd name="T10" fmla="*/ 0 w 40"/>
                  <a:gd name="T11" fmla="*/ 0 h 30"/>
                  <a:gd name="T12" fmla="*/ 0 w 40"/>
                  <a:gd name="T13" fmla="*/ 0 h 30"/>
                  <a:gd name="T14" fmla="*/ 0 w 40"/>
                  <a:gd name="T15" fmla="*/ 0 h 30"/>
                  <a:gd name="T16" fmla="*/ 0 w 40"/>
                  <a:gd name="T17" fmla="*/ 0 h 30"/>
                  <a:gd name="T18" fmla="*/ 0 w 40"/>
                  <a:gd name="T19" fmla="*/ 0 h 30"/>
                  <a:gd name="T20" fmla="*/ 0 w 40"/>
                  <a:gd name="T21" fmla="*/ 0 h 30"/>
                  <a:gd name="T22" fmla="*/ 0 w 40"/>
                  <a:gd name="T23" fmla="*/ 0 h 30"/>
                  <a:gd name="T24" fmla="*/ 0 w 40"/>
                  <a:gd name="T25" fmla="*/ 0 h 30"/>
                  <a:gd name="T26" fmla="*/ 0 w 40"/>
                  <a:gd name="T27" fmla="*/ 0 h 30"/>
                  <a:gd name="T28" fmla="*/ 0 w 40"/>
                  <a:gd name="T29" fmla="*/ 0 h 30"/>
                  <a:gd name="T30" fmla="*/ 0 w 40"/>
                  <a:gd name="T31" fmla="*/ 0 h 30"/>
                  <a:gd name="T32" fmla="*/ 0 w 40"/>
                  <a:gd name="T33" fmla="*/ 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0"/>
                  <a:gd name="T52" fmla="*/ 0 h 30"/>
                  <a:gd name="T53" fmla="*/ 40 w 40"/>
                  <a:gd name="T54" fmla="*/ 30 h 3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37" name="Freeform 719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0 w 74"/>
                  <a:gd name="T1" fmla="*/ 0 h 80"/>
                  <a:gd name="T2" fmla="*/ 0 w 74"/>
                  <a:gd name="T3" fmla="*/ 0 h 80"/>
                  <a:gd name="T4" fmla="*/ 0 w 74"/>
                  <a:gd name="T5" fmla="*/ 0 h 80"/>
                  <a:gd name="T6" fmla="*/ 0 w 74"/>
                  <a:gd name="T7" fmla="*/ 0 h 80"/>
                  <a:gd name="T8" fmla="*/ 0 w 74"/>
                  <a:gd name="T9" fmla="*/ 0 h 80"/>
                  <a:gd name="T10" fmla="*/ 0 w 74"/>
                  <a:gd name="T11" fmla="*/ 0 h 80"/>
                  <a:gd name="T12" fmla="*/ 0 w 74"/>
                  <a:gd name="T13" fmla="*/ 0 h 80"/>
                  <a:gd name="T14" fmla="*/ 0 w 74"/>
                  <a:gd name="T15" fmla="*/ 0 h 80"/>
                  <a:gd name="T16" fmla="*/ 0 w 74"/>
                  <a:gd name="T17" fmla="*/ 0 h 80"/>
                  <a:gd name="T18" fmla="*/ 0 w 74"/>
                  <a:gd name="T19" fmla="*/ 0 h 80"/>
                  <a:gd name="T20" fmla="*/ 0 w 74"/>
                  <a:gd name="T21" fmla="*/ 0 h 80"/>
                  <a:gd name="T22" fmla="*/ 0 w 74"/>
                  <a:gd name="T23" fmla="*/ 0 h 80"/>
                  <a:gd name="T24" fmla="*/ 0 w 74"/>
                  <a:gd name="T25" fmla="*/ 0 h 80"/>
                  <a:gd name="T26" fmla="*/ 0 w 74"/>
                  <a:gd name="T27" fmla="*/ 0 h 80"/>
                  <a:gd name="T28" fmla="*/ 0 w 74"/>
                  <a:gd name="T29" fmla="*/ 0 h 80"/>
                  <a:gd name="T30" fmla="*/ 0 w 74"/>
                  <a:gd name="T31" fmla="*/ 0 h 80"/>
                  <a:gd name="T32" fmla="*/ 0 w 74"/>
                  <a:gd name="T33" fmla="*/ 0 h 80"/>
                  <a:gd name="T34" fmla="*/ 0 w 74"/>
                  <a:gd name="T35" fmla="*/ 0 h 80"/>
                  <a:gd name="T36" fmla="*/ 0 w 74"/>
                  <a:gd name="T37" fmla="*/ 0 h 80"/>
                  <a:gd name="T38" fmla="*/ 0 w 74"/>
                  <a:gd name="T39" fmla="*/ 0 h 80"/>
                  <a:gd name="T40" fmla="*/ 0 w 74"/>
                  <a:gd name="T41" fmla="*/ 0 h 80"/>
                  <a:gd name="T42" fmla="*/ 0 w 74"/>
                  <a:gd name="T43" fmla="*/ 0 h 80"/>
                  <a:gd name="T44" fmla="*/ 0 w 74"/>
                  <a:gd name="T45" fmla="*/ 0 h 80"/>
                  <a:gd name="T46" fmla="*/ 0 w 74"/>
                  <a:gd name="T47" fmla="*/ 0 h 80"/>
                  <a:gd name="T48" fmla="*/ 0 w 74"/>
                  <a:gd name="T49" fmla="*/ 0 h 80"/>
                  <a:gd name="T50" fmla="*/ 0 w 74"/>
                  <a:gd name="T51" fmla="*/ 0 h 80"/>
                  <a:gd name="T52" fmla="*/ 0 w 74"/>
                  <a:gd name="T53" fmla="*/ 0 h 80"/>
                  <a:gd name="T54" fmla="*/ 0 w 74"/>
                  <a:gd name="T55" fmla="*/ 0 h 80"/>
                  <a:gd name="T56" fmla="*/ 0 w 74"/>
                  <a:gd name="T57" fmla="*/ 0 h 80"/>
                  <a:gd name="T58" fmla="*/ 0 w 74"/>
                  <a:gd name="T59" fmla="*/ 0 h 80"/>
                  <a:gd name="T60" fmla="*/ 0 w 74"/>
                  <a:gd name="T61" fmla="*/ 0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74"/>
                  <a:gd name="T94" fmla="*/ 0 h 80"/>
                  <a:gd name="T95" fmla="*/ 74 w 74"/>
                  <a:gd name="T96" fmla="*/ 80 h 8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38" name="Freeform 720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0 w 86"/>
                  <a:gd name="T1" fmla="*/ 0 h 80"/>
                  <a:gd name="T2" fmla="*/ 0 w 86"/>
                  <a:gd name="T3" fmla="*/ 0 h 80"/>
                  <a:gd name="T4" fmla="*/ 0 w 86"/>
                  <a:gd name="T5" fmla="*/ 0 h 80"/>
                  <a:gd name="T6" fmla="*/ 0 w 86"/>
                  <a:gd name="T7" fmla="*/ 0 h 80"/>
                  <a:gd name="T8" fmla="*/ 0 w 86"/>
                  <a:gd name="T9" fmla="*/ 0 h 80"/>
                  <a:gd name="T10" fmla="*/ 0 w 86"/>
                  <a:gd name="T11" fmla="*/ 0 h 80"/>
                  <a:gd name="T12" fmla="*/ 0 w 86"/>
                  <a:gd name="T13" fmla="*/ 0 h 80"/>
                  <a:gd name="T14" fmla="*/ 0 w 86"/>
                  <a:gd name="T15" fmla="*/ 0 h 80"/>
                  <a:gd name="T16" fmla="*/ 0 w 86"/>
                  <a:gd name="T17" fmla="*/ 0 h 80"/>
                  <a:gd name="T18" fmla="*/ 0 w 86"/>
                  <a:gd name="T19" fmla="*/ 0 h 80"/>
                  <a:gd name="T20" fmla="*/ 0 w 86"/>
                  <a:gd name="T21" fmla="*/ 0 h 80"/>
                  <a:gd name="T22" fmla="*/ 0 w 86"/>
                  <a:gd name="T23" fmla="*/ 0 h 80"/>
                  <a:gd name="T24" fmla="*/ 0 w 86"/>
                  <a:gd name="T25" fmla="*/ 0 h 80"/>
                  <a:gd name="T26" fmla="*/ 0 w 86"/>
                  <a:gd name="T27" fmla="*/ 0 h 80"/>
                  <a:gd name="T28" fmla="*/ 0 w 86"/>
                  <a:gd name="T29" fmla="*/ 0 h 80"/>
                  <a:gd name="T30" fmla="*/ 0 w 86"/>
                  <a:gd name="T31" fmla="*/ 0 h 80"/>
                  <a:gd name="T32" fmla="*/ 0 w 86"/>
                  <a:gd name="T33" fmla="*/ 0 h 80"/>
                  <a:gd name="T34" fmla="*/ 0 w 86"/>
                  <a:gd name="T35" fmla="*/ 0 h 80"/>
                  <a:gd name="T36" fmla="*/ 0 w 86"/>
                  <a:gd name="T37" fmla="*/ 0 h 80"/>
                  <a:gd name="T38" fmla="*/ 0 w 86"/>
                  <a:gd name="T39" fmla="*/ 0 h 80"/>
                  <a:gd name="T40" fmla="*/ 0 w 86"/>
                  <a:gd name="T41" fmla="*/ 0 h 80"/>
                  <a:gd name="T42" fmla="*/ 0 w 86"/>
                  <a:gd name="T43" fmla="*/ 0 h 80"/>
                  <a:gd name="T44" fmla="*/ 0 w 86"/>
                  <a:gd name="T45" fmla="*/ 0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86"/>
                  <a:gd name="T70" fmla="*/ 0 h 80"/>
                  <a:gd name="T71" fmla="*/ 86 w 86"/>
                  <a:gd name="T72" fmla="*/ 80 h 8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39" name="Freeform 721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0 h 31"/>
                  <a:gd name="T2" fmla="*/ 0 w 74"/>
                  <a:gd name="T3" fmla="*/ 0 h 31"/>
                  <a:gd name="T4" fmla="*/ 0 w 74"/>
                  <a:gd name="T5" fmla="*/ 0 h 31"/>
                  <a:gd name="T6" fmla="*/ 0 w 74"/>
                  <a:gd name="T7" fmla="*/ 0 h 31"/>
                  <a:gd name="T8" fmla="*/ 0 w 74"/>
                  <a:gd name="T9" fmla="*/ 0 h 31"/>
                  <a:gd name="T10" fmla="*/ 0 w 74"/>
                  <a:gd name="T11" fmla="*/ 0 h 31"/>
                  <a:gd name="T12" fmla="*/ 0 w 74"/>
                  <a:gd name="T13" fmla="*/ 0 h 31"/>
                  <a:gd name="T14" fmla="*/ 0 w 74"/>
                  <a:gd name="T15" fmla="*/ 0 h 31"/>
                  <a:gd name="T16" fmla="*/ 0 w 74"/>
                  <a:gd name="T17" fmla="*/ 0 h 31"/>
                  <a:gd name="T18" fmla="*/ 0 w 74"/>
                  <a:gd name="T19" fmla="*/ 0 h 31"/>
                  <a:gd name="T20" fmla="*/ 0 w 74"/>
                  <a:gd name="T21" fmla="*/ 0 h 31"/>
                  <a:gd name="T22" fmla="*/ 0 w 74"/>
                  <a:gd name="T23" fmla="*/ 0 h 31"/>
                  <a:gd name="T24" fmla="*/ 0 w 74"/>
                  <a:gd name="T25" fmla="*/ 0 h 31"/>
                  <a:gd name="T26" fmla="*/ 0 w 74"/>
                  <a:gd name="T27" fmla="*/ 0 h 31"/>
                  <a:gd name="T28" fmla="*/ 0 w 74"/>
                  <a:gd name="T29" fmla="*/ 0 h 31"/>
                  <a:gd name="T30" fmla="*/ 0 w 74"/>
                  <a:gd name="T31" fmla="*/ 0 h 31"/>
                  <a:gd name="T32" fmla="*/ 0 w 74"/>
                  <a:gd name="T33" fmla="*/ 0 h 31"/>
                  <a:gd name="T34" fmla="*/ 0 w 74"/>
                  <a:gd name="T35" fmla="*/ 0 h 31"/>
                  <a:gd name="T36" fmla="*/ 0 w 74"/>
                  <a:gd name="T37" fmla="*/ 0 h 31"/>
                  <a:gd name="T38" fmla="*/ 0 w 74"/>
                  <a:gd name="T39" fmla="*/ 0 h 31"/>
                  <a:gd name="T40" fmla="*/ 0 w 74"/>
                  <a:gd name="T41" fmla="*/ 0 h 31"/>
                  <a:gd name="T42" fmla="*/ 0 w 74"/>
                  <a:gd name="T43" fmla="*/ 0 h 31"/>
                  <a:gd name="T44" fmla="*/ 0 w 74"/>
                  <a:gd name="T45" fmla="*/ 0 h 31"/>
                  <a:gd name="T46" fmla="*/ 0 w 74"/>
                  <a:gd name="T47" fmla="*/ 0 h 31"/>
                  <a:gd name="T48" fmla="*/ 0 w 74"/>
                  <a:gd name="T49" fmla="*/ 0 h 31"/>
                  <a:gd name="T50" fmla="*/ 0 w 74"/>
                  <a:gd name="T51" fmla="*/ 0 h 31"/>
                  <a:gd name="T52" fmla="*/ 0 w 74"/>
                  <a:gd name="T53" fmla="*/ 0 h 31"/>
                  <a:gd name="T54" fmla="*/ 0 w 74"/>
                  <a:gd name="T55" fmla="*/ 0 h 31"/>
                  <a:gd name="T56" fmla="*/ 0 w 74"/>
                  <a:gd name="T57" fmla="*/ 0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74"/>
                  <a:gd name="T88" fmla="*/ 0 h 31"/>
                  <a:gd name="T89" fmla="*/ 74 w 74"/>
                  <a:gd name="T90" fmla="*/ 31 h 31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40" name="Freeform 722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"/>
                  <a:gd name="T13" fmla="*/ 0 h 1"/>
                  <a:gd name="T14" fmla="*/ 20 w 20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41" name="Freeform 723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0 w 100"/>
                  <a:gd name="T1" fmla="*/ 0 h 65"/>
                  <a:gd name="T2" fmla="*/ 0 w 100"/>
                  <a:gd name="T3" fmla="*/ 0 h 65"/>
                  <a:gd name="T4" fmla="*/ 0 w 100"/>
                  <a:gd name="T5" fmla="*/ 0 h 65"/>
                  <a:gd name="T6" fmla="*/ 0 w 100"/>
                  <a:gd name="T7" fmla="*/ 0 h 65"/>
                  <a:gd name="T8" fmla="*/ 0 w 100"/>
                  <a:gd name="T9" fmla="*/ 0 h 65"/>
                  <a:gd name="T10" fmla="*/ 0 w 100"/>
                  <a:gd name="T11" fmla="*/ 0 h 65"/>
                  <a:gd name="T12" fmla="*/ 0 w 100"/>
                  <a:gd name="T13" fmla="*/ 0 h 65"/>
                  <a:gd name="T14" fmla="*/ 0 w 100"/>
                  <a:gd name="T15" fmla="*/ 0 h 65"/>
                  <a:gd name="T16" fmla="*/ 0 w 100"/>
                  <a:gd name="T17" fmla="*/ 0 h 65"/>
                  <a:gd name="T18" fmla="*/ 0 w 100"/>
                  <a:gd name="T19" fmla="*/ 0 h 65"/>
                  <a:gd name="T20" fmla="*/ 0 w 100"/>
                  <a:gd name="T21" fmla="*/ 0 h 65"/>
                  <a:gd name="T22" fmla="*/ 0 w 100"/>
                  <a:gd name="T23" fmla="*/ 0 h 65"/>
                  <a:gd name="T24" fmla="*/ 0 w 100"/>
                  <a:gd name="T25" fmla="*/ 0 h 65"/>
                  <a:gd name="T26" fmla="*/ 0 w 100"/>
                  <a:gd name="T27" fmla="*/ 0 h 65"/>
                  <a:gd name="T28" fmla="*/ 0 w 100"/>
                  <a:gd name="T29" fmla="*/ 0 h 65"/>
                  <a:gd name="T30" fmla="*/ 0 w 100"/>
                  <a:gd name="T31" fmla="*/ 0 h 65"/>
                  <a:gd name="T32" fmla="*/ 0 w 100"/>
                  <a:gd name="T33" fmla="*/ 0 h 65"/>
                  <a:gd name="T34" fmla="*/ 0 w 100"/>
                  <a:gd name="T35" fmla="*/ 0 h 65"/>
                  <a:gd name="T36" fmla="*/ 0 w 100"/>
                  <a:gd name="T37" fmla="*/ 0 h 65"/>
                  <a:gd name="T38" fmla="*/ 0 w 100"/>
                  <a:gd name="T39" fmla="*/ 0 h 65"/>
                  <a:gd name="T40" fmla="*/ 0 w 100"/>
                  <a:gd name="T41" fmla="*/ 0 h 65"/>
                  <a:gd name="T42" fmla="*/ 0 w 100"/>
                  <a:gd name="T43" fmla="*/ 0 h 65"/>
                  <a:gd name="T44" fmla="*/ 0 w 100"/>
                  <a:gd name="T45" fmla="*/ 0 h 65"/>
                  <a:gd name="T46" fmla="*/ 0 w 100"/>
                  <a:gd name="T47" fmla="*/ 0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00"/>
                  <a:gd name="T73" fmla="*/ 0 h 65"/>
                  <a:gd name="T74" fmla="*/ 100 w 100"/>
                  <a:gd name="T75" fmla="*/ 65 h 6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42" name="Freeform 724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0 w 79"/>
                  <a:gd name="T1" fmla="*/ 0 h 104"/>
                  <a:gd name="T2" fmla="*/ 0 w 79"/>
                  <a:gd name="T3" fmla="*/ 0 h 104"/>
                  <a:gd name="T4" fmla="*/ 0 w 79"/>
                  <a:gd name="T5" fmla="*/ 0 h 104"/>
                  <a:gd name="T6" fmla="*/ 0 w 79"/>
                  <a:gd name="T7" fmla="*/ 0 h 104"/>
                  <a:gd name="T8" fmla="*/ 0 w 79"/>
                  <a:gd name="T9" fmla="*/ 0 h 104"/>
                  <a:gd name="T10" fmla="*/ 0 w 79"/>
                  <a:gd name="T11" fmla="*/ 0 h 104"/>
                  <a:gd name="T12" fmla="*/ 0 w 79"/>
                  <a:gd name="T13" fmla="*/ 0 h 104"/>
                  <a:gd name="T14" fmla="*/ 0 w 79"/>
                  <a:gd name="T15" fmla="*/ 0 h 104"/>
                  <a:gd name="T16" fmla="*/ 0 w 79"/>
                  <a:gd name="T17" fmla="*/ 0 h 104"/>
                  <a:gd name="T18" fmla="*/ 0 w 79"/>
                  <a:gd name="T19" fmla="*/ 0 h 104"/>
                  <a:gd name="T20" fmla="*/ 0 w 79"/>
                  <a:gd name="T21" fmla="*/ 0 h 104"/>
                  <a:gd name="T22" fmla="*/ 0 w 79"/>
                  <a:gd name="T23" fmla="*/ 0 h 104"/>
                  <a:gd name="T24" fmla="*/ 0 w 79"/>
                  <a:gd name="T25" fmla="*/ 0 h 104"/>
                  <a:gd name="T26" fmla="*/ 0 w 79"/>
                  <a:gd name="T27" fmla="*/ 0 h 104"/>
                  <a:gd name="T28" fmla="*/ 0 w 79"/>
                  <a:gd name="T29" fmla="*/ 0 h 104"/>
                  <a:gd name="T30" fmla="*/ 0 w 79"/>
                  <a:gd name="T31" fmla="*/ 0 h 104"/>
                  <a:gd name="T32" fmla="*/ 0 w 79"/>
                  <a:gd name="T33" fmla="*/ 0 h 104"/>
                  <a:gd name="T34" fmla="*/ 0 w 79"/>
                  <a:gd name="T35" fmla="*/ 0 h 104"/>
                  <a:gd name="T36" fmla="*/ 0 w 79"/>
                  <a:gd name="T37" fmla="*/ 0 h 104"/>
                  <a:gd name="T38" fmla="*/ 0 w 79"/>
                  <a:gd name="T39" fmla="*/ 0 h 104"/>
                  <a:gd name="T40" fmla="*/ 0 w 79"/>
                  <a:gd name="T41" fmla="*/ 0 h 104"/>
                  <a:gd name="T42" fmla="*/ 0 w 79"/>
                  <a:gd name="T43" fmla="*/ 0 h 104"/>
                  <a:gd name="T44" fmla="*/ 0 w 79"/>
                  <a:gd name="T45" fmla="*/ 0 h 104"/>
                  <a:gd name="T46" fmla="*/ 0 w 79"/>
                  <a:gd name="T47" fmla="*/ 0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79"/>
                  <a:gd name="T73" fmla="*/ 0 h 104"/>
                  <a:gd name="T74" fmla="*/ 79 w 79"/>
                  <a:gd name="T75" fmla="*/ 104 h 10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</p:grpSp>
        <p:sp>
          <p:nvSpPr>
            <p:cNvPr id="18542" name="Freeform 725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2877" y="2235"/>
              <a:ext cx="8" cy="35"/>
            </a:xfrm>
            <a:custGeom>
              <a:avLst/>
              <a:gdLst>
                <a:gd name="T0" fmla="*/ 0 w 27"/>
                <a:gd name="T1" fmla="*/ 0 h 19"/>
                <a:gd name="T2" fmla="*/ 0 w 27"/>
                <a:gd name="T3" fmla="*/ 2460517 h 19"/>
                <a:gd name="T4" fmla="*/ 0 w 27"/>
                <a:gd name="T5" fmla="*/ 3819818 h 19"/>
                <a:gd name="T6" fmla="*/ 0 w 27"/>
                <a:gd name="T7" fmla="*/ 3819818 h 19"/>
                <a:gd name="T8" fmla="*/ 0 w 27"/>
                <a:gd name="T9" fmla="*/ 3819818 h 19"/>
                <a:gd name="T10" fmla="*/ 0 w 27"/>
                <a:gd name="T11" fmla="*/ 2460517 h 19"/>
                <a:gd name="T12" fmla="*/ 0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9"/>
                <a:gd name="T23" fmla="*/ 27 w 2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43" name="Freeform 726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2825" y="2323"/>
              <a:ext cx="10" cy="36"/>
            </a:xfrm>
            <a:custGeom>
              <a:avLst/>
              <a:gdLst>
                <a:gd name="T0" fmla="*/ 0 w 39"/>
                <a:gd name="T1" fmla="*/ 0 h 35"/>
                <a:gd name="T2" fmla="*/ 0 w 39"/>
                <a:gd name="T3" fmla="*/ 0 h 35"/>
                <a:gd name="T4" fmla="*/ 0 w 39"/>
                <a:gd name="T5" fmla="*/ 9 h 35"/>
                <a:gd name="T6" fmla="*/ 0 w 39"/>
                <a:gd name="T7" fmla="*/ 39 h 35"/>
                <a:gd name="T8" fmla="*/ 0 w 39"/>
                <a:gd name="T9" fmla="*/ 48 h 35"/>
                <a:gd name="T10" fmla="*/ 0 w 39"/>
                <a:gd name="T11" fmla="*/ 55 h 35"/>
                <a:gd name="T12" fmla="*/ 0 w 39"/>
                <a:gd name="T13" fmla="*/ 57 h 35"/>
                <a:gd name="T14" fmla="*/ 0 w 39"/>
                <a:gd name="T15" fmla="*/ 57 h 35"/>
                <a:gd name="T16" fmla="*/ 0 w 39"/>
                <a:gd name="T17" fmla="*/ 55 h 35"/>
                <a:gd name="T18" fmla="*/ 0 w 39"/>
                <a:gd name="T19" fmla="*/ 51 h 35"/>
                <a:gd name="T20" fmla="*/ 0 w 39"/>
                <a:gd name="T21" fmla="*/ 46 h 35"/>
                <a:gd name="T22" fmla="*/ 0 w 39"/>
                <a:gd name="T23" fmla="*/ 40 h 35"/>
                <a:gd name="T24" fmla="*/ 0 w 39"/>
                <a:gd name="T25" fmla="*/ 1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9"/>
                <a:gd name="T43" fmla="*/ 0 h 35"/>
                <a:gd name="T44" fmla="*/ 39 w 39"/>
                <a:gd name="T45" fmla="*/ 35 h 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44" name="Freeform 727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4053" y="1269"/>
              <a:ext cx="497" cy="209"/>
            </a:xfrm>
            <a:custGeom>
              <a:avLst/>
              <a:gdLst>
                <a:gd name="T0" fmla="*/ 0 w 1688"/>
                <a:gd name="T1" fmla="*/ 0 h 630"/>
                <a:gd name="T2" fmla="*/ 0 w 1688"/>
                <a:gd name="T3" fmla="*/ 0 h 630"/>
                <a:gd name="T4" fmla="*/ 0 w 1688"/>
                <a:gd name="T5" fmla="*/ 0 h 630"/>
                <a:gd name="T6" fmla="*/ 0 w 1688"/>
                <a:gd name="T7" fmla="*/ 0 h 630"/>
                <a:gd name="T8" fmla="*/ 0 w 1688"/>
                <a:gd name="T9" fmla="*/ 0 h 630"/>
                <a:gd name="T10" fmla="*/ 0 w 1688"/>
                <a:gd name="T11" fmla="*/ 0 h 630"/>
                <a:gd name="T12" fmla="*/ 0 w 1688"/>
                <a:gd name="T13" fmla="*/ 0 h 630"/>
                <a:gd name="T14" fmla="*/ 0 w 1688"/>
                <a:gd name="T15" fmla="*/ 0 h 630"/>
                <a:gd name="T16" fmla="*/ 0 w 1688"/>
                <a:gd name="T17" fmla="*/ 0 h 630"/>
                <a:gd name="T18" fmla="*/ 0 w 1688"/>
                <a:gd name="T19" fmla="*/ 0 h 630"/>
                <a:gd name="T20" fmla="*/ 0 w 1688"/>
                <a:gd name="T21" fmla="*/ 0 h 630"/>
                <a:gd name="T22" fmla="*/ 0 w 1688"/>
                <a:gd name="T23" fmla="*/ 0 h 630"/>
                <a:gd name="T24" fmla="*/ 0 w 1688"/>
                <a:gd name="T25" fmla="*/ 0 h 630"/>
                <a:gd name="T26" fmla="*/ 0 w 1688"/>
                <a:gd name="T27" fmla="*/ 0 h 630"/>
                <a:gd name="T28" fmla="*/ 0 w 1688"/>
                <a:gd name="T29" fmla="*/ 0 h 630"/>
                <a:gd name="T30" fmla="*/ 0 w 1688"/>
                <a:gd name="T31" fmla="*/ 0 h 630"/>
                <a:gd name="T32" fmla="*/ 0 w 1688"/>
                <a:gd name="T33" fmla="*/ 0 h 630"/>
                <a:gd name="T34" fmla="*/ 0 w 1688"/>
                <a:gd name="T35" fmla="*/ 0 h 630"/>
                <a:gd name="T36" fmla="*/ 0 w 1688"/>
                <a:gd name="T37" fmla="*/ 0 h 630"/>
                <a:gd name="T38" fmla="*/ 0 w 1688"/>
                <a:gd name="T39" fmla="*/ 0 h 630"/>
                <a:gd name="T40" fmla="*/ 0 w 1688"/>
                <a:gd name="T41" fmla="*/ 0 h 630"/>
                <a:gd name="T42" fmla="*/ 0 w 1688"/>
                <a:gd name="T43" fmla="*/ 0 h 630"/>
                <a:gd name="T44" fmla="*/ 0 w 1688"/>
                <a:gd name="T45" fmla="*/ 0 h 630"/>
                <a:gd name="T46" fmla="*/ 0 w 1688"/>
                <a:gd name="T47" fmla="*/ 0 h 630"/>
                <a:gd name="T48" fmla="*/ 0 w 1688"/>
                <a:gd name="T49" fmla="*/ 0 h 630"/>
                <a:gd name="T50" fmla="*/ 0 w 1688"/>
                <a:gd name="T51" fmla="*/ 0 h 630"/>
                <a:gd name="T52" fmla="*/ 0 w 1688"/>
                <a:gd name="T53" fmla="*/ 0 h 630"/>
                <a:gd name="T54" fmla="*/ 0 w 1688"/>
                <a:gd name="T55" fmla="*/ 0 h 630"/>
                <a:gd name="T56" fmla="*/ 0 w 1688"/>
                <a:gd name="T57" fmla="*/ 0 h 630"/>
                <a:gd name="T58" fmla="*/ 0 w 1688"/>
                <a:gd name="T59" fmla="*/ 0 h 630"/>
                <a:gd name="T60" fmla="*/ 0 w 1688"/>
                <a:gd name="T61" fmla="*/ 0 h 630"/>
                <a:gd name="T62" fmla="*/ 0 w 1688"/>
                <a:gd name="T63" fmla="*/ 0 h 630"/>
                <a:gd name="T64" fmla="*/ 0 w 1688"/>
                <a:gd name="T65" fmla="*/ 0 h 630"/>
                <a:gd name="T66" fmla="*/ 0 w 1688"/>
                <a:gd name="T67" fmla="*/ 0 h 630"/>
                <a:gd name="T68" fmla="*/ 0 w 1688"/>
                <a:gd name="T69" fmla="*/ 0 h 630"/>
                <a:gd name="T70" fmla="*/ 0 w 1688"/>
                <a:gd name="T71" fmla="*/ 0 h 630"/>
                <a:gd name="T72" fmla="*/ 0 w 1688"/>
                <a:gd name="T73" fmla="*/ 0 h 630"/>
                <a:gd name="T74" fmla="*/ 0 w 1688"/>
                <a:gd name="T75" fmla="*/ 0 h 630"/>
                <a:gd name="T76" fmla="*/ 0 w 1688"/>
                <a:gd name="T77" fmla="*/ 0 h 630"/>
                <a:gd name="T78" fmla="*/ 0 w 1688"/>
                <a:gd name="T79" fmla="*/ 0 h 630"/>
                <a:gd name="T80" fmla="*/ 0 w 1688"/>
                <a:gd name="T81" fmla="*/ 0 h 630"/>
                <a:gd name="T82" fmla="*/ 0 w 1688"/>
                <a:gd name="T83" fmla="*/ 0 h 630"/>
                <a:gd name="T84" fmla="*/ 0 w 1688"/>
                <a:gd name="T85" fmla="*/ 0 h 630"/>
                <a:gd name="T86" fmla="*/ 0 w 1688"/>
                <a:gd name="T87" fmla="*/ 0 h 630"/>
                <a:gd name="T88" fmla="*/ 0 w 1688"/>
                <a:gd name="T89" fmla="*/ 0 h 630"/>
                <a:gd name="T90" fmla="*/ 0 w 1688"/>
                <a:gd name="T91" fmla="*/ 0 h 630"/>
                <a:gd name="T92" fmla="*/ 0 w 1688"/>
                <a:gd name="T93" fmla="*/ 0 h 630"/>
                <a:gd name="T94" fmla="*/ 0 w 1688"/>
                <a:gd name="T95" fmla="*/ 0 h 630"/>
                <a:gd name="T96" fmla="*/ 0 w 1688"/>
                <a:gd name="T97" fmla="*/ 0 h 630"/>
                <a:gd name="T98" fmla="*/ 0 w 1688"/>
                <a:gd name="T99" fmla="*/ 0 h 630"/>
                <a:gd name="T100" fmla="*/ 0 w 1688"/>
                <a:gd name="T101" fmla="*/ 0 h 630"/>
                <a:gd name="T102" fmla="*/ 0 w 1688"/>
                <a:gd name="T103" fmla="*/ 0 h 630"/>
                <a:gd name="T104" fmla="*/ 0 w 1688"/>
                <a:gd name="T105" fmla="*/ 0 h 630"/>
                <a:gd name="T106" fmla="*/ 0 w 1688"/>
                <a:gd name="T107" fmla="*/ 0 h 630"/>
                <a:gd name="T108" fmla="*/ 0 w 1688"/>
                <a:gd name="T109" fmla="*/ 0 h 630"/>
                <a:gd name="T110" fmla="*/ 0 w 1688"/>
                <a:gd name="T111" fmla="*/ 0 h 630"/>
                <a:gd name="T112" fmla="*/ 0 w 1688"/>
                <a:gd name="T113" fmla="*/ 0 h 630"/>
                <a:gd name="T114" fmla="*/ 0 w 1688"/>
                <a:gd name="T115" fmla="*/ 0 h 630"/>
                <a:gd name="T116" fmla="*/ 0 w 1688"/>
                <a:gd name="T117" fmla="*/ 0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688"/>
                <a:gd name="T178" fmla="*/ 0 h 630"/>
                <a:gd name="T179" fmla="*/ 1688 w 1688"/>
                <a:gd name="T180" fmla="*/ 630 h 6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45" name="Freeform 728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1546" y="2508"/>
              <a:ext cx="224" cy="262"/>
            </a:xfrm>
            <a:custGeom>
              <a:avLst/>
              <a:gdLst>
                <a:gd name="T0" fmla="*/ 0 w 758"/>
                <a:gd name="T1" fmla="*/ 0 h 795"/>
                <a:gd name="T2" fmla="*/ 0 w 758"/>
                <a:gd name="T3" fmla="*/ 0 h 795"/>
                <a:gd name="T4" fmla="*/ 0 w 758"/>
                <a:gd name="T5" fmla="*/ 0 h 795"/>
                <a:gd name="T6" fmla="*/ 0 w 758"/>
                <a:gd name="T7" fmla="*/ 0 h 795"/>
                <a:gd name="T8" fmla="*/ 0 w 758"/>
                <a:gd name="T9" fmla="*/ 0 h 795"/>
                <a:gd name="T10" fmla="*/ 0 w 758"/>
                <a:gd name="T11" fmla="*/ 0 h 795"/>
                <a:gd name="T12" fmla="*/ 0 w 758"/>
                <a:gd name="T13" fmla="*/ 0 h 795"/>
                <a:gd name="T14" fmla="*/ 0 w 758"/>
                <a:gd name="T15" fmla="*/ 0 h 795"/>
                <a:gd name="T16" fmla="*/ 0 w 758"/>
                <a:gd name="T17" fmla="*/ 0 h 795"/>
                <a:gd name="T18" fmla="*/ 0 w 758"/>
                <a:gd name="T19" fmla="*/ 0 h 795"/>
                <a:gd name="T20" fmla="*/ 0 w 758"/>
                <a:gd name="T21" fmla="*/ 0 h 795"/>
                <a:gd name="T22" fmla="*/ 0 w 758"/>
                <a:gd name="T23" fmla="*/ 0 h 795"/>
                <a:gd name="T24" fmla="*/ 0 w 758"/>
                <a:gd name="T25" fmla="*/ 0 h 795"/>
                <a:gd name="T26" fmla="*/ 0 w 758"/>
                <a:gd name="T27" fmla="*/ 0 h 795"/>
                <a:gd name="T28" fmla="*/ 0 w 758"/>
                <a:gd name="T29" fmla="*/ 0 h 795"/>
                <a:gd name="T30" fmla="*/ 0 w 758"/>
                <a:gd name="T31" fmla="*/ 0 h 795"/>
                <a:gd name="T32" fmla="*/ 0 w 758"/>
                <a:gd name="T33" fmla="*/ 0 h 795"/>
                <a:gd name="T34" fmla="*/ 0 w 758"/>
                <a:gd name="T35" fmla="*/ 0 h 795"/>
                <a:gd name="T36" fmla="*/ 0 w 758"/>
                <a:gd name="T37" fmla="*/ 0 h 795"/>
                <a:gd name="T38" fmla="*/ 0 w 758"/>
                <a:gd name="T39" fmla="*/ 0 h 795"/>
                <a:gd name="T40" fmla="*/ 0 w 758"/>
                <a:gd name="T41" fmla="*/ 0 h 795"/>
                <a:gd name="T42" fmla="*/ 0 w 758"/>
                <a:gd name="T43" fmla="*/ 0 h 795"/>
                <a:gd name="T44" fmla="*/ 0 w 758"/>
                <a:gd name="T45" fmla="*/ 0 h 795"/>
                <a:gd name="T46" fmla="*/ 0 w 758"/>
                <a:gd name="T47" fmla="*/ 0 h 795"/>
                <a:gd name="T48" fmla="*/ 0 w 758"/>
                <a:gd name="T49" fmla="*/ 0 h 795"/>
                <a:gd name="T50" fmla="*/ 0 w 758"/>
                <a:gd name="T51" fmla="*/ 0 h 795"/>
                <a:gd name="T52" fmla="*/ 0 w 758"/>
                <a:gd name="T53" fmla="*/ 0 h 795"/>
                <a:gd name="T54" fmla="*/ 0 w 758"/>
                <a:gd name="T55" fmla="*/ 0 h 795"/>
                <a:gd name="T56" fmla="*/ 0 w 758"/>
                <a:gd name="T57" fmla="*/ 0 h 795"/>
                <a:gd name="T58" fmla="*/ 0 w 758"/>
                <a:gd name="T59" fmla="*/ 0 h 795"/>
                <a:gd name="T60" fmla="*/ 0 w 758"/>
                <a:gd name="T61" fmla="*/ 0 h 795"/>
                <a:gd name="T62" fmla="*/ 0 w 758"/>
                <a:gd name="T63" fmla="*/ 0 h 795"/>
                <a:gd name="T64" fmla="*/ 0 w 758"/>
                <a:gd name="T65" fmla="*/ 0 h 795"/>
                <a:gd name="T66" fmla="*/ 0 w 758"/>
                <a:gd name="T67" fmla="*/ 0 h 795"/>
                <a:gd name="T68" fmla="*/ 0 w 758"/>
                <a:gd name="T69" fmla="*/ 0 h 795"/>
                <a:gd name="T70" fmla="*/ 0 w 758"/>
                <a:gd name="T71" fmla="*/ 0 h 795"/>
                <a:gd name="T72" fmla="*/ 0 w 758"/>
                <a:gd name="T73" fmla="*/ 0 h 795"/>
                <a:gd name="T74" fmla="*/ 0 w 758"/>
                <a:gd name="T75" fmla="*/ 0 h 795"/>
                <a:gd name="T76" fmla="*/ 0 w 758"/>
                <a:gd name="T77" fmla="*/ 0 h 795"/>
                <a:gd name="T78" fmla="*/ 0 w 758"/>
                <a:gd name="T79" fmla="*/ 0 h 795"/>
                <a:gd name="T80" fmla="*/ 0 w 758"/>
                <a:gd name="T81" fmla="*/ 0 h 795"/>
                <a:gd name="T82" fmla="*/ 0 w 758"/>
                <a:gd name="T83" fmla="*/ 0 h 795"/>
                <a:gd name="T84" fmla="*/ 0 w 758"/>
                <a:gd name="T85" fmla="*/ 0 h 795"/>
                <a:gd name="T86" fmla="*/ 0 w 758"/>
                <a:gd name="T87" fmla="*/ 0 h 795"/>
                <a:gd name="T88" fmla="*/ 0 w 758"/>
                <a:gd name="T89" fmla="*/ 0 h 795"/>
                <a:gd name="T90" fmla="*/ 0 w 758"/>
                <a:gd name="T91" fmla="*/ 0 h 795"/>
                <a:gd name="T92" fmla="*/ 0 w 758"/>
                <a:gd name="T93" fmla="*/ 0 h 795"/>
                <a:gd name="T94" fmla="*/ 0 w 758"/>
                <a:gd name="T95" fmla="*/ 0 h 795"/>
                <a:gd name="T96" fmla="*/ 0 w 758"/>
                <a:gd name="T97" fmla="*/ 0 h 795"/>
                <a:gd name="T98" fmla="*/ 0 w 758"/>
                <a:gd name="T99" fmla="*/ 0 h 795"/>
                <a:gd name="T100" fmla="*/ 0 w 758"/>
                <a:gd name="T101" fmla="*/ 0 h 795"/>
                <a:gd name="T102" fmla="*/ 0 w 758"/>
                <a:gd name="T103" fmla="*/ 0 h 795"/>
                <a:gd name="T104" fmla="*/ 0 w 758"/>
                <a:gd name="T105" fmla="*/ 0 h 795"/>
                <a:gd name="T106" fmla="*/ 0 w 758"/>
                <a:gd name="T107" fmla="*/ 0 h 795"/>
                <a:gd name="T108" fmla="*/ 0 w 758"/>
                <a:gd name="T109" fmla="*/ 0 h 795"/>
                <a:gd name="T110" fmla="*/ 0 w 758"/>
                <a:gd name="T111" fmla="*/ 0 h 795"/>
                <a:gd name="T112" fmla="*/ 0 w 758"/>
                <a:gd name="T113" fmla="*/ 0 h 795"/>
                <a:gd name="T114" fmla="*/ 0 w 758"/>
                <a:gd name="T115" fmla="*/ 0 h 795"/>
                <a:gd name="T116" fmla="*/ 0 w 758"/>
                <a:gd name="T117" fmla="*/ 0 h 795"/>
                <a:gd name="T118" fmla="*/ 0 w 758"/>
                <a:gd name="T119" fmla="*/ 0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58"/>
                <a:gd name="T181" fmla="*/ 0 h 795"/>
                <a:gd name="T182" fmla="*/ 758 w 758"/>
                <a:gd name="T183" fmla="*/ 795 h 79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46" name="Freeform 729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1692" y="2149"/>
              <a:ext cx="81" cy="136"/>
            </a:xfrm>
            <a:custGeom>
              <a:avLst/>
              <a:gdLst>
                <a:gd name="T0" fmla="*/ 0 w 273"/>
                <a:gd name="T1" fmla="*/ 0 h 414"/>
                <a:gd name="T2" fmla="*/ 0 w 273"/>
                <a:gd name="T3" fmla="*/ 0 h 414"/>
                <a:gd name="T4" fmla="*/ 0 w 273"/>
                <a:gd name="T5" fmla="*/ 0 h 414"/>
                <a:gd name="T6" fmla="*/ 0 w 273"/>
                <a:gd name="T7" fmla="*/ 0 h 414"/>
                <a:gd name="T8" fmla="*/ 0 w 273"/>
                <a:gd name="T9" fmla="*/ 0 h 414"/>
                <a:gd name="T10" fmla="*/ 0 w 273"/>
                <a:gd name="T11" fmla="*/ 0 h 414"/>
                <a:gd name="T12" fmla="*/ 0 w 273"/>
                <a:gd name="T13" fmla="*/ 0 h 414"/>
                <a:gd name="T14" fmla="*/ 0 w 273"/>
                <a:gd name="T15" fmla="*/ 0 h 414"/>
                <a:gd name="T16" fmla="*/ 0 w 273"/>
                <a:gd name="T17" fmla="*/ 0 h 414"/>
                <a:gd name="T18" fmla="*/ 0 w 273"/>
                <a:gd name="T19" fmla="*/ 0 h 414"/>
                <a:gd name="T20" fmla="*/ 0 w 273"/>
                <a:gd name="T21" fmla="*/ 0 h 414"/>
                <a:gd name="T22" fmla="*/ 0 w 273"/>
                <a:gd name="T23" fmla="*/ 0 h 414"/>
                <a:gd name="T24" fmla="*/ 0 w 273"/>
                <a:gd name="T25" fmla="*/ 0 h 414"/>
                <a:gd name="T26" fmla="*/ 0 w 273"/>
                <a:gd name="T27" fmla="*/ 0 h 414"/>
                <a:gd name="T28" fmla="*/ 0 w 273"/>
                <a:gd name="T29" fmla="*/ 0 h 414"/>
                <a:gd name="T30" fmla="*/ 0 w 273"/>
                <a:gd name="T31" fmla="*/ 0 h 414"/>
                <a:gd name="T32" fmla="*/ 0 w 273"/>
                <a:gd name="T33" fmla="*/ 0 h 414"/>
                <a:gd name="T34" fmla="*/ 0 w 273"/>
                <a:gd name="T35" fmla="*/ 0 h 414"/>
                <a:gd name="T36" fmla="*/ 0 w 273"/>
                <a:gd name="T37" fmla="*/ 0 h 414"/>
                <a:gd name="T38" fmla="*/ 0 w 273"/>
                <a:gd name="T39" fmla="*/ 0 h 414"/>
                <a:gd name="T40" fmla="*/ 0 w 273"/>
                <a:gd name="T41" fmla="*/ 0 h 414"/>
                <a:gd name="T42" fmla="*/ 0 w 273"/>
                <a:gd name="T43" fmla="*/ 0 h 414"/>
                <a:gd name="T44" fmla="*/ 0 w 273"/>
                <a:gd name="T45" fmla="*/ 0 h 414"/>
                <a:gd name="T46" fmla="*/ 0 w 273"/>
                <a:gd name="T47" fmla="*/ 0 h 414"/>
                <a:gd name="T48" fmla="*/ 0 w 273"/>
                <a:gd name="T49" fmla="*/ 0 h 414"/>
                <a:gd name="T50" fmla="*/ 0 w 273"/>
                <a:gd name="T51" fmla="*/ 0 h 414"/>
                <a:gd name="T52" fmla="*/ 0 w 273"/>
                <a:gd name="T53" fmla="*/ 0 h 414"/>
                <a:gd name="T54" fmla="*/ 0 w 273"/>
                <a:gd name="T55" fmla="*/ 0 h 414"/>
                <a:gd name="T56" fmla="*/ 0 w 273"/>
                <a:gd name="T57" fmla="*/ 0 h 414"/>
                <a:gd name="T58" fmla="*/ 0 w 273"/>
                <a:gd name="T59" fmla="*/ 0 h 414"/>
                <a:gd name="T60" fmla="*/ 0 w 273"/>
                <a:gd name="T61" fmla="*/ 0 h 414"/>
                <a:gd name="T62" fmla="*/ 0 w 273"/>
                <a:gd name="T63" fmla="*/ 0 h 414"/>
                <a:gd name="T64" fmla="*/ 0 w 273"/>
                <a:gd name="T65" fmla="*/ 0 h 414"/>
                <a:gd name="T66" fmla="*/ 0 w 273"/>
                <a:gd name="T67" fmla="*/ 0 h 414"/>
                <a:gd name="T68" fmla="*/ 0 w 273"/>
                <a:gd name="T69" fmla="*/ 0 h 414"/>
                <a:gd name="T70" fmla="*/ 0 w 273"/>
                <a:gd name="T71" fmla="*/ 0 h 414"/>
                <a:gd name="T72" fmla="*/ 0 w 273"/>
                <a:gd name="T73" fmla="*/ 0 h 414"/>
                <a:gd name="T74" fmla="*/ 0 w 273"/>
                <a:gd name="T75" fmla="*/ 0 h 414"/>
                <a:gd name="T76" fmla="*/ 0 w 273"/>
                <a:gd name="T77" fmla="*/ 0 h 414"/>
                <a:gd name="T78" fmla="*/ 0 w 273"/>
                <a:gd name="T79" fmla="*/ 0 h 414"/>
                <a:gd name="T80" fmla="*/ 0 w 273"/>
                <a:gd name="T81" fmla="*/ 0 h 414"/>
                <a:gd name="T82" fmla="*/ 0 w 273"/>
                <a:gd name="T83" fmla="*/ 0 h 414"/>
                <a:gd name="T84" fmla="*/ 0 w 273"/>
                <a:gd name="T85" fmla="*/ 0 h 414"/>
                <a:gd name="T86" fmla="*/ 0 w 273"/>
                <a:gd name="T87" fmla="*/ 0 h 414"/>
                <a:gd name="T88" fmla="*/ 0 w 273"/>
                <a:gd name="T89" fmla="*/ 0 h 414"/>
                <a:gd name="T90" fmla="*/ 0 w 273"/>
                <a:gd name="T91" fmla="*/ 0 h 414"/>
                <a:gd name="T92" fmla="*/ 0 w 273"/>
                <a:gd name="T93" fmla="*/ 0 h 414"/>
                <a:gd name="T94" fmla="*/ 0 w 273"/>
                <a:gd name="T95" fmla="*/ 0 h 414"/>
                <a:gd name="T96" fmla="*/ 0 w 273"/>
                <a:gd name="T97" fmla="*/ 0 h 414"/>
                <a:gd name="T98" fmla="*/ 0 w 273"/>
                <a:gd name="T99" fmla="*/ 0 h 414"/>
                <a:gd name="T100" fmla="*/ 0 w 273"/>
                <a:gd name="T101" fmla="*/ 0 h 414"/>
                <a:gd name="T102" fmla="*/ 0 w 273"/>
                <a:gd name="T103" fmla="*/ 0 h 414"/>
                <a:gd name="T104" fmla="*/ 0 w 273"/>
                <a:gd name="T105" fmla="*/ 0 h 414"/>
                <a:gd name="T106" fmla="*/ 0 w 273"/>
                <a:gd name="T107" fmla="*/ 0 h 414"/>
                <a:gd name="T108" fmla="*/ 0 w 273"/>
                <a:gd name="T109" fmla="*/ 0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73"/>
                <a:gd name="T166" fmla="*/ 0 h 414"/>
                <a:gd name="T167" fmla="*/ 273 w 273"/>
                <a:gd name="T168" fmla="*/ 414 h 41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grpSp>
          <p:nvGrpSpPr>
            <p:cNvPr id="10" name="Group 730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1497" y="2045"/>
              <a:ext cx="221" cy="253"/>
              <a:chOff x="1486" y="2412"/>
              <a:chExt cx="244" cy="256"/>
            </a:xfrm>
            <a:grpFill/>
          </p:grpSpPr>
          <p:sp>
            <p:nvSpPr>
              <p:cNvPr id="18930" name="Freeform 731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0 h 22"/>
                  <a:gd name="T4" fmla="*/ 0 w 54"/>
                  <a:gd name="T5" fmla="*/ 0 h 22"/>
                  <a:gd name="T6" fmla="*/ 0 w 54"/>
                  <a:gd name="T7" fmla="*/ 0 h 22"/>
                  <a:gd name="T8" fmla="*/ 0 w 54"/>
                  <a:gd name="T9" fmla="*/ 0 h 22"/>
                  <a:gd name="T10" fmla="*/ 0 w 54"/>
                  <a:gd name="T11" fmla="*/ 0 h 22"/>
                  <a:gd name="T12" fmla="*/ 0 w 54"/>
                  <a:gd name="T13" fmla="*/ 0 h 22"/>
                  <a:gd name="T14" fmla="*/ 0 w 54"/>
                  <a:gd name="T15" fmla="*/ 0 h 22"/>
                  <a:gd name="T16" fmla="*/ 0 w 54"/>
                  <a:gd name="T17" fmla="*/ 0 h 22"/>
                  <a:gd name="T18" fmla="*/ 0 w 54"/>
                  <a:gd name="T19" fmla="*/ 0 h 22"/>
                  <a:gd name="T20" fmla="*/ 0 w 54"/>
                  <a:gd name="T21" fmla="*/ 0 h 22"/>
                  <a:gd name="T22" fmla="*/ 0 w 54"/>
                  <a:gd name="T23" fmla="*/ 0 h 22"/>
                  <a:gd name="T24" fmla="*/ 0 w 54"/>
                  <a:gd name="T25" fmla="*/ 0 h 22"/>
                  <a:gd name="T26" fmla="*/ 0 w 54"/>
                  <a:gd name="T27" fmla="*/ 0 h 22"/>
                  <a:gd name="T28" fmla="*/ 0 w 54"/>
                  <a:gd name="T29" fmla="*/ 0 h 22"/>
                  <a:gd name="T30" fmla="*/ 0 w 54"/>
                  <a:gd name="T31" fmla="*/ 0 h 22"/>
                  <a:gd name="T32" fmla="*/ 0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4"/>
                  <a:gd name="T55" fmla="*/ 0 h 22"/>
                  <a:gd name="T56" fmla="*/ 54 w 54"/>
                  <a:gd name="T57" fmla="*/ 22 h 2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31" name="Freeform 732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0 w 6"/>
                  <a:gd name="T1" fmla="*/ 0 h 24"/>
                  <a:gd name="T2" fmla="*/ 0 w 6"/>
                  <a:gd name="T3" fmla="*/ 0 h 24"/>
                  <a:gd name="T4" fmla="*/ 0 w 6"/>
                  <a:gd name="T5" fmla="*/ 0 h 24"/>
                  <a:gd name="T6" fmla="*/ 0 w 6"/>
                  <a:gd name="T7" fmla="*/ 0 h 24"/>
                  <a:gd name="T8" fmla="*/ 0 w 6"/>
                  <a:gd name="T9" fmla="*/ 0 h 24"/>
                  <a:gd name="T10" fmla="*/ 0 w 6"/>
                  <a:gd name="T11" fmla="*/ 0 h 24"/>
                  <a:gd name="T12" fmla="*/ 0 w 6"/>
                  <a:gd name="T13" fmla="*/ 0 h 24"/>
                  <a:gd name="T14" fmla="*/ 0 w 6"/>
                  <a:gd name="T15" fmla="*/ 0 h 24"/>
                  <a:gd name="T16" fmla="*/ 0 w 6"/>
                  <a:gd name="T17" fmla="*/ 0 h 24"/>
                  <a:gd name="T18" fmla="*/ 0 w 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24"/>
                  <a:gd name="T32" fmla="*/ 6 w 6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32" name="Freeform 733"/>
              <p:cNvSpPr>
                <a:spLocks/>
              </p:cNvSpPr>
              <p:nvPr/>
            </p:nvSpPr>
            <p:spPr bwMode="auto">
              <a:xfrm>
                <a:off x="1557" y="2438"/>
                <a:ext cx="9" cy="4"/>
              </a:xfrm>
              <a:custGeom>
                <a:avLst/>
                <a:gdLst>
                  <a:gd name="T0" fmla="*/ 0 w 27"/>
                  <a:gd name="T1" fmla="*/ 0 h 12"/>
                  <a:gd name="T2" fmla="*/ 0 w 27"/>
                  <a:gd name="T3" fmla="*/ 0 h 12"/>
                  <a:gd name="T4" fmla="*/ 0 w 27"/>
                  <a:gd name="T5" fmla="*/ 0 h 12"/>
                  <a:gd name="T6" fmla="*/ 0 w 27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7"/>
                  <a:gd name="T13" fmla="*/ 0 h 12"/>
                  <a:gd name="T14" fmla="*/ 27 w 27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33" name="Freeform 734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0 w 743"/>
                  <a:gd name="T1" fmla="*/ 0 h 672"/>
                  <a:gd name="T2" fmla="*/ 0 w 743"/>
                  <a:gd name="T3" fmla="*/ 0 h 672"/>
                  <a:gd name="T4" fmla="*/ 0 w 743"/>
                  <a:gd name="T5" fmla="*/ 0 h 672"/>
                  <a:gd name="T6" fmla="*/ 0 w 743"/>
                  <a:gd name="T7" fmla="*/ 0 h 672"/>
                  <a:gd name="T8" fmla="*/ 0 w 743"/>
                  <a:gd name="T9" fmla="*/ 0 h 672"/>
                  <a:gd name="T10" fmla="*/ 0 w 743"/>
                  <a:gd name="T11" fmla="*/ 0 h 672"/>
                  <a:gd name="T12" fmla="*/ 0 w 743"/>
                  <a:gd name="T13" fmla="*/ 0 h 672"/>
                  <a:gd name="T14" fmla="*/ 0 w 743"/>
                  <a:gd name="T15" fmla="*/ 0 h 672"/>
                  <a:gd name="T16" fmla="*/ 0 w 743"/>
                  <a:gd name="T17" fmla="*/ 0 h 672"/>
                  <a:gd name="T18" fmla="*/ 0 w 743"/>
                  <a:gd name="T19" fmla="*/ 0 h 672"/>
                  <a:gd name="T20" fmla="*/ 0 w 743"/>
                  <a:gd name="T21" fmla="*/ 0 h 672"/>
                  <a:gd name="T22" fmla="*/ 0 w 743"/>
                  <a:gd name="T23" fmla="*/ 0 h 672"/>
                  <a:gd name="T24" fmla="*/ 0 w 743"/>
                  <a:gd name="T25" fmla="*/ 0 h 672"/>
                  <a:gd name="T26" fmla="*/ 0 w 743"/>
                  <a:gd name="T27" fmla="*/ 0 h 672"/>
                  <a:gd name="T28" fmla="*/ 0 w 743"/>
                  <a:gd name="T29" fmla="*/ 0 h 672"/>
                  <a:gd name="T30" fmla="*/ 0 w 743"/>
                  <a:gd name="T31" fmla="*/ 0 h 672"/>
                  <a:gd name="T32" fmla="*/ 0 w 743"/>
                  <a:gd name="T33" fmla="*/ 0 h 672"/>
                  <a:gd name="T34" fmla="*/ 0 w 743"/>
                  <a:gd name="T35" fmla="*/ 0 h 672"/>
                  <a:gd name="T36" fmla="*/ 0 w 743"/>
                  <a:gd name="T37" fmla="*/ 0 h 672"/>
                  <a:gd name="T38" fmla="*/ 0 w 743"/>
                  <a:gd name="T39" fmla="*/ 0 h 672"/>
                  <a:gd name="T40" fmla="*/ 0 w 743"/>
                  <a:gd name="T41" fmla="*/ 0 h 672"/>
                  <a:gd name="T42" fmla="*/ 0 w 743"/>
                  <a:gd name="T43" fmla="*/ 0 h 672"/>
                  <a:gd name="T44" fmla="*/ 0 w 743"/>
                  <a:gd name="T45" fmla="*/ 0 h 672"/>
                  <a:gd name="T46" fmla="*/ 0 w 743"/>
                  <a:gd name="T47" fmla="*/ 0 h 672"/>
                  <a:gd name="T48" fmla="*/ 0 w 743"/>
                  <a:gd name="T49" fmla="*/ 0 h 672"/>
                  <a:gd name="T50" fmla="*/ 0 w 743"/>
                  <a:gd name="T51" fmla="*/ 0 h 672"/>
                  <a:gd name="T52" fmla="*/ 0 w 743"/>
                  <a:gd name="T53" fmla="*/ 0 h 672"/>
                  <a:gd name="T54" fmla="*/ 0 w 743"/>
                  <a:gd name="T55" fmla="*/ 0 h 672"/>
                  <a:gd name="T56" fmla="*/ 0 w 743"/>
                  <a:gd name="T57" fmla="*/ 0 h 672"/>
                  <a:gd name="T58" fmla="*/ 0 w 743"/>
                  <a:gd name="T59" fmla="*/ 0 h 672"/>
                  <a:gd name="T60" fmla="*/ 0 w 743"/>
                  <a:gd name="T61" fmla="*/ 0 h 672"/>
                  <a:gd name="T62" fmla="*/ 0 w 743"/>
                  <a:gd name="T63" fmla="*/ 0 h 672"/>
                  <a:gd name="T64" fmla="*/ 0 w 743"/>
                  <a:gd name="T65" fmla="*/ 0 h 672"/>
                  <a:gd name="T66" fmla="*/ 0 w 743"/>
                  <a:gd name="T67" fmla="*/ 0 h 672"/>
                  <a:gd name="T68" fmla="*/ 0 w 743"/>
                  <a:gd name="T69" fmla="*/ 0 h 672"/>
                  <a:gd name="T70" fmla="*/ 0 w 743"/>
                  <a:gd name="T71" fmla="*/ 0 h 672"/>
                  <a:gd name="T72" fmla="*/ 0 w 743"/>
                  <a:gd name="T73" fmla="*/ 0 h 672"/>
                  <a:gd name="T74" fmla="*/ 0 w 743"/>
                  <a:gd name="T75" fmla="*/ 0 h 672"/>
                  <a:gd name="T76" fmla="*/ 0 w 743"/>
                  <a:gd name="T77" fmla="*/ 0 h 672"/>
                  <a:gd name="T78" fmla="*/ 0 w 743"/>
                  <a:gd name="T79" fmla="*/ 0 h 672"/>
                  <a:gd name="T80" fmla="*/ 0 w 743"/>
                  <a:gd name="T81" fmla="*/ 0 h 672"/>
                  <a:gd name="T82" fmla="*/ 0 w 743"/>
                  <a:gd name="T83" fmla="*/ 0 h 672"/>
                  <a:gd name="T84" fmla="*/ 0 w 743"/>
                  <a:gd name="T85" fmla="*/ 0 h 672"/>
                  <a:gd name="T86" fmla="*/ 0 w 743"/>
                  <a:gd name="T87" fmla="*/ 0 h 672"/>
                  <a:gd name="T88" fmla="*/ 0 w 743"/>
                  <a:gd name="T89" fmla="*/ 0 h 672"/>
                  <a:gd name="T90" fmla="*/ 0 w 743"/>
                  <a:gd name="T91" fmla="*/ 0 h 672"/>
                  <a:gd name="T92" fmla="*/ 0 w 743"/>
                  <a:gd name="T93" fmla="*/ 0 h 672"/>
                  <a:gd name="T94" fmla="*/ 0 w 743"/>
                  <a:gd name="T95" fmla="*/ 0 h 672"/>
                  <a:gd name="T96" fmla="*/ 0 w 743"/>
                  <a:gd name="T97" fmla="*/ 0 h 672"/>
                  <a:gd name="T98" fmla="*/ 0 w 743"/>
                  <a:gd name="T99" fmla="*/ 0 h 672"/>
                  <a:gd name="T100" fmla="*/ 0 w 743"/>
                  <a:gd name="T101" fmla="*/ 0 h 672"/>
                  <a:gd name="T102" fmla="*/ 0 w 743"/>
                  <a:gd name="T103" fmla="*/ 0 h 672"/>
                  <a:gd name="T104" fmla="*/ 0 w 743"/>
                  <a:gd name="T105" fmla="*/ 0 h 672"/>
                  <a:gd name="T106" fmla="*/ 0 w 743"/>
                  <a:gd name="T107" fmla="*/ 0 h 672"/>
                  <a:gd name="T108" fmla="*/ 0 w 743"/>
                  <a:gd name="T109" fmla="*/ 0 h 672"/>
                  <a:gd name="T110" fmla="*/ 0 w 743"/>
                  <a:gd name="T111" fmla="*/ 0 h 672"/>
                  <a:gd name="T112" fmla="*/ 0 w 743"/>
                  <a:gd name="T113" fmla="*/ 0 h 672"/>
                  <a:gd name="T114" fmla="*/ 0 w 743"/>
                  <a:gd name="T115" fmla="*/ 0 h 672"/>
                  <a:gd name="T116" fmla="*/ 0 w 743"/>
                  <a:gd name="T117" fmla="*/ 0 h 672"/>
                  <a:gd name="T118" fmla="*/ 0 w 743"/>
                  <a:gd name="T119" fmla="*/ 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43"/>
                  <a:gd name="T181" fmla="*/ 0 h 672"/>
                  <a:gd name="T182" fmla="*/ 743 w 743"/>
                  <a:gd name="T183" fmla="*/ 672 h 67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</p:grpSp>
        <p:sp>
          <p:nvSpPr>
            <p:cNvPr id="18548" name="Freeform 735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4924" y="3015"/>
              <a:ext cx="21" cy="7"/>
            </a:xfrm>
            <a:custGeom>
              <a:avLst/>
              <a:gdLst>
                <a:gd name="T0" fmla="*/ 0 w 79"/>
                <a:gd name="T1" fmla="*/ 0 h 23"/>
                <a:gd name="T2" fmla="*/ 0 w 79"/>
                <a:gd name="T3" fmla="*/ 0 h 23"/>
                <a:gd name="T4" fmla="*/ 0 w 79"/>
                <a:gd name="T5" fmla="*/ 0 h 23"/>
                <a:gd name="T6" fmla="*/ 0 w 79"/>
                <a:gd name="T7" fmla="*/ 0 h 23"/>
                <a:gd name="T8" fmla="*/ 0 w 79"/>
                <a:gd name="T9" fmla="*/ 0 h 23"/>
                <a:gd name="T10" fmla="*/ 0 w 79"/>
                <a:gd name="T11" fmla="*/ 0 h 23"/>
                <a:gd name="T12" fmla="*/ 0 w 79"/>
                <a:gd name="T13" fmla="*/ 0 h 23"/>
                <a:gd name="T14" fmla="*/ 0 w 79"/>
                <a:gd name="T15" fmla="*/ 0 h 23"/>
                <a:gd name="T16" fmla="*/ 0 w 79"/>
                <a:gd name="T17" fmla="*/ 0 h 23"/>
                <a:gd name="T18" fmla="*/ 0 w 79"/>
                <a:gd name="T19" fmla="*/ 0 h 23"/>
                <a:gd name="T20" fmla="*/ 0 w 79"/>
                <a:gd name="T21" fmla="*/ 0 h 23"/>
                <a:gd name="T22" fmla="*/ 0 w 79"/>
                <a:gd name="T23" fmla="*/ 0 h 23"/>
                <a:gd name="T24" fmla="*/ 0 w 79"/>
                <a:gd name="T25" fmla="*/ 0 h 23"/>
                <a:gd name="T26" fmla="*/ 0 w 79"/>
                <a:gd name="T27" fmla="*/ 0 h 23"/>
                <a:gd name="T28" fmla="*/ 0 w 79"/>
                <a:gd name="T29" fmla="*/ 0 h 23"/>
                <a:gd name="T30" fmla="*/ 0 w 79"/>
                <a:gd name="T31" fmla="*/ 0 h 23"/>
                <a:gd name="T32" fmla="*/ 0 w 79"/>
                <a:gd name="T33" fmla="*/ 0 h 23"/>
                <a:gd name="T34" fmla="*/ 0 w 79"/>
                <a:gd name="T35" fmla="*/ 0 h 23"/>
                <a:gd name="T36" fmla="*/ 0 w 79"/>
                <a:gd name="T37" fmla="*/ 0 h 23"/>
                <a:gd name="T38" fmla="*/ 0 w 79"/>
                <a:gd name="T39" fmla="*/ 0 h 23"/>
                <a:gd name="T40" fmla="*/ 0 w 79"/>
                <a:gd name="T41" fmla="*/ 0 h 23"/>
                <a:gd name="T42" fmla="*/ 0 w 79"/>
                <a:gd name="T43" fmla="*/ 0 h 23"/>
                <a:gd name="T44" fmla="*/ 0 w 79"/>
                <a:gd name="T45" fmla="*/ 0 h 23"/>
                <a:gd name="T46" fmla="*/ 0 w 79"/>
                <a:gd name="T47" fmla="*/ 0 h 23"/>
                <a:gd name="T48" fmla="*/ 0 w 79"/>
                <a:gd name="T49" fmla="*/ 0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23"/>
                <a:gd name="T77" fmla="*/ 79 w 79"/>
                <a:gd name="T78" fmla="*/ 23 h 2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49" name="Freeform 736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5003" y="3099"/>
              <a:ext cx="1" cy="3"/>
            </a:xfrm>
            <a:custGeom>
              <a:avLst/>
              <a:gdLst>
                <a:gd name="T0" fmla="*/ 0 w 1"/>
                <a:gd name="T1" fmla="*/ 0 h 6"/>
                <a:gd name="T2" fmla="*/ 0 w 1"/>
                <a:gd name="T3" fmla="*/ 1 h 6"/>
                <a:gd name="T4" fmla="*/ 0 w 1"/>
                <a:gd name="T5" fmla="*/ 0 h 6"/>
                <a:gd name="T6" fmla="*/ 0 60000 65536"/>
                <a:gd name="T7" fmla="*/ 0 60000 65536"/>
                <a:gd name="T8" fmla="*/ 0 60000 65536"/>
                <a:gd name="T9" fmla="*/ 0 w 1"/>
                <a:gd name="T10" fmla="*/ 0 h 6"/>
                <a:gd name="T11" fmla="*/ 1 w 1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50" name="Line 737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5065" y="3098"/>
              <a:ext cx="1" cy="8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51" name="Freeform 738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5065" y="3098"/>
              <a:ext cx="2" cy="10"/>
            </a:xfrm>
            <a:custGeom>
              <a:avLst/>
              <a:gdLst>
                <a:gd name="T0" fmla="*/ 0 w 5"/>
                <a:gd name="T1" fmla="*/ 0 h 30"/>
                <a:gd name="T2" fmla="*/ 0 w 5"/>
                <a:gd name="T3" fmla="*/ 0 h 30"/>
                <a:gd name="T4" fmla="*/ 0 w 5"/>
                <a:gd name="T5" fmla="*/ 0 h 30"/>
                <a:gd name="T6" fmla="*/ 0 w 5"/>
                <a:gd name="T7" fmla="*/ 0 h 30"/>
                <a:gd name="T8" fmla="*/ 0 w 5"/>
                <a:gd name="T9" fmla="*/ 0 h 30"/>
                <a:gd name="T10" fmla="*/ 0 w 5"/>
                <a:gd name="T11" fmla="*/ 0 h 30"/>
                <a:gd name="T12" fmla="*/ 0 w 5"/>
                <a:gd name="T13" fmla="*/ 0 h 30"/>
                <a:gd name="T14" fmla="*/ 0 w 5"/>
                <a:gd name="T15" fmla="*/ 0 h 30"/>
                <a:gd name="T16" fmla="*/ 0 w 5"/>
                <a:gd name="T17" fmla="*/ 0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30"/>
                <a:gd name="T29" fmla="*/ 5 w 5"/>
                <a:gd name="T30" fmla="*/ 30 h 3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52" name="Freeform 739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5268" y="2764"/>
              <a:ext cx="15" cy="18"/>
            </a:xfrm>
            <a:custGeom>
              <a:avLst/>
              <a:gdLst>
                <a:gd name="T0" fmla="*/ 0 w 53"/>
                <a:gd name="T1" fmla="*/ 0 h 55"/>
                <a:gd name="T2" fmla="*/ 0 w 53"/>
                <a:gd name="T3" fmla="*/ 0 h 55"/>
                <a:gd name="T4" fmla="*/ 0 w 53"/>
                <a:gd name="T5" fmla="*/ 0 h 55"/>
                <a:gd name="T6" fmla="*/ 0 w 53"/>
                <a:gd name="T7" fmla="*/ 0 h 55"/>
                <a:gd name="T8" fmla="*/ 0 w 53"/>
                <a:gd name="T9" fmla="*/ 0 h 55"/>
                <a:gd name="T10" fmla="*/ 0 w 53"/>
                <a:gd name="T11" fmla="*/ 0 h 55"/>
                <a:gd name="T12" fmla="*/ 0 w 53"/>
                <a:gd name="T13" fmla="*/ 0 h 55"/>
                <a:gd name="T14" fmla="*/ 0 w 53"/>
                <a:gd name="T15" fmla="*/ 0 h 55"/>
                <a:gd name="T16" fmla="*/ 0 w 53"/>
                <a:gd name="T17" fmla="*/ 0 h 55"/>
                <a:gd name="T18" fmla="*/ 0 w 53"/>
                <a:gd name="T19" fmla="*/ 0 h 55"/>
                <a:gd name="T20" fmla="*/ 0 w 53"/>
                <a:gd name="T21" fmla="*/ 0 h 55"/>
                <a:gd name="T22" fmla="*/ 0 w 53"/>
                <a:gd name="T23" fmla="*/ 0 h 55"/>
                <a:gd name="T24" fmla="*/ 0 w 53"/>
                <a:gd name="T25" fmla="*/ 0 h 55"/>
                <a:gd name="T26" fmla="*/ 0 w 53"/>
                <a:gd name="T27" fmla="*/ 0 h 55"/>
                <a:gd name="T28" fmla="*/ 0 w 53"/>
                <a:gd name="T29" fmla="*/ 0 h 55"/>
                <a:gd name="T30" fmla="*/ 0 w 53"/>
                <a:gd name="T31" fmla="*/ 0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55"/>
                <a:gd name="T50" fmla="*/ 53 w 53"/>
                <a:gd name="T51" fmla="*/ 55 h 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53" name="Freeform 740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5273" y="2718"/>
              <a:ext cx="18" cy="25"/>
            </a:xfrm>
            <a:custGeom>
              <a:avLst/>
              <a:gdLst>
                <a:gd name="T0" fmla="*/ 0 w 65"/>
                <a:gd name="T1" fmla="*/ 0 h 75"/>
                <a:gd name="T2" fmla="*/ 0 w 65"/>
                <a:gd name="T3" fmla="*/ 0 h 75"/>
                <a:gd name="T4" fmla="*/ 0 w 65"/>
                <a:gd name="T5" fmla="*/ 0 h 75"/>
                <a:gd name="T6" fmla="*/ 0 w 65"/>
                <a:gd name="T7" fmla="*/ 0 h 75"/>
                <a:gd name="T8" fmla="*/ 0 w 65"/>
                <a:gd name="T9" fmla="*/ 0 h 75"/>
                <a:gd name="T10" fmla="*/ 0 w 65"/>
                <a:gd name="T11" fmla="*/ 0 h 75"/>
                <a:gd name="T12" fmla="*/ 0 w 65"/>
                <a:gd name="T13" fmla="*/ 0 h 75"/>
                <a:gd name="T14" fmla="*/ 0 w 65"/>
                <a:gd name="T15" fmla="*/ 0 h 75"/>
                <a:gd name="T16" fmla="*/ 0 w 65"/>
                <a:gd name="T17" fmla="*/ 0 h 75"/>
                <a:gd name="T18" fmla="*/ 0 w 65"/>
                <a:gd name="T19" fmla="*/ 0 h 75"/>
                <a:gd name="T20" fmla="*/ 0 w 65"/>
                <a:gd name="T21" fmla="*/ 0 h 75"/>
                <a:gd name="T22" fmla="*/ 0 w 65"/>
                <a:gd name="T23" fmla="*/ 0 h 75"/>
                <a:gd name="T24" fmla="*/ 0 w 65"/>
                <a:gd name="T25" fmla="*/ 0 h 75"/>
                <a:gd name="T26" fmla="*/ 0 w 65"/>
                <a:gd name="T27" fmla="*/ 0 h 75"/>
                <a:gd name="T28" fmla="*/ 0 w 65"/>
                <a:gd name="T29" fmla="*/ 0 h 75"/>
                <a:gd name="T30" fmla="*/ 0 w 65"/>
                <a:gd name="T31" fmla="*/ 0 h 75"/>
                <a:gd name="T32" fmla="*/ 0 w 65"/>
                <a:gd name="T33" fmla="*/ 0 h 75"/>
                <a:gd name="T34" fmla="*/ 0 w 65"/>
                <a:gd name="T35" fmla="*/ 0 h 75"/>
                <a:gd name="T36" fmla="*/ 0 w 65"/>
                <a:gd name="T37" fmla="*/ 0 h 75"/>
                <a:gd name="T38" fmla="*/ 0 w 65"/>
                <a:gd name="T39" fmla="*/ 0 h 75"/>
                <a:gd name="T40" fmla="*/ 0 w 65"/>
                <a:gd name="T41" fmla="*/ 0 h 75"/>
                <a:gd name="T42" fmla="*/ 0 w 65"/>
                <a:gd name="T43" fmla="*/ 0 h 75"/>
                <a:gd name="T44" fmla="*/ 0 w 65"/>
                <a:gd name="T45" fmla="*/ 0 h 75"/>
                <a:gd name="T46" fmla="*/ 0 w 65"/>
                <a:gd name="T47" fmla="*/ 0 h 75"/>
                <a:gd name="T48" fmla="*/ 0 w 65"/>
                <a:gd name="T49" fmla="*/ 0 h 75"/>
                <a:gd name="T50" fmla="*/ 0 w 65"/>
                <a:gd name="T51" fmla="*/ 0 h 75"/>
                <a:gd name="T52" fmla="*/ 0 w 65"/>
                <a:gd name="T53" fmla="*/ 0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5"/>
                <a:gd name="T82" fmla="*/ 0 h 75"/>
                <a:gd name="T83" fmla="*/ 65 w 65"/>
                <a:gd name="T84" fmla="*/ 75 h 7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54" name="Freeform 741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5256" y="2703"/>
              <a:ext cx="12" cy="19"/>
            </a:xfrm>
            <a:custGeom>
              <a:avLst/>
              <a:gdLst>
                <a:gd name="T0" fmla="*/ 0 w 40"/>
                <a:gd name="T1" fmla="*/ 0 h 62"/>
                <a:gd name="T2" fmla="*/ 0 w 40"/>
                <a:gd name="T3" fmla="*/ 0 h 62"/>
                <a:gd name="T4" fmla="*/ 0 w 40"/>
                <a:gd name="T5" fmla="*/ 0 h 62"/>
                <a:gd name="T6" fmla="*/ 0 w 40"/>
                <a:gd name="T7" fmla="*/ 0 h 62"/>
                <a:gd name="T8" fmla="*/ 0 w 40"/>
                <a:gd name="T9" fmla="*/ 0 h 62"/>
                <a:gd name="T10" fmla="*/ 0 w 40"/>
                <a:gd name="T11" fmla="*/ 0 h 62"/>
                <a:gd name="T12" fmla="*/ 0 w 40"/>
                <a:gd name="T13" fmla="*/ 0 h 62"/>
                <a:gd name="T14" fmla="*/ 0 w 40"/>
                <a:gd name="T15" fmla="*/ 0 h 62"/>
                <a:gd name="T16" fmla="*/ 0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62"/>
                <a:gd name="T29" fmla="*/ 40 w 40"/>
                <a:gd name="T30" fmla="*/ 62 h 6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55" name="Freeform 742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5201" y="2626"/>
              <a:ext cx="47" cy="87"/>
            </a:xfrm>
            <a:custGeom>
              <a:avLst/>
              <a:gdLst>
                <a:gd name="T0" fmla="*/ 0 w 159"/>
                <a:gd name="T1" fmla="*/ 0 h 259"/>
                <a:gd name="T2" fmla="*/ 0 w 159"/>
                <a:gd name="T3" fmla="*/ 0 h 259"/>
                <a:gd name="T4" fmla="*/ 0 w 159"/>
                <a:gd name="T5" fmla="*/ 0 h 259"/>
                <a:gd name="T6" fmla="*/ 0 w 159"/>
                <a:gd name="T7" fmla="*/ 0 h 259"/>
                <a:gd name="T8" fmla="*/ 0 w 159"/>
                <a:gd name="T9" fmla="*/ 0 h 259"/>
                <a:gd name="T10" fmla="*/ 0 w 159"/>
                <a:gd name="T11" fmla="*/ 0 h 259"/>
                <a:gd name="T12" fmla="*/ 0 w 159"/>
                <a:gd name="T13" fmla="*/ 0 h 259"/>
                <a:gd name="T14" fmla="*/ 0 w 159"/>
                <a:gd name="T15" fmla="*/ 0 h 259"/>
                <a:gd name="T16" fmla="*/ 0 w 159"/>
                <a:gd name="T17" fmla="*/ 0 h 259"/>
                <a:gd name="T18" fmla="*/ 0 w 159"/>
                <a:gd name="T19" fmla="*/ 0 h 259"/>
                <a:gd name="T20" fmla="*/ 0 w 159"/>
                <a:gd name="T21" fmla="*/ 0 h 259"/>
                <a:gd name="T22" fmla="*/ 0 w 159"/>
                <a:gd name="T23" fmla="*/ 0 h 259"/>
                <a:gd name="T24" fmla="*/ 0 w 159"/>
                <a:gd name="T25" fmla="*/ 0 h 259"/>
                <a:gd name="T26" fmla="*/ 0 w 159"/>
                <a:gd name="T27" fmla="*/ 0 h 259"/>
                <a:gd name="T28" fmla="*/ 0 w 159"/>
                <a:gd name="T29" fmla="*/ 0 h 259"/>
                <a:gd name="T30" fmla="*/ 0 w 159"/>
                <a:gd name="T31" fmla="*/ 0 h 259"/>
                <a:gd name="T32" fmla="*/ 0 w 159"/>
                <a:gd name="T33" fmla="*/ 0 h 259"/>
                <a:gd name="T34" fmla="*/ 0 w 159"/>
                <a:gd name="T35" fmla="*/ 0 h 259"/>
                <a:gd name="T36" fmla="*/ 0 w 159"/>
                <a:gd name="T37" fmla="*/ 0 h 259"/>
                <a:gd name="T38" fmla="*/ 0 w 159"/>
                <a:gd name="T39" fmla="*/ 0 h 259"/>
                <a:gd name="T40" fmla="*/ 0 w 159"/>
                <a:gd name="T41" fmla="*/ 0 h 259"/>
                <a:gd name="T42" fmla="*/ 0 w 159"/>
                <a:gd name="T43" fmla="*/ 0 h 259"/>
                <a:gd name="T44" fmla="*/ 0 w 159"/>
                <a:gd name="T45" fmla="*/ 0 h 259"/>
                <a:gd name="T46" fmla="*/ 0 w 159"/>
                <a:gd name="T47" fmla="*/ 0 h 259"/>
                <a:gd name="T48" fmla="*/ 0 w 159"/>
                <a:gd name="T49" fmla="*/ 0 h 259"/>
                <a:gd name="T50" fmla="*/ 0 w 159"/>
                <a:gd name="T51" fmla="*/ 0 h 259"/>
                <a:gd name="T52" fmla="*/ 0 w 159"/>
                <a:gd name="T53" fmla="*/ 0 h 259"/>
                <a:gd name="T54" fmla="*/ 0 w 159"/>
                <a:gd name="T55" fmla="*/ 0 h 259"/>
                <a:gd name="T56" fmla="*/ 0 w 159"/>
                <a:gd name="T57" fmla="*/ 0 h 259"/>
                <a:gd name="T58" fmla="*/ 0 w 159"/>
                <a:gd name="T59" fmla="*/ 0 h 259"/>
                <a:gd name="T60" fmla="*/ 0 w 159"/>
                <a:gd name="T61" fmla="*/ 0 h 259"/>
                <a:gd name="T62" fmla="*/ 0 w 159"/>
                <a:gd name="T63" fmla="*/ 0 h 259"/>
                <a:gd name="T64" fmla="*/ 0 w 159"/>
                <a:gd name="T65" fmla="*/ 0 h 259"/>
                <a:gd name="T66" fmla="*/ 0 w 159"/>
                <a:gd name="T67" fmla="*/ 0 h 259"/>
                <a:gd name="T68" fmla="*/ 0 w 159"/>
                <a:gd name="T69" fmla="*/ 0 h 259"/>
                <a:gd name="T70" fmla="*/ 0 w 159"/>
                <a:gd name="T71" fmla="*/ 0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9"/>
                <a:gd name="T112" fmla="*/ 0 h 259"/>
                <a:gd name="T113" fmla="*/ 159 w 159"/>
                <a:gd name="T114" fmla="*/ 259 h 25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56" name="Line 743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5197" y="2605"/>
              <a:ext cx="4" cy="21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57" name="Freeform 744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5197" y="2595"/>
              <a:ext cx="4" cy="10"/>
            </a:xfrm>
            <a:custGeom>
              <a:avLst/>
              <a:gdLst>
                <a:gd name="T0" fmla="*/ 0 w 13"/>
                <a:gd name="T1" fmla="*/ 0 h 25"/>
                <a:gd name="T2" fmla="*/ 0 w 13"/>
                <a:gd name="T3" fmla="*/ 0 h 25"/>
                <a:gd name="T4" fmla="*/ 0 w 13"/>
                <a:gd name="T5" fmla="*/ 0 h 25"/>
                <a:gd name="T6" fmla="*/ 0 w 13"/>
                <a:gd name="T7" fmla="*/ 0 h 25"/>
                <a:gd name="T8" fmla="*/ 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25"/>
                <a:gd name="T17" fmla="*/ 13 w 13"/>
                <a:gd name="T18" fmla="*/ 25 h 2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58" name="Line 745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5201" y="2587"/>
              <a:ext cx="0" cy="8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59" name="Freeform 746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5170" y="2545"/>
              <a:ext cx="31" cy="42"/>
            </a:xfrm>
            <a:custGeom>
              <a:avLst/>
              <a:gdLst>
                <a:gd name="T0" fmla="*/ 0 w 100"/>
                <a:gd name="T1" fmla="*/ 0 h 123"/>
                <a:gd name="T2" fmla="*/ 0 w 100"/>
                <a:gd name="T3" fmla="*/ 0 h 123"/>
                <a:gd name="T4" fmla="*/ 0 w 100"/>
                <a:gd name="T5" fmla="*/ 0 h 123"/>
                <a:gd name="T6" fmla="*/ 0 w 100"/>
                <a:gd name="T7" fmla="*/ 0 h 123"/>
                <a:gd name="T8" fmla="*/ 0 w 100"/>
                <a:gd name="T9" fmla="*/ 0 h 123"/>
                <a:gd name="T10" fmla="*/ 0 w 100"/>
                <a:gd name="T11" fmla="*/ 0 h 123"/>
                <a:gd name="T12" fmla="*/ 0 w 100"/>
                <a:gd name="T13" fmla="*/ 0 h 123"/>
                <a:gd name="T14" fmla="*/ 0 w 100"/>
                <a:gd name="T15" fmla="*/ 0 h 123"/>
                <a:gd name="T16" fmla="*/ 0 w 100"/>
                <a:gd name="T17" fmla="*/ 0 h 123"/>
                <a:gd name="T18" fmla="*/ 0 w 100"/>
                <a:gd name="T19" fmla="*/ 0 h 123"/>
                <a:gd name="T20" fmla="*/ 0 w 100"/>
                <a:gd name="T21" fmla="*/ 0 h 123"/>
                <a:gd name="T22" fmla="*/ 0 w 100"/>
                <a:gd name="T23" fmla="*/ 0 h 123"/>
                <a:gd name="T24" fmla="*/ 0 w 100"/>
                <a:gd name="T25" fmla="*/ 0 h 123"/>
                <a:gd name="T26" fmla="*/ 0 w 100"/>
                <a:gd name="T27" fmla="*/ 0 h 123"/>
                <a:gd name="T28" fmla="*/ 0 w 100"/>
                <a:gd name="T29" fmla="*/ 0 h 123"/>
                <a:gd name="T30" fmla="*/ 0 w 100"/>
                <a:gd name="T31" fmla="*/ 0 h 123"/>
                <a:gd name="T32" fmla="*/ 0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0"/>
                <a:gd name="T52" fmla="*/ 0 h 123"/>
                <a:gd name="T53" fmla="*/ 100 w 100"/>
                <a:gd name="T54" fmla="*/ 123 h 12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60" name="Freeform 747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5179" y="2509"/>
              <a:ext cx="2" cy="32"/>
            </a:xfrm>
            <a:custGeom>
              <a:avLst/>
              <a:gdLst>
                <a:gd name="T0" fmla="*/ 0 w 5"/>
                <a:gd name="T1" fmla="*/ 0 h 99"/>
                <a:gd name="T2" fmla="*/ 0 w 5"/>
                <a:gd name="T3" fmla="*/ 0 h 99"/>
                <a:gd name="T4" fmla="*/ 0 w 5"/>
                <a:gd name="T5" fmla="*/ 0 h 99"/>
                <a:gd name="T6" fmla="*/ 0 w 5"/>
                <a:gd name="T7" fmla="*/ 0 h 99"/>
                <a:gd name="T8" fmla="*/ 0 w 5"/>
                <a:gd name="T9" fmla="*/ 0 h 99"/>
                <a:gd name="T10" fmla="*/ 0 w 5"/>
                <a:gd name="T11" fmla="*/ 0 h 99"/>
                <a:gd name="T12" fmla="*/ 0 w 5"/>
                <a:gd name="T13" fmla="*/ 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99"/>
                <a:gd name="T23" fmla="*/ 5 w 5"/>
                <a:gd name="T24" fmla="*/ 99 h 9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61" name="Freeform 748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5184" y="2505"/>
              <a:ext cx="5" cy="23"/>
            </a:xfrm>
            <a:custGeom>
              <a:avLst/>
              <a:gdLst>
                <a:gd name="T0" fmla="*/ 0 w 14"/>
                <a:gd name="T1" fmla="*/ 0 h 68"/>
                <a:gd name="T2" fmla="*/ 0 w 14"/>
                <a:gd name="T3" fmla="*/ 0 h 68"/>
                <a:gd name="T4" fmla="*/ 0 w 14"/>
                <a:gd name="T5" fmla="*/ 0 h 68"/>
                <a:gd name="T6" fmla="*/ 0 w 14"/>
                <a:gd name="T7" fmla="*/ 0 h 68"/>
                <a:gd name="T8" fmla="*/ 0 w 14"/>
                <a:gd name="T9" fmla="*/ 0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68"/>
                <a:gd name="T17" fmla="*/ 14 w 14"/>
                <a:gd name="T18" fmla="*/ 68 h 6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62" name="Freeform 749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5195" y="2493"/>
              <a:ext cx="1" cy="14"/>
            </a:xfrm>
            <a:custGeom>
              <a:avLst/>
              <a:gdLst>
                <a:gd name="T0" fmla="*/ 0 w 1"/>
                <a:gd name="T1" fmla="*/ 0 h 43"/>
                <a:gd name="T2" fmla="*/ 0 w 1"/>
                <a:gd name="T3" fmla="*/ 0 h 43"/>
                <a:gd name="T4" fmla="*/ 0 w 1"/>
                <a:gd name="T5" fmla="*/ 0 h 43"/>
                <a:gd name="T6" fmla="*/ 0 w 1"/>
                <a:gd name="T7" fmla="*/ 0 h 43"/>
                <a:gd name="T8" fmla="*/ 0 w 1"/>
                <a:gd name="T9" fmla="*/ 0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43"/>
                <a:gd name="T17" fmla="*/ 1 w 1"/>
                <a:gd name="T18" fmla="*/ 43 h 4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63" name="Line 750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5195" y="2505"/>
              <a:ext cx="1" cy="2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64" name="Freeform 751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5184" y="2495"/>
              <a:ext cx="1" cy="10"/>
            </a:xfrm>
            <a:custGeom>
              <a:avLst/>
              <a:gdLst>
                <a:gd name="T0" fmla="*/ 0 w 1"/>
                <a:gd name="T1" fmla="*/ 0 h 31"/>
                <a:gd name="T2" fmla="*/ 0 w 1"/>
                <a:gd name="T3" fmla="*/ 0 h 31"/>
                <a:gd name="T4" fmla="*/ 0 w 1"/>
                <a:gd name="T5" fmla="*/ 0 h 31"/>
                <a:gd name="T6" fmla="*/ 0 w 1"/>
                <a:gd name="T7" fmla="*/ 0 h 31"/>
                <a:gd name="T8" fmla="*/ 0 w 1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1"/>
                <a:gd name="T17" fmla="*/ 1 w 1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65" name="Freeform 752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4993" y="3118"/>
              <a:ext cx="66" cy="55"/>
            </a:xfrm>
            <a:custGeom>
              <a:avLst/>
              <a:gdLst>
                <a:gd name="T0" fmla="*/ 0 w 225"/>
                <a:gd name="T1" fmla="*/ 0 h 167"/>
                <a:gd name="T2" fmla="*/ 0 w 225"/>
                <a:gd name="T3" fmla="*/ 0 h 167"/>
                <a:gd name="T4" fmla="*/ 0 w 225"/>
                <a:gd name="T5" fmla="*/ 0 h 167"/>
                <a:gd name="T6" fmla="*/ 0 w 225"/>
                <a:gd name="T7" fmla="*/ 0 h 167"/>
                <a:gd name="T8" fmla="*/ 0 w 225"/>
                <a:gd name="T9" fmla="*/ 0 h 167"/>
                <a:gd name="T10" fmla="*/ 0 w 225"/>
                <a:gd name="T11" fmla="*/ 0 h 167"/>
                <a:gd name="T12" fmla="*/ 0 w 225"/>
                <a:gd name="T13" fmla="*/ 0 h 167"/>
                <a:gd name="T14" fmla="*/ 0 w 225"/>
                <a:gd name="T15" fmla="*/ 0 h 167"/>
                <a:gd name="T16" fmla="*/ 0 w 225"/>
                <a:gd name="T17" fmla="*/ 0 h 167"/>
                <a:gd name="T18" fmla="*/ 0 w 225"/>
                <a:gd name="T19" fmla="*/ 0 h 167"/>
                <a:gd name="T20" fmla="*/ 0 w 225"/>
                <a:gd name="T21" fmla="*/ 0 h 167"/>
                <a:gd name="T22" fmla="*/ 0 w 225"/>
                <a:gd name="T23" fmla="*/ 0 h 167"/>
                <a:gd name="T24" fmla="*/ 0 w 225"/>
                <a:gd name="T25" fmla="*/ 0 h 167"/>
                <a:gd name="T26" fmla="*/ 0 w 225"/>
                <a:gd name="T27" fmla="*/ 0 h 167"/>
                <a:gd name="T28" fmla="*/ 0 w 225"/>
                <a:gd name="T29" fmla="*/ 0 h 167"/>
                <a:gd name="T30" fmla="*/ 0 w 225"/>
                <a:gd name="T31" fmla="*/ 0 h 167"/>
                <a:gd name="T32" fmla="*/ 0 w 225"/>
                <a:gd name="T33" fmla="*/ 0 h 167"/>
                <a:gd name="T34" fmla="*/ 0 w 225"/>
                <a:gd name="T35" fmla="*/ 0 h 167"/>
                <a:gd name="T36" fmla="*/ 0 w 225"/>
                <a:gd name="T37" fmla="*/ 0 h 167"/>
                <a:gd name="T38" fmla="*/ 0 w 225"/>
                <a:gd name="T39" fmla="*/ 0 h 167"/>
                <a:gd name="T40" fmla="*/ 0 w 225"/>
                <a:gd name="T41" fmla="*/ 0 h 167"/>
                <a:gd name="T42" fmla="*/ 0 w 225"/>
                <a:gd name="T43" fmla="*/ 0 h 167"/>
                <a:gd name="T44" fmla="*/ 0 w 225"/>
                <a:gd name="T45" fmla="*/ 0 h 167"/>
                <a:gd name="T46" fmla="*/ 0 w 225"/>
                <a:gd name="T47" fmla="*/ 0 h 167"/>
                <a:gd name="T48" fmla="*/ 0 w 225"/>
                <a:gd name="T49" fmla="*/ 0 h 167"/>
                <a:gd name="T50" fmla="*/ 0 w 225"/>
                <a:gd name="T51" fmla="*/ 0 h 167"/>
                <a:gd name="T52" fmla="*/ 0 w 225"/>
                <a:gd name="T53" fmla="*/ 0 h 167"/>
                <a:gd name="T54" fmla="*/ 0 w 225"/>
                <a:gd name="T55" fmla="*/ 0 h 167"/>
                <a:gd name="T56" fmla="*/ 0 w 225"/>
                <a:gd name="T57" fmla="*/ 0 h 167"/>
                <a:gd name="T58" fmla="*/ 0 w 225"/>
                <a:gd name="T59" fmla="*/ 0 h 167"/>
                <a:gd name="T60" fmla="*/ 0 w 225"/>
                <a:gd name="T61" fmla="*/ 0 h 167"/>
                <a:gd name="T62" fmla="*/ 0 w 225"/>
                <a:gd name="T63" fmla="*/ 0 h 167"/>
                <a:gd name="T64" fmla="*/ 0 w 225"/>
                <a:gd name="T65" fmla="*/ 0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25"/>
                <a:gd name="T100" fmla="*/ 0 h 167"/>
                <a:gd name="T101" fmla="*/ 225 w 225"/>
                <a:gd name="T102" fmla="*/ 167 h 16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66" name="Freeform 753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5087" y="2626"/>
              <a:ext cx="3" cy="11"/>
            </a:xfrm>
            <a:custGeom>
              <a:avLst/>
              <a:gdLst>
                <a:gd name="T0" fmla="*/ 0 w 7"/>
                <a:gd name="T1" fmla="*/ 0 h 31"/>
                <a:gd name="T2" fmla="*/ 0 w 7"/>
                <a:gd name="T3" fmla="*/ 0 h 31"/>
                <a:gd name="T4" fmla="*/ 0 w 7"/>
                <a:gd name="T5" fmla="*/ 0 h 31"/>
                <a:gd name="T6" fmla="*/ 0 w 7"/>
                <a:gd name="T7" fmla="*/ 0 h 31"/>
                <a:gd name="T8" fmla="*/ 0 w 7"/>
                <a:gd name="T9" fmla="*/ 0 h 31"/>
                <a:gd name="T10" fmla="*/ 0 w 7"/>
                <a:gd name="T11" fmla="*/ 0 h 31"/>
                <a:gd name="T12" fmla="*/ 0 w 7"/>
                <a:gd name="T13" fmla="*/ 0 h 31"/>
                <a:gd name="T14" fmla="*/ 0 w 7"/>
                <a:gd name="T15" fmla="*/ 0 h 31"/>
                <a:gd name="T16" fmla="*/ 0 w 7"/>
                <a:gd name="T17" fmla="*/ 0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31"/>
                <a:gd name="T29" fmla="*/ 7 w 7"/>
                <a:gd name="T30" fmla="*/ 31 h 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67" name="Freeform 754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5042" y="2577"/>
              <a:ext cx="11" cy="10"/>
            </a:xfrm>
            <a:custGeom>
              <a:avLst/>
              <a:gdLst>
                <a:gd name="T0" fmla="*/ 0 w 33"/>
                <a:gd name="T1" fmla="*/ 0 h 31"/>
                <a:gd name="T2" fmla="*/ 0 w 33"/>
                <a:gd name="T3" fmla="*/ 0 h 31"/>
                <a:gd name="T4" fmla="*/ 0 w 33"/>
                <a:gd name="T5" fmla="*/ 0 h 31"/>
                <a:gd name="T6" fmla="*/ 0 w 33"/>
                <a:gd name="T7" fmla="*/ 0 h 31"/>
                <a:gd name="T8" fmla="*/ 0 w 33"/>
                <a:gd name="T9" fmla="*/ 0 h 31"/>
                <a:gd name="T10" fmla="*/ 0 w 33"/>
                <a:gd name="T11" fmla="*/ 0 h 31"/>
                <a:gd name="T12" fmla="*/ 0 w 33"/>
                <a:gd name="T13" fmla="*/ 0 h 31"/>
                <a:gd name="T14" fmla="*/ 0 w 33"/>
                <a:gd name="T15" fmla="*/ 0 h 31"/>
                <a:gd name="T16" fmla="*/ 0 w 33"/>
                <a:gd name="T17" fmla="*/ 0 h 31"/>
                <a:gd name="T18" fmla="*/ 0 w 33"/>
                <a:gd name="T19" fmla="*/ 0 h 31"/>
                <a:gd name="T20" fmla="*/ 0 w 33"/>
                <a:gd name="T21" fmla="*/ 0 h 31"/>
                <a:gd name="T22" fmla="*/ 0 w 33"/>
                <a:gd name="T23" fmla="*/ 0 h 31"/>
                <a:gd name="T24" fmla="*/ 0 w 33"/>
                <a:gd name="T25" fmla="*/ 0 h 31"/>
                <a:gd name="T26" fmla="*/ 0 w 33"/>
                <a:gd name="T27" fmla="*/ 0 h 31"/>
                <a:gd name="T28" fmla="*/ 0 w 33"/>
                <a:gd name="T29" fmla="*/ 0 h 31"/>
                <a:gd name="T30" fmla="*/ 0 w 33"/>
                <a:gd name="T31" fmla="*/ 0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3"/>
                <a:gd name="T49" fmla="*/ 0 h 31"/>
                <a:gd name="T50" fmla="*/ 33 w 33"/>
                <a:gd name="T51" fmla="*/ 31 h 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68" name="Freeform 755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5053" y="2522"/>
              <a:ext cx="2" cy="6"/>
            </a:xfrm>
            <a:custGeom>
              <a:avLst/>
              <a:gdLst>
                <a:gd name="T0" fmla="*/ 0 w 13"/>
                <a:gd name="T1" fmla="*/ 0 h 19"/>
                <a:gd name="T2" fmla="*/ 0 w 13"/>
                <a:gd name="T3" fmla="*/ 0 h 19"/>
                <a:gd name="T4" fmla="*/ 0 w 13"/>
                <a:gd name="T5" fmla="*/ 0 h 19"/>
                <a:gd name="T6" fmla="*/ 0 w 13"/>
                <a:gd name="T7" fmla="*/ 0 h 19"/>
                <a:gd name="T8" fmla="*/ 0 w 13"/>
                <a:gd name="T9" fmla="*/ 0 h 19"/>
                <a:gd name="T10" fmla="*/ 0 w 13"/>
                <a:gd name="T11" fmla="*/ 0 h 19"/>
                <a:gd name="T12" fmla="*/ 0 w 13"/>
                <a:gd name="T13" fmla="*/ 0 h 19"/>
                <a:gd name="T14" fmla="*/ 0 w 13"/>
                <a:gd name="T15" fmla="*/ 0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9"/>
                <a:gd name="T26" fmla="*/ 13 w 13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69" name="Freeform 756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4943" y="2524"/>
              <a:ext cx="25" cy="14"/>
            </a:xfrm>
            <a:custGeom>
              <a:avLst/>
              <a:gdLst>
                <a:gd name="T0" fmla="*/ 0 w 87"/>
                <a:gd name="T1" fmla="*/ 0 h 42"/>
                <a:gd name="T2" fmla="*/ 0 w 87"/>
                <a:gd name="T3" fmla="*/ 0 h 42"/>
                <a:gd name="T4" fmla="*/ 0 w 87"/>
                <a:gd name="T5" fmla="*/ 0 h 42"/>
                <a:gd name="T6" fmla="*/ 0 w 87"/>
                <a:gd name="T7" fmla="*/ 0 h 42"/>
                <a:gd name="T8" fmla="*/ 0 w 87"/>
                <a:gd name="T9" fmla="*/ 0 h 42"/>
                <a:gd name="T10" fmla="*/ 0 w 87"/>
                <a:gd name="T11" fmla="*/ 0 h 42"/>
                <a:gd name="T12" fmla="*/ 0 w 87"/>
                <a:gd name="T13" fmla="*/ 0 h 42"/>
                <a:gd name="T14" fmla="*/ 0 w 87"/>
                <a:gd name="T15" fmla="*/ 0 h 42"/>
                <a:gd name="T16" fmla="*/ 0 w 87"/>
                <a:gd name="T17" fmla="*/ 0 h 42"/>
                <a:gd name="T18" fmla="*/ 0 w 87"/>
                <a:gd name="T19" fmla="*/ 0 h 42"/>
                <a:gd name="T20" fmla="*/ 0 w 87"/>
                <a:gd name="T21" fmla="*/ 0 h 42"/>
                <a:gd name="T22" fmla="*/ 0 w 87"/>
                <a:gd name="T23" fmla="*/ 0 h 42"/>
                <a:gd name="T24" fmla="*/ 0 w 87"/>
                <a:gd name="T25" fmla="*/ 0 h 42"/>
                <a:gd name="T26" fmla="*/ 0 w 87"/>
                <a:gd name="T27" fmla="*/ 0 h 42"/>
                <a:gd name="T28" fmla="*/ 0 w 87"/>
                <a:gd name="T29" fmla="*/ 0 h 42"/>
                <a:gd name="T30" fmla="*/ 0 w 87"/>
                <a:gd name="T31" fmla="*/ 0 h 42"/>
                <a:gd name="T32" fmla="*/ 0 w 87"/>
                <a:gd name="T33" fmla="*/ 0 h 42"/>
                <a:gd name="T34" fmla="*/ 0 w 87"/>
                <a:gd name="T35" fmla="*/ 0 h 42"/>
                <a:gd name="T36" fmla="*/ 0 w 87"/>
                <a:gd name="T37" fmla="*/ 0 h 42"/>
                <a:gd name="T38" fmla="*/ 0 w 87"/>
                <a:gd name="T39" fmla="*/ 0 h 42"/>
                <a:gd name="T40" fmla="*/ 0 w 87"/>
                <a:gd name="T41" fmla="*/ 0 h 42"/>
                <a:gd name="T42" fmla="*/ 0 w 87"/>
                <a:gd name="T43" fmla="*/ 0 h 42"/>
                <a:gd name="T44" fmla="*/ 0 w 87"/>
                <a:gd name="T45" fmla="*/ 0 h 42"/>
                <a:gd name="T46" fmla="*/ 0 w 87"/>
                <a:gd name="T47" fmla="*/ 0 h 42"/>
                <a:gd name="T48" fmla="*/ 0 w 87"/>
                <a:gd name="T49" fmla="*/ 0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7"/>
                <a:gd name="T76" fmla="*/ 0 h 42"/>
                <a:gd name="T77" fmla="*/ 87 w 87"/>
                <a:gd name="T78" fmla="*/ 42 h 4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70" name="Freeform 757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5110" y="2816"/>
              <a:ext cx="1" cy="9"/>
            </a:xfrm>
            <a:custGeom>
              <a:avLst/>
              <a:gdLst>
                <a:gd name="T0" fmla="*/ 0 w 7"/>
                <a:gd name="T1" fmla="*/ 0 h 31"/>
                <a:gd name="T2" fmla="*/ 0 w 7"/>
                <a:gd name="T3" fmla="*/ 0 h 31"/>
                <a:gd name="T4" fmla="*/ 0 w 7"/>
                <a:gd name="T5" fmla="*/ 0 h 31"/>
                <a:gd name="T6" fmla="*/ 0 w 7"/>
                <a:gd name="T7" fmla="*/ 0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1"/>
                <a:gd name="T17" fmla="*/ 7 w 7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71" name="Freeform 758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4589" y="2505"/>
              <a:ext cx="696" cy="572"/>
            </a:xfrm>
            <a:custGeom>
              <a:avLst/>
              <a:gdLst>
                <a:gd name="T0" fmla="*/ 0 w 2332"/>
                <a:gd name="T1" fmla="*/ 0 h 1731"/>
                <a:gd name="T2" fmla="*/ 0 w 2332"/>
                <a:gd name="T3" fmla="*/ 0 h 1731"/>
                <a:gd name="T4" fmla="*/ 0 w 2332"/>
                <a:gd name="T5" fmla="*/ 0 h 1731"/>
                <a:gd name="T6" fmla="*/ 0 w 2332"/>
                <a:gd name="T7" fmla="*/ 0 h 1731"/>
                <a:gd name="T8" fmla="*/ 0 w 2332"/>
                <a:gd name="T9" fmla="*/ 0 h 1731"/>
                <a:gd name="T10" fmla="*/ 0 w 2332"/>
                <a:gd name="T11" fmla="*/ 0 h 1731"/>
                <a:gd name="T12" fmla="*/ 0 w 2332"/>
                <a:gd name="T13" fmla="*/ 0 h 1731"/>
                <a:gd name="T14" fmla="*/ 0 w 2332"/>
                <a:gd name="T15" fmla="*/ 0 h 1731"/>
                <a:gd name="T16" fmla="*/ 0 w 2332"/>
                <a:gd name="T17" fmla="*/ 0 h 1731"/>
                <a:gd name="T18" fmla="*/ 0 w 2332"/>
                <a:gd name="T19" fmla="*/ 0 h 1731"/>
                <a:gd name="T20" fmla="*/ 0 w 2332"/>
                <a:gd name="T21" fmla="*/ 0 h 1731"/>
                <a:gd name="T22" fmla="*/ 0 w 2332"/>
                <a:gd name="T23" fmla="*/ 0 h 1731"/>
                <a:gd name="T24" fmla="*/ 0 w 2332"/>
                <a:gd name="T25" fmla="*/ 0 h 1731"/>
                <a:gd name="T26" fmla="*/ 0 w 2332"/>
                <a:gd name="T27" fmla="*/ 0 h 1731"/>
                <a:gd name="T28" fmla="*/ 0 w 2332"/>
                <a:gd name="T29" fmla="*/ 0 h 1731"/>
                <a:gd name="T30" fmla="*/ 0 w 2332"/>
                <a:gd name="T31" fmla="*/ 0 h 1731"/>
                <a:gd name="T32" fmla="*/ 0 w 2332"/>
                <a:gd name="T33" fmla="*/ 0 h 1731"/>
                <a:gd name="T34" fmla="*/ 0 w 2332"/>
                <a:gd name="T35" fmla="*/ 0 h 1731"/>
                <a:gd name="T36" fmla="*/ 0 w 2332"/>
                <a:gd name="T37" fmla="*/ 0 h 1731"/>
                <a:gd name="T38" fmla="*/ 0 w 2332"/>
                <a:gd name="T39" fmla="*/ 0 h 1731"/>
                <a:gd name="T40" fmla="*/ 0 w 2332"/>
                <a:gd name="T41" fmla="*/ 0 h 1731"/>
                <a:gd name="T42" fmla="*/ 0 w 2332"/>
                <a:gd name="T43" fmla="*/ 0 h 1731"/>
                <a:gd name="T44" fmla="*/ 0 w 2332"/>
                <a:gd name="T45" fmla="*/ 0 h 1731"/>
                <a:gd name="T46" fmla="*/ 0 w 2332"/>
                <a:gd name="T47" fmla="*/ 0 h 1731"/>
                <a:gd name="T48" fmla="*/ 0 w 2332"/>
                <a:gd name="T49" fmla="*/ 0 h 1731"/>
                <a:gd name="T50" fmla="*/ 0 w 2332"/>
                <a:gd name="T51" fmla="*/ 0 h 1731"/>
                <a:gd name="T52" fmla="*/ 0 w 2332"/>
                <a:gd name="T53" fmla="*/ 0 h 1731"/>
                <a:gd name="T54" fmla="*/ 0 w 2332"/>
                <a:gd name="T55" fmla="*/ 0 h 1731"/>
                <a:gd name="T56" fmla="*/ 0 w 2332"/>
                <a:gd name="T57" fmla="*/ 0 h 1731"/>
                <a:gd name="T58" fmla="*/ 0 w 2332"/>
                <a:gd name="T59" fmla="*/ 0 h 1731"/>
                <a:gd name="T60" fmla="*/ 0 w 2332"/>
                <a:gd name="T61" fmla="*/ 0 h 1731"/>
                <a:gd name="T62" fmla="*/ 0 w 2332"/>
                <a:gd name="T63" fmla="*/ 0 h 1731"/>
                <a:gd name="T64" fmla="*/ 0 w 2332"/>
                <a:gd name="T65" fmla="*/ 0 h 1731"/>
                <a:gd name="T66" fmla="*/ 0 w 2332"/>
                <a:gd name="T67" fmla="*/ 0 h 1731"/>
                <a:gd name="T68" fmla="*/ 0 w 2332"/>
                <a:gd name="T69" fmla="*/ 0 h 1731"/>
                <a:gd name="T70" fmla="*/ 0 w 2332"/>
                <a:gd name="T71" fmla="*/ 0 h 1731"/>
                <a:gd name="T72" fmla="*/ 0 w 2332"/>
                <a:gd name="T73" fmla="*/ 0 h 1731"/>
                <a:gd name="T74" fmla="*/ 0 w 2332"/>
                <a:gd name="T75" fmla="*/ 0 h 1731"/>
                <a:gd name="T76" fmla="*/ 0 w 2332"/>
                <a:gd name="T77" fmla="*/ 0 h 1731"/>
                <a:gd name="T78" fmla="*/ 0 w 2332"/>
                <a:gd name="T79" fmla="*/ 0 h 1731"/>
                <a:gd name="T80" fmla="*/ 0 w 2332"/>
                <a:gd name="T81" fmla="*/ 0 h 1731"/>
                <a:gd name="T82" fmla="*/ 0 w 2332"/>
                <a:gd name="T83" fmla="*/ 0 h 1731"/>
                <a:gd name="T84" fmla="*/ 0 w 2332"/>
                <a:gd name="T85" fmla="*/ 0 h 1731"/>
                <a:gd name="T86" fmla="*/ 0 w 2332"/>
                <a:gd name="T87" fmla="*/ 0 h 1731"/>
                <a:gd name="T88" fmla="*/ 0 w 2332"/>
                <a:gd name="T89" fmla="*/ 0 h 1731"/>
                <a:gd name="T90" fmla="*/ 0 w 2332"/>
                <a:gd name="T91" fmla="*/ 0 h 1731"/>
                <a:gd name="T92" fmla="*/ 0 w 2332"/>
                <a:gd name="T93" fmla="*/ 0 h 1731"/>
                <a:gd name="T94" fmla="*/ 0 w 2332"/>
                <a:gd name="T95" fmla="*/ 0 h 1731"/>
                <a:gd name="T96" fmla="*/ 0 w 2332"/>
                <a:gd name="T97" fmla="*/ 0 h 1731"/>
                <a:gd name="T98" fmla="*/ 0 w 2332"/>
                <a:gd name="T99" fmla="*/ 0 h 1731"/>
                <a:gd name="T100" fmla="*/ 0 w 2332"/>
                <a:gd name="T101" fmla="*/ 0 h 1731"/>
                <a:gd name="T102" fmla="*/ 0 w 2332"/>
                <a:gd name="T103" fmla="*/ 0 h 1731"/>
                <a:gd name="T104" fmla="*/ 0 w 2332"/>
                <a:gd name="T105" fmla="*/ 0 h 1731"/>
                <a:gd name="T106" fmla="*/ 0 w 2332"/>
                <a:gd name="T107" fmla="*/ 0 h 1731"/>
                <a:gd name="T108" fmla="*/ 0 w 2332"/>
                <a:gd name="T109" fmla="*/ 0 h 1731"/>
                <a:gd name="T110" fmla="*/ 0 w 2332"/>
                <a:gd name="T111" fmla="*/ 0 h 1731"/>
                <a:gd name="T112" fmla="*/ 0 w 2332"/>
                <a:gd name="T113" fmla="*/ 0 h 1731"/>
                <a:gd name="T114" fmla="*/ 0 w 2332"/>
                <a:gd name="T115" fmla="*/ 0 h 1731"/>
                <a:gd name="T116" fmla="*/ 0 w 2332"/>
                <a:gd name="T117" fmla="*/ 0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32"/>
                <a:gd name="T178" fmla="*/ 0 h 1731"/>
                <a:gd name="T179" fmla="*/ 2332 w 2332"/>
                <a:gd name="T180" fmla="*/ 1731 h 173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72" name="Freeform 759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827" y="1665"/>
              <a:ext cx="456" cy="366"/>
            </a:xfrm>
            <a:custGeom>
              <a:avLst/>
              <a:gdLst>
                <a:gd name="T0" fmla="*/ 0 w 1535"/>
                <a:gd name="T1" fmla="*/ 0 h 1109"/>
                <a:gd name="T2" fmla="*/ 0 w 1535"/>
                <a:gd name="T3" fmla="*/ 0 h 1109"/>
                <a:gd name="T4" fmla="*/ 0 w 1535"/>
                <a:gd name="T5" fmla="*/ 0 h 1109"/>
                <a:gd name="T6" fmla="*/ 0 w 1535"/>
                <a:gd name="T7" fmla="*/ 0 h 1109"/>
                <a:gd name="T8" fmla="*/ 0 w 1535"/>
                <a:gd name="T9" fmla="*/ 0 h 1109"/>
                <a:gd name="T10" fmla="*/ 0 w 1535"/>
                <a:gd name="T11" fmla="*/ 0 h 1109"/>
                <a:gd name="T12" fmla="*/ 0 w 1535"/>
                <a:gd name="T13" fmla="*/ 0 h 1109"/>
                <a:gd name="T14" fmla="*/ 0 w 1535"/>
                <a:gd name="T15" fmla="*/ 0 h 1109"/>
                <a:gd name="T16" fmla="*/ 0 w 1535"/>
                <a:gd name="T17" fmla="*/ 0 h 1109"/>
                <a:gd name="T18" fmla="*/ 0 w 1535"/>
                <a:gd name="T19" fmla="*/ 0 h 1109"/>
                <a:gd name="T20" fmla="*/ 0 w 1535"/>
                <a:gd name="T21" fmla="*/ 0 h 1109"/>
                <a:gd name="T22" fmla="*/ 0 w 1535"/>
                <a:gd name="T23" fmla="*/ 0 h 1109"/>
                <a:gd name="T24" fmla="*/ 0 w 1535"/>
                <a:gd name="T25" fmla="*/ 0 h 1109"/>
                <a:gd name="T26" fmla="*/ 0 w 1535"/>
                <a:gd name="T27" fmla="*/ 0 h 1109"/>
                <a:gd name="T28" fmla="*/ 0 w 1535"/>
                <a:gd name="T29" fmla="*/ 0 h 1109"/>
                <a:gd name="T30" fmla="*/ 0 w 1535"/>
                <a:gd name="T31" fmla="*/ 0 h 1109"/>
                <a:gd name="T32" fmla="*/ 0 w 1535"/>
                <a:gd name="T33" fmla="*/ 0 h 1109"/>
                <a:gd name="T34" fmla="*/ 0 w 1535"/>
                <a:gd name="T35" fmla="*/ 0 h 1109"/>
                <a:gd name="T36" fmla="*/ 0 w 1535"/>
                <a:gd name="T37" fmla="*/ 0 h 1109"/>
                <a:gd name="T38" fmla="*/ 0 w 1535"/>
                <a:gd name="T39" fmla="*/ 0 h 1109"/>
                <a:gd name="T40" fmla="*/ 0 w 1535"/>
                <a:gd name="T41" fmla="*/ 0 h 1109"/>
                <a:gd name="T42" fmla="*/ 0 w 1535"/>
                <a:gd name="T43" fmla="*/ 0 h 1109"/>
                <a:gd name="T44" fmla="*/ 0 w 1535"/>
                <a:gd name="T45" fmla="*/ 0 h 1109"/>
                <a:gd name="T46" fmla="*/ 0 w 1535"/>
                <a:gd name="T47" fmla="*/ 0 h 1109"/>
                <a:gd name="T48" fmla="*/ 0 w 1535"/>
                <a:gd name="T49" fmla="*/ 0 h 1109"/>
                <a:gd name="T50" fmla="*/ 0 w 1535"/>
                <a:gd name="T51" fmla="*/ 0 h 1109"/>
                <a:gd name="T52" fmla="*/ 0 w 1535"/>
                <a:gd name="T53" fmla="*/ 0 h 1109"/>
                <a:gd name="T54" fmla="*/ 0 w 1535"/>
                <a:gd name="T55" fmla="*/ 0 h 1109"/>
                <a:gd name="T56" fmla="*/ 0 w 1535"/>
                <a:gd name="T57" fmla="*/ 0 h 1109"/>
                <a:gd name="T58" fmla="*/ 0 w 1535"/>
                <a:gd name="T59" fmla="*/ 0 h 1109"/>
                <a:gd name="T60" fmla="*/ 0 w 1535"/>
                <a:gd name="T61" fmla="*/ 0 h 1109"/>
                <a:gd name="T62" fmla="*/ 0 w 1535"/>
                <a:gd name="T63" fmla="*/ 0 h 1109"/>
                <a:gd name="T64" fmla="*/ 0 w 1535"/>
                <a:gd name="T65" fmla="*/ 0 h 1109"/>
                <a:gd name="T66" fmla="*/ 0 w 1535"/>
                <a:gd name="T67" fmla="*/ 0 h 1109"/>
                <a:gd name="T68" fmla="*/ 0 w 1535"/>
                <a:gd name="T69" fmla="*/ 0 h 1109"/>
                <a:gd name="T70" fmla="*/ 0 w 1535"/>
                <a:gd name="T71" fmla="*/ 0 h 1109"/>
                <a:gd name="T72" fmla="*/ 0 w 1535"/>
                <a:gd name="T73" fmla="*/ 0 h 1109"/>
                <a:gd name="T74" fmla="*/ 0 w 1535"/>
                <a:gd name="T75" fmla="*/ 0 h 1109"/>
                <a:gd name="T76" fmla="*/ 0 w 1535"/>
                <a:gd name="T77" fmla="*/ 0 h 1109"/>
                <a:gd name="T78" fmla="*/ 0 w 1535"/>
                <a:gd name="T79" fmla="*/ 0 h 1109"/>
                <a:gd name="T80" fmla="*/ 0 w 1535"/>
                <a:gd name="T81" fmla="*/ 0 h 1109"/>
                <a:gd name="T82" fmla="*/ 0 w 1535"/>
                <a:gd name="T83" fmla="*/ 0 h 1109"/>
                <a:gd name="T84" fmla="*/ 0 w 1535"/>
                <a:gd name="T85" fmla="*/ 0 h 1109"/>
                <a:gd name="T86" fmla="*/ 0 w 1535"/>
                <a:gd name="T87" fmla="*/ 0 h 1109"/>
                <a:gd name="T88" fmla="*/ 0 w 1535"/>
                <a:gd name="T89" fmla="*/ 0 h 1109"/>
                <a:gd name="T90" fmla="*/ 0 w 1535"/>
                <a:gd name="T91" fmla="*/ 0 h 1109"/>
                <a:gd name="T92" fmla="*/ 0 w 1535"/>
                <a:gd name="T93" fmla="*/ 0 h 1109"/>
                <a:gd name="T94" fmla="*/ 0 w 1535"/>
                <a:gd name="T95" fmla="*/ 0 h 1109"/>
                <a:gd name="T96" fmla="*/ 0 w 1535"/>
                <a:gd name="T97" fmla="*/ 0 h 1109"/>
                <a:gd name="T98" fmla="*/ 0 w 1535"/>
                <a:gd name="T99" fmla="*/ 0 h 1109"/>
                <a:gd name="T100" fmla="*/ 0 w 1535"/>
                <a:gd name="T101" fmla="*/ 0 h 1109"/>
                <a:gd name="T102" fmla="*/ 0 w 1535"/>
                <a:gd name="T103" fmla="*/ 0 h 1109"/>
                <a:gd name="T104" fmla="*/ 0 w 1535"/>
                <a:gd name="T105" fmla="*/ 0 h 1109"/>
                <a:gd name="T106" fmla="*/ 0 w 1535"/>
                <a:gd name="T107" fmla="*/ 0 h 1109"/>
                <a:gd name="T108" fmla="*/ 0 w 1535"/>
                <a:gd name="T109" fmla="*/ 0 h 1109"/>
                <a:gd name="T110" fmla="*/ 0 w 1535"/>
                <a:gd name="T111" fmla="*/ 0 h 1109"/>
                <a:gd name="T112" fmla="*/ 0 w 1535"/>
                <a:gd name="T113" fmla="*/ 0 h 1109"/>
                <a:gd name="T114" fmla="*/ 0 w 1535"/>
                <a:gd name="T115" fmla="*/ 0 h 1109"/>
                <a:gd name="T116" fmla="*/ 0 w 1535"/>
                <a:gd name="T117" fmla="*/ 0 h 1109"/>
                <a:gd name="T118" fmla="*/ 0 w 1535"/>
                <a:gd name="T119" fmla="*/ 0 h 1109"/>
                <a:gd name="T120" fmla="*/ 0 w 1535"/>
                <a:gd name="T121" fmla="*/ 0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35"/>
                <a:gd name="T184" fmla="*/ 0 h 1109"/>
                <a:gd name="T185" fmla="*/ 1535 w 1535"/>
                <a:gd name="T186" fmla="*/ 1109 h 110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73" name="Freeform 760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1697" y="2698"/>
              <a:ext cx="144" cy="167"/>
            </a:xfrm>
            <a:custGeom>
              <a:avLst/>
              <a:gdLst>
                <a:gd name="T0" fmla="*/ 0 w 486"/>
                <a:gd name="T1" fmla="*/ 0 h 505"/>
                <a:gd name="T2" fmla="*/ 0 w 486"/>
                <a:gd name="T3" fmla="*/ 0 h 505"/>
                <a:gd name="T4" fmla="*/ 0 w 486"/>
                <a:gd name="T5" fmla="*/ 0 h 505"/>
                <a:gd name="T6" fmla="*/ 0 w 486"/>
                <a:gd name="T7" fmla="*/ 0 h 505"/>
                <a:gd name="T8" fmla="*/ 0 w 486"/>
                <a:gd name="T9" fmla="*/ 0 h 505"/>
                <a:gd name="T10" fmla="*/ 0 w 486"/>
                <a:gd name="T11" fmla="*/ 0 h 505"/>
                <a:gd name="T12" fmla="*/ 0 w 486"/>
                <a:gd name="T13" fmla="*/ 0 h 505"/>
                <a:gd name="T14" fmla="*/ 0 w 486"/>
                <a:gd name="T15" fmla="*/ 0 h 505"/>
                <a:gd name="T16" fmla="*/ 0 w 486"/>
                <a:gd name="T17" fmla="*/ 0 h 505"/>
                <a:gd name="T18" fmla="*/ 0 w 486"/>
                <a:gd name="T19" fmla="*/ 0 h 505"/>
                <a:gd name="T20" fmla="*/ 0 w 486"/>
                <a:gd name="T21" fmla="*/ 0 h 505"/>
                <a:gd name="T22" fmla="*/ 0 w 486"/>
                <a:gd name="T23" fmla="*/ 0 h 505"/>
                <a:gd name="T24" fmla="*/ 0 w 486"/>
                <a:gd name="T25" fmla="*/ 0 h 505"/>
                <a:gd name="T26" fmla="*/ 0 w 486"/>
                <a:gd name="T27" fmla="*/ 0 h 505"/>
                <a:gd name="T28" fmla="*/ 0 w 486"/>
                <a:gd name="T29" fmla="*/ 0 h 505"/>
                <a:gd name="T30" fmla="*/ 0 w 486"/>
                <a:gd name="T31" fmla="*/ 0 h 505"/>
                <a:gd name="T32" fmla="*/ 0 w 486"/>
                <a:gd name="T33" fmla="*/ 0 h 505"/>
                <a:gd name="T34" fmla="*/ 0 w 486"/>
                <a:gd name="T35" fmla="*/ 0 h 505"/>
                <a:gd name="T36" fmla="*/ 0 w 486"/>
                <a:gd name="T37" fmla="*/ 0 h 505"/>
                <a:gd name="T38" fmla="*/ 0 w 486"/>
                <a:gd name="T39" fmla="*/ 0 h 505"/>
                <a:gd name="T40" fmla="*/ 0 w 486"/>
                <a:gd name="T41" fmla="*/ 0 h 505"/>
                <a:gd name="T42" fmla="*/ 0 w 486"/>
                <a:gd name="T43" fmla="*/ 0 h 505"/>
                <a:gd name="T44" fmla="*/ 0 w 486"/>
                <a:gd name="T45" fmla="*/ 0 h 505"/>
                <a:gd name="T46" fmla="*/ 0 w 486"/>
                <a:gd name="T47" fmla="*/ 0 h 505"/>
                <a:gd name="T48" fmla="*/ 0 w 486"/>
                <a:gd name="T49" fmla="*/ 0 h 505"/>
                <a:gd name="T50" fmla="*/ 0 w 486"/>
                <a:gd name="T51" fmla="*/ 0 h 505"/>
                <a:gd name="T52" fmla="*/ 0 w 486"/>
                <a:gd name="T53" fmla="*/ 0 h 505"/>
                <a:gd name="T54" fmla="*/ 0 w 486"/>
                <a:gd name="T55" fmla="*/ 0 h 505"/>
                <a:gd name="T56" fmla="*/ 0 w 486"/>
                <a:gd name="T57" fmla="*/ 0 h 505"/>
                <a:gd name="T58" fmla="*/ 0 w 486"/>
                <a:gd name="T59" fmla="*/ 0 h 505"/>
                <a:gd name="T60" fmla="*/ 0 w 486"/>
                <a:gd name="T61" fmla="*/ 0 h 505"/>
                <a:gd name="T62" fmla="*/ 0 w 486"/>
                <a:gd name="T63" fmla="*/ 0 h 505"/>
                <a:gd name="T64" fmla="*/ 0 w 486"/>
                <a:gd name="T65" fmla="*/ 0 h 505"/>
                <a:gd name="T66" fmla="*/ 0 w 486"/>
                <a:gd name="T67" fmla="*/ 0 h 505"/>
                <a:gd name="T68" fmla="*/ 0 w 486"/>
                <a:gd name="T69" fmla="*/ 0 h 505"/>
                <a:gd name="T70" fmla="*/ 0 w 486"/>
                <a:gd name="T71" fmla="*/ 0 h 505"/>
                <a:gd name="T72" fmla="*/ 0 w 486"/>
                <a:gd name="T73" fmla="*/ 0 h 505"/>
                <a:gd name="T74" fmla="*/ 0 w 486"/>
                <a:gd name="T75" fmla="*/ 0 h 505"/>
                <a:gd name="T76" fmla="*/ 0 w 486"/>
                <a:gd name="T77" fmla="*/ 0 h 505"/>
                <a:gd name="T78" fmla="*/ 0 w 486"/>
                <a:gd name="T79" fmla="*/ 0 h 505"/>
                <a:gd name="T80" fmla="*/ 0 w 486"/>
                <a:gd name="T81" fmla="*/ 0 h 505"/>
                <a:gd name="T82" fmla="*/ 0 w 486"/>
                <a:gd name="T83" fmla="*/ 0 h 505"/>
                <a:gd name="T84" fmla="*/ 0 w 486"/>
                <a:gd name="T85" fmla="*/ 0 h 505"/>
                <a:gd name="T86" fmla="*/ 0 w 486"/>
                <a:gd name="T87" fmla="*/ 0 h 505"/>
                <a:gd name="T88" fmla="*/ 0 w 486"/>
                <a:gd name="T89" fmla="*/ 0 h 505"/>
                <a:gd name="T90" fmla="*/ 0 w 486"/>
                <a:gd name="T91" fmla="*/ 0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86"/>
                <a:gd name="T139" fmla="*/ 0 h 505"/>
                <a:gd name="T140" fmla="*/ 486 w 486"/>
                <a:gd name="T141" fmla="*/ 505 h 5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74" name="Freeform 761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1812" y="2197"/>
              <a:ext cx="50" cy="69"/>
            </a:xfrm>
            <a:custGeom>
              <a:avLst/>
              <a:gdLst>
                <a:gd name="T0" fmla="*/ 0 w 166"/>
                <a:gd name="T1" fmla="*/ 0 h 208"/>
                <a:gd name="T2" fmla="*/ 0 w 166"/>
                <a:gd name="T3" fmla="*/ 0 h 208"/>
                <a:gd name="T4" fmla="*/ 0 w 166"/>
                <a:gd name="T5" fmla="*/ 0 h 208"/>
                <a:gd name="T6" fmla="*/ 0 w 166"/>
                <a:gd name="T7" fmla="*/ 0 h 208"/>
                <a:gd name="T8" fmla="*/ 0 w 166"/>
                <a:gd name="T9" fmla="*/ 0 h 208"/>
                <a:gd name="T10" fmla="*/ 0 w 166"/>
                <a:gd name="T11" fmla="*/ 0 h 208"/>
                <a:gd name="T12" fmla="*/ 0 w 166"/>
                <a:gd name="T13" fmla="*/ 0 h 208"/>
                <a:gd name="T14" fmla="*/ 0 w 166"/>
                <a:gd name="T15" fmla="*/ 0 h 208"/>
                <a:gd name="T16" fmla="*/ 0 w 166"/>
                <a:gd name="T17" fmla="*/ 0 h 208"/>
                <a:gd name="T18" fmla="*/ 0 w 166"/>
                <a:gd name="T19" fmla="*/ 0 h 208"/>
                <a:gd name="T20" fmla="*/ 0 w 166"/>
                <a:gd name="T21" fmla="*/ 0 h 208"/>
                <a:gd name="T22" fmla="*/ 0 w 166"/>
                <a:gd name="T23" fmla="*/ 0 h 208"/>
                <a:gd name="T24" fmla="*/ 0 w 166"/>
                <a:gd name="T25" fmla="*/ 0 h 208"/>
                <a:gd name="T26" fmla="*/ 0 w 166"/>
                <a:gd name="T27" fmla="*/ 0 h 208"/>
                <a:gd name="T28" fmla="*/ 0 w 166"/>
                <a:gd name="T29" fmla="*/ 0 h 208"/>
                <a:gd name="T30" fmla="*/ 0 w 166"/>
                <a:gd name="T31" fmla="*/ 0 h 208"/>
                <a:gd name="T32" fmla="*/ 0 w 166"/>
                <a:gd name="T33" fmla="*/ 0 h 208"/>
                <a:gd name="T34" fmla="*/ 0 w 166"/>
                <a:gd name="T35" fmla="*/ 0 h 208"/>
                <a:gd name="T36" fmla="*/ 0 w 166"/>
                <a:gd name="T37" fmla="*/ 0 h 208"/>
                <a:gd name="T38" fmla="*/ 0 w 166"/>
                <a:gd name="T39" fmla="*/ 0 h 208"/>
                <a:gd name="T40" fmla="*/ 0 w 166"/>
                <a:gd name="T41" fmla="*/ 0 h 208"/>
                <a:gd name="T42" fmla="*/ 0 w 166"/>
                <a:gd name="T43" fmla="*/ 0 h 208"/>
                <a:gd name="T44" fmla="*/ 0 w 166"/>
                <a:gd name="T45" fmla="*/ 0 h 208"/>
                <a:gd name="T46" fmla="*/ 0 w 166"/>
                <a:gd name="T47" fmla="*/ 0 h 208"/>
                <a:gd name="T48" fmla="*/ 0 w 166"/>
                <a:gd name="T49" fmla="*/ 0 h 208"/>
                <a:gd name="T50" fmla="*/ 0 w 166"/>
                <a:gd name="T51" fmla="*/ 0 h 208"/>
                <a:gd name="T52" fmla="*/ 0 w 166"/>
                <a:gd name="T53" fmla="*/ 0 h 208"/>
                <a:gd name="T54" fmla="*/ 0 w 166"/>
                <a:gd name="T55" fmla="*/ 0 h 208"/>
                <a:gd name="T56" fmla="*/ 0 w 166"/>
                <a:gd name="T57" fmla="*/ 0 h 208"/>
                <a:gd name="T58" fmla="*/ 0 w 166"/>
                <a:gd name="T59" fmla="*/ 0 h 208"/>
                <a:gd name="T60" fmla="*/ 0 w 166"/>
                <a:gd name="T61" fmla="*/ 0 h 208"/>
                <a:gd name="T62" fmla="*/ 0 w 166"/>
                <a:gd name="T63" fmla="*/ 0 h 208"/>
                <a:gd name="T64" fmla="*/ 0 w 166"/>
                <a:gd name="T65" fmla="*/ 0 h 208"/>
                <a:gd name="T66" fmla="*/ 0 w 166"/>
                <a:gd name="T67" fmla="*/ 0 h 208"/>
                <a:gd name="T68" fmla="*/ 0 w 166"/>
                <a:gd name="T69" fmla="*/ 0 h 208"/>
                <a:gd name="T70" fmla="*/ 0 w 166"/>
                <a:gd name="T71" fmla="*/ 0 h 208"/>
                <a:gd name="T72" fmla="*/ 0 w 166"/>
                <a:gd name="T73" fmla="*/ 0 h 208"/>
                <a:gd name="T74" fmla="*/ 0 w 166"/>
                <a:gd name="T75" fmla="*/ 0 h 208"/>
                <a:gd name="T76" fmla="*/ 0 w 166"/>
                <a:gd name="T77" fmla="*/ 0 h 208"/>
                <a:gd name="T78" fmla="*/ 0 w 166"/>
                <a:gd name="T79" fmla="*/ 0 h 208"/>
                <a:gd name="T80" fmla="*/ 0 w 166"/>
                <a:gd name="T81" fmla="*/ 0 h 208"/>
                <a:gd name="T82" fmla="*/ 0 w 166"/>
                <a:gd name="T83" fmla="*/ 0 h 208"/>
                <a:gd name="T84" fmla="*/ 0 w 166"/>
                <a:gd name="T85" fmla="*/ 0 h 208"/>
                <a:gd name="T86" fmla="*/ 0 w 166"/>
                <a:gd name="T87" fmla="*/ 0 h 208"/>
                <a:gd name="T88" fmla="*/ 0 w 166"/>
                <a:gd name="T89" fmla="*/ 0 h 208"/>
                <a:gd name="T90" fmla="*/ 0 w 166"/>
                <a:gd name="T91" fmla="*/ 0 h 208"/>
                <a:gd name="T92" fmla="*/ 0 w 166"/>
                <a:gd name="T93" fmla="*/ 0 h 208"/>
                <a:gd name="T94" fmla="*/ 0 w 166"/>
                <a:gd name="T95" fmla="*/ 0 h 208"/>
                <a:gd name="T96" fmla="*/ 0 w 166"/>
                <a:gd name="T97" fmla="*/ 0 h 208"/>
                <a:gd name="T98" fmla="*/ 0 w 166"/>
                <a:gd name="T99" fmla="*/ 0 h 208"/>
                <a:gd name="T100" fmla="*/ 0 w 166"/>
                <a:gd name="T101" fmla="*/ 0 h 208"/>
                <a:gd name="T102" fmla="*/ 0 w 166"/>
                <a:gd name="T103" fmla="*/ 0 h 208"/>
                <a:gd name="T104" fmla="*/ 0 w 166"/>
                <a:gd name="T105" fmla="*/ 0 h 208"/>
                <a:gd name="T106" fmla="*/ 0 w 166"/>
                <a:gd name="T107" fmla="*/ 0 h 208"/>
                <a:gd name="T108" fmla="*/ 0 w 166"/>
                <a:gd name="T109" fmla="*/ 0 h 208"/>
                <a:gd name="T110" fmla="*/ 0 w 166"/>
                <a:gd name="T111" fmla="*/ 0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6"/>
                <a:gd name="T169" fmla="*/ 0 h 208"/>
                <a:gd name="T170" fmla="*/ 166 w 166"/>
                <a:gd name="T171" fmla="*/ 208 h 20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75" name="Freeform 762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1481" y="1919"/>
              <a:ext cx="48" cy="37"/>
            </a:xfrm>
            <a:custGeom>
              <a:avLst/>
              <a:gdLst>
                <a:gd name="T0" fmla="*/ 0 w 164"/>
                <a:gd name="T1" fmla="*/ 0 h 104"/>
                <a:gd name="T2" fmla="*/ 0 w 164"/>
                <a:gd name="T3" fmla="*/ 0 h 104"/>
                <a:gd name="T4" fmla="*/ 0 w 164"/>
                <a:gd name="T5" fmla="*/ 0 h 104"/>
                <a:gd name="T6" fmla="*/ 0 w 164"/>
                <a:gd name="T7" fmla="*/ 0 h 104"/>
                <a:gd name="T8" fmla="*/ 0 w 164"/>
                <a:gd name="T9" fmla="*/ 0 h 104"/>
                <a:gd name="T10" fmla="*/ 0 w 164"/>
                <a:gd name="T11" fmla="*/ 0 h 104"/>
                <a:gd name="T12" fmla="*/ 0 w 164"/>
                <a:gd name="T13" fmla="*/ 0 h 104"/>
                <a:gd name="T14" fmla="*/ 0 w 164"/>
                <a:gd name="T15" fmla="*/ 0 h 104"/>
                <a:gd name="T16" fmla="*/ 0 w 164"/>
                <a:gd name="T17" fmla="*/ 0 h 104"/>
                <a:gd name="T18" fmla="*/ 0 w 164"/>
                <a:gd name="T19" fmla="*/ 0 h 104"/>
                <a:gd name="T20" fmla="*/ 0 w 164"/>
                <a:gd name="T21" fmla="*/ 0 h 104"/>
                <a:gd name="T22" fmla="*/ 0 w 164"/>
                <a:gd name="T23" fmla="*/ 0 h 104"/>
                <a:gd name="T24" fmla="*/ 0 w 164"/>
                <a:gd name="T25" fmla="*/ 0 h 104"/>
                <a:gd name="T26" fmla="*/ 0 w 164"/>
                <a:gd name="T27" fmla="*/ 0 h 104"/>
                <a:gd name="T28" fmla="*/ 0 w 164"/>
                <a:gd name="T29" fmla="*/ 0 h 104"/>
                <a:gd name="T30" fmla="*/ 0 w 164"/>
                <a:gd name="T31" fmla="*/ 0 h 104"/>
                <a:gd name="T32" fmla="*/ 0 w 164"/>
                <a:gd name="T33" fmla="*/ 0 h 104"/>
                <a:gd name="T34" fmla="*/ 0 w 164"/>
                <a:gd name="T35" fmla="*/ 0 h 104"/>
                <a:gd name="T36" fmla="*/ 0 w 164"/>
                <a:gd name="T37" fmla="*/ 0 h 104"/>
                <a:gd name="T38" fmla="*/ 0 w 164"/>
                <a:gd name="T39" fmla="*/ 0 h 104"/>
                <a:gd name="T40" fmla="*/ 0 w 164"/>
                <a:gd name="T41" fmla="*/ 0 h 104"/>
                <a:gd name="T42" fmla="*/ 0 w 164"/>
                <a:gd name="T43" fmla="*/ 0 h 104"/>
                <a:gd name="T44" fmla="*/ 0 w 164"/>
                <a:gd name="T45" fmla="*/ 0 h 104"/>
                <a:gd name="T46" fmla="*/ 0 w 164"/>
                <a:gd name="T47" fmla="*/ 0 h 104"/>
                <a:gd name="T48" fmla="*/ 0 w 164"/>
                <a:gd name="T49" fmla="*/ 0 h 104"/>
                <a:gd name="T50" fmla="*/ 0 w 164"/>
                <a:gd name="T51" fmla="*/ 0 h 104"/>
                <a:gd name="T52" fmla="*/ 0 w 164"/>
                <a:gd name="T53" fmla="*/ 0 h 104"/>
                <a:gd name="T54" fmla="*/ 0 w 164"/>
                <a:gd name="T55" fmla="*/ 0 h 104"/>
                <a:gd name="T56" fmla="*/ 0 w 164"/>
                <a:gd name="T57" fmla="*/ 0 h 104"/>
                <a:gd name="T58" fmla="*/ 0 w 164"/>
                <a:gd name="T59" fmla="*/ 0 h 104"/>
                <a:gd name="T60" fmla="*/ 0 w 164"/>
                <a:gd name="T61" fmla="*/ 0 h 104"/>
                <a:gd name="T62" fmla="*/ 0 w 164"/>
                <a:gd name="T63" fmla="*/ 0 h 104"/>
                <a:gd name="T64" fmla="*/ 0 w 164"/>
                <a:gd name="T65" fmla="*/ 0 h 104"/>
                <a:gd name="T66" fmla="*/ 0 w 164"/>
                <a:gd name="T67" fmla="*/ 0 h 104"/>
                <a:gd name="T68" fmla="*/ 0 w 164"/>
                <a:gd name="T69" fmla="*/ 0 h 104"/>
                <a:gd name="T70" fmla="*/ 0 w 164"/>
                <a:gd name="T71" fmla="*/ 0 h 104"/>
                <a:gd name="T72" fmla="*/ 0 w 164"/>
                <a:gd name="T73" fmla="*/ 0 h 104"/>
                <a:gd name="T74" fmla="*/ 0 w 164"/>
                <a:gd name="T75" fmla="*/ 0 h 104"/>
                <a:gd name="T76" fmla="*/ 0 w 164"/>
                <a:gd name="T77" fmla="*/ 0 h 104"/>
                <a:gd name="T78" fmla="*/ 0 w 164"/>
                <a:gd name="T79" fmla="*/ 0 h 104"/>
                <a:gd name="T80" fmla="*/ 0 w 164"/>
                <a:gd name="T81" fmla="*/ 0 h 104"/>
                <a:gd name="T82" fmla="*/ 0 w 164"/>
                <a:gd name="T83" fmla="*/ 0 h 104"/>
                <a:gd name="T84" fmla="*/ 0 w 164"/>
                <a:gd name="T85" fmla="*/ 0 h 104"/>
                <a:gd name="T86" fmla="*/ 0 w 164"/>
                <a:gd name="T87" fmla="*/ 0 h 104"/>
                <a:gd name="T88" fmla="*/ 0 w 164"/>
                <a:gd name="T89" fmla="*/ 0 h 104"/>
                <a:gd name="T90" fmla="*/ 0 w 164"/>
                <a:gd name="T91" fmla="*/ 0 h 104"/>
                <a:gd name="T92" fmla="*/ 0 w 164"/>
                <a:gd name="T93" fmla="*/ 0 h 104"/>
                <a:gd name="T94" fmla="*/ 0 w 164"/>
                <a:gd name="T95" fmla="*/ 0 h 104"/>
                <a:gd name="T96" fmla="*/ 0 w 164"/>
                <a:gd name="T97" fmla="*/ 0 h 104"/>
                <a:gd name="T98" fmla="*/ 0 w 164"/>
                <a:gd name="T99" fmla="*/ 0 h 104"/>
                <a:gd name="T100" fmla="*/ 0 w 164"/>
                <a:gd name="T101" fmla="*/ 0 h 104"/>
                <a:gd name="T102" fmla="*/ 0 w 164"/>
                <a:gd name="T103" fmla="*/ 0 h 104"/>
                <a:gd name="T104" fmla="*/ 0 w 164"/>
                <a:gd name="T105" fmla="*/ 0 h 104"/>
                <a:gd name="T106" fmla="*/ 0 w 164"/>
                <a:gd name="T107" fmla="*/ 0 h 104"/>
                <a:gd name="T108" fmla="*/ 0 w 164"/>
                <a:gd name="T109" fmla="*/ 0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4"/>
                <a:gd name="T166" fmla="*/ 0 h 104"/>
                <a:gd name="T167" fmla="*/ 164 w 164"/>
                <a:gd name="T168" fmla="*/ 104 h 1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76" name="Freeform 763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1731" y="3402"/>
              <a:ext cx="16" cy="36"/>
            </a:xfrm>
            <a:custGeom>
              <a:avLst/>
              <a:gdLst>
                <a:gd name="T0" fmla="*/ 0 w 53"/>
                <a:gd name="T1" fmla="*/ 2751372 h 19"/>
                <a:gd name="T2" fmla="*/ 0 w 53"/>
                <a:gd name="T3" fmla="*/ 4656130 h 19"/>
                <a:gd name="T4" fmla="*/ 0 w 53"/>
                <a:gd name="T5" fmla="*/ 6070577 h 19"/>
                <a:gd name="T6" fmla="*/ 0 w 53"/>
                <a:gd name="T7" fmla="*/ 6724223 h 19"/>
                <a:gd name="T8" fmla="*/ 0 w 53"/>
                <a:gd name="T9" fmla="*/ 6724223 h 19"/>
                <a:gd name="T10" fmla="*/ 0 w 53"/>
                <a:gd name="T11" fmla="*/ 6315066 h 19"/>
                <a:gd name="T12" fmla="*/ 0 w 53"/>
                <a:gd name="T13" fmla="*/ 5213126 h 19"/>
                <a:gd name="T14" fmla="*/ 0 w 53"/>
                <a:gd name="T15" fmla="*/ 4328777 h 19"/>
                <a:gd name="T16" fmla="*/ 0 w 53"/>
                <a:gd name="T17" fmla="*/ 2751372 h 19"/>
                <a:gd name="T18" fmla="*/ 0 w 53"/>
                <a:gd name="T19" fmla="*/ 1690954 h 19"/>
                <a:gd name="T20" fmla="*/ 0 w 53"/>
                <a:gd name="T21" fmla="*/ 766393 h 19"/>
                <a:gd name="T22" fmla="*/ 0 w 53"/>
                <a:gd name="T23" fmla="*/ 404485 h 19"/>
                <a:gd name="T24" fmla="*/ 0 w 53"/>
                <a:gd name="T25" fmla="*/ 0 h 19"/>
                <a:gd name="T26" fmla="*/ 0 w 53"/>
                <a:gd name="T27" fmla="*/ 0 h 19"/>
                <a:gd name="T28" fmla="*/ 0 w 53"/>
                <a:gd name="T29" fmla="*/ 404485 h 19"/>
                <a:gd name="T30" fmla="*/ 0 w 53"/>
                <a:gd name="T31" fmla="*/ 1107595 h 19"/>
                <a:gd name="T32" fmla="*/ 0 w 53"/>
                <a:gd name="T33" fmla="*/ 2751372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3"/>
                <a:gd name="T52" fmla="*/ 0 h 19"/>
                <a:gd name="T53" fmla="*/ 53 w 53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77" name="Freeform 764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1707" y="3389"/>
              <a:ext cx="24" cy="37"/>
            </a:xfrm>
            <a:custGeom>
              <a:avLst/>
              <a:gdLst>
                <a:gd name="T0" fmla="*/ 0 w 80"/>
                <a:gd name="T1" fmla="*/ 0 h 18"/>
                <a:gd name="T2" fmla="*/ 0 w 80"/>
                <a:gd name="T3" fmla="*/ 10680370 h 18"/>
                <a:gd name="T4" fmla="*/ 0 w 80"/>
                <a:gd name="T5" fmla="*/ 21954089 h 18"/>
                <a:gd name="T6" fmla="*/ 0 w 80"/>
                <a:gd name="T7" fmla="*/ 25698783 h 18"/>
                <a:gd name="T8" fmla="*/ 0 w 80"/>
                <a:gd name="T9" fmla="*/ 29266502 h 18"/>
                <a:gd name="T10" fmla="*/ 0 w 80"/>
                <a:gd name="T11" fmla="*/ 32622746 h 18"/>
                <a:gd name="T12" fmla="*/ 0 w 80"/>
                <a:gd name="T13" fmla="*/ 32622746 h 18"/>
                <a:gd name="T14" fmla="*/ 0 w 80"/>
                <a:gd name="T15" fmla="*/ 27537353 h 18"/>
                <a:gd name="T16" fmla="*/ 0 w 80"/>
                <a:gd name="T17" fmla="*/ 23559132 h 18"/>
                <a:gd name="T18" fmla="*/ 0 w 80"/>
                <a:gd name="T19" fmla="*/ 20222950 h 18"/>
                <a:gd name="T20" fmla="*/ 0 w 80"/>
                <a:gd name="T21" fmla="*/ 18384412 h 18"/>
                <a:gd name="T22" fmla="*/ 0 w 80"/>
                <a:gd name="T23" fmla="*/ 14237771 h 18"/>
                <a:gd name="T24" fmla="*/ 0 w 80"/>
                <a:gd name="T25" fmla="*/ 12502110 h 18"/>
                <a:gd name="T26" fmla="*/ 0 w 80"/>
                <a:gd name="T27" fmla="*/ 12502110 h 18"/>
                <a:gd name="T28" fmla="*/ 0 w 80"/>
                <a:gd name="T29" fmla="*/ 10680370 h 18"/>
                <a:gd name="T30" fmla="*/ 0 w 80"/>
                <a:gd name="T31" fmla="*/ 8943764 h 18"/>
                <a:gd name="T32" fmla="*/ 0 w 80"/>
                <a:gd name="T33" fmla="*/ 6926481 h 18"/>
                <a:gd name="T34" fmla="*/ 0 w 80"/>
                <a:gd name="T35" fmla="*/ 3369641 h 18"/>
                <a:gd name="T36" fmla="*/ 0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0"/>
                <a:gd name="T61" fmla="*/ 0 h 18"/>
                <a:gd name="T62" fmla="*/ 80 w 80"/>
                <a:gd name="T63" fmla="*/ 18 h 1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78" name="Freeform 765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1707" y="3376"/>
              <a:ext cx="16" cy="38"/>
            </a:xfrm>
            <a:custGeom>
              <a:avLst/>
              <a:gdLst>
                <a:gd name="T0" fmla="*/ 0 w 46"/>
                <a:gd name="T1" fmla="*/ 0 h 27"/>
                <a:gd name="T2" fmla="*/ 0 w 46"/>
                <a:gd name="T3" fmla="*/ 16439 h 27"/>
                <a:gd name="T4" fmla="*/ 0 w 46"/>
                <a:gd name="T5" fmla="*/ 20599 h 27"/>
                <a:gd name="T6" fmla="*/ 0 w 46"/>
                <a:gd name="T7" fmla="*/ 23136 h 27"/>
                <a:gd name="T8" fmla="*/ 0 w 46"/>
                <a:gd name="T9" fmla="*/ 25201 h 27"/>
                <a:gd name="T10" fmla="*/ 0 w 46"/>
                <a:gd name="T11" fmla="*/ 25201 h 27"/>
                <a:gd name="T12" fmla="*/ 0 w 46"/>
                <a:gd name="T13" fmla="*/ 25201 h 27"/>
                <a:gd name="T14" fmla="*/ 0 w 46"/>
                <a:gd name="T15" fmla="*/ 23136 h 27"/>
                <a:gd name="T16" fmla="*/ 0 w 46"/>
                <a:gd name="T17" fmla="*/ 20599 h 27"/>
                <a:gd name="T18" fmla="*/ 0 w 46"/>
                <a:gd name="T19" fmla="*/ 16439 h 27"/>
                <a:gd name="T20" fmla="*/ 0 w 46"/>
                <a:gd name="T21" fmla="*/ 14976 h 27"/>
                <a:gd name="T22" fmla="*/ 0 w 46"/>
                <a:gd name="T23" fmla="*/ 9962 h 27"/>
                <a:gd name="T24" fmla="*/ 0 w 46"/>
                <a:gd name="T25" fmla="*/ 4639 h 27"/>
                <a:gd name="T26" fmla="*/ 0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6"/>
                <a:gd name="T43" fmla="*/ 0 h 27"/>
                <a:gd name="T44" fmla="*/ 46 w 46"/>
                <a:gd name="T45" fmla="*/ 27 h 2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79" name="Freeform 766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1687" y="3372"/>
              <a:ext cx="17" cy="38"/>
            </a:xfrm>
            <a:custGeom>
              <a:avLst/>
              <a:gdLst>
                <a:gd name="T0" fmla="*/ 0 w 54"/>
                <a:gd name="T1" fmla="*/ 0 h 39"/>
                <a:gd name="T2" fmla="*/ 0 w 54"/>
                <a:gd name="T3" fmla="*/ 4 h 39"/>
                <a:gd name="T4" fmla="*/ 0 w 54"/>
                <a:gd name="T5" fmla="*/ 10 h 39"/>
                <a:gd name="T6" fmla="*/ 0 w 54"/>
                <a:gd name="T7" fmla="*/ 13 h 39"/>
                <a:gd name="T8" fmla="*/ 0 w 54"/>
                <a:gd name="T9" fmla="*/ 16 h 39"/>
                <a:gd name="T10" fmla="*/ 0 w 54"/>
                <a:gd name="T11" fmla="*/ 19 h 39"/>
                <a:gd name="T12" fmla="*/ 0 w 54"/>
                <a:gd name="T13" fmla="*/ 19 h 39"/>
                <a:gd name="T14" fmla="*/ 0 w 54"/>
                <a:gd name="T15" fmla="*/ 19 h 39"/>
                <a:gd name="T16" fmla="*/ 0 w 54"/>
                <a:gd name="T17" fmla="*/ 19 h 39"/>
                <a:gd name="T18" fmla="*/ 0 w 54"/>
                <a:gd name="T19" fmla="*/ 19 h 39"/>
                <a:gd name="T20" fmla="*/ 0 w 54"/>
                <a:gd name="T21" fmla="*/ 19 h 39"/>
                <a:gd name="T22" fmla="*/ 0 w 54"/>
                <a:gd name="T23" fmla="*/ 19 h 39"/>
                <a:gd name="T24" fmla="*/ 0 w 54"/>
                <a:gd name="T25" fmla="*/ 19 h 39"/>
                <a:gd name="T26" fmla="*/ 0 w 54"/>
                <a:gd name="T27" fmla="*/ 19 h 39"/>
                <a:gd name="T28" fmla="*/ 0 w 54"/>
                <a:gd name="T29" fmla="*/ 19 h 39"/>
                <a:gd name="T30" fmla="*/ 0 w 54"/>
                <a:gd name="T31" fmla="*/ 19 h 39"/>
                <a:gd name="T32" fmla="*/ 0 w 54"/>
                <a:gd name="T33" fmla="*/ 19 h 39"/>
                <a:gd name="T34" fmla="*/ 0 w 54"/>
                <a:gd name="T35" fmla="*/ 19 h 39"/>
                <a:gd name="T36" fmla="*/ 0 w 54"/>
                <a:gd name="T37" fmla="*/ 19 h 39"/>
                <a:gd name="T38" fmla="*/ 0 w 54"/>
                <a:gd name="T39" fmla="*/ 19 h 39"/>
                <a:gd name="T40" fmla="*/ 0 w 54"/>
                <a:gd name="T41" fmla="*/ 19 h 39"/>
                <a:gd name="T42" fmla="*/ 0 w 54"/>
                <a:gd name="T43" fmla="*/ 19 h 39"/>
                <a:gd name="T44" fmla="*/ 0 w 54"/>
                <a:gd name="T45" fmla="*/ 18 h 39"/>
                <a:gd name="T46" fmla="*/ 0 w 54"/>
                <a:gd name="T47" fmla="*/ 17 h 39"/>
                <a:gd name="T48" fmla="*/ 0 w 54"/>
                <a:gd name="T49" fmla="*/ 16 h 39"/>
                <a:gd name="T50" fmla="*/ 0 w 54"/>
                <a:gd name="T51" fmla="*/ 14 h 39"/>
                <a:gd name="T52" fmla="*/ 0 w 54"/>
                <a:gd name="T53" fmla="*/ 11 h 39"/>
                <a:gd name="T54" fmla="*/ 0 w 54"/>
                <a:gd name="T55" fmla="*/ 8 h 39"/>
                <a:gd name="T56" fmla="*/ 0 w 54"/>
                <a:gd name="T57" fmla="*/ 5 h 39"/>
                <a:gd name="T58" fmla="*/ 0 w 54"/>
                <a:gd name="T59" fmla="*/ 2 h 39"/>
                <a:gd name="T60" fmla="*/ 0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54"/>
                <a:gd name="T94" fmla="*/ 0 h 39"/>
                <a:gd name="T95" fmla="*/ 54 w 54"/>
                <a:gd name="T96" fmla="*/ 39 h 3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80" name="Freeform 767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1669" y="3366"/>
              <a:ext cx="20" cy="37"/>
            </a:xfrm>
            <a:custGeom>
              <a:avLst/>
              <a:gdLst>
                <a:gd name="T0" fmla="*/ 0 w 60"/>
                <a:gd name="T1" fmla="*/ 764651317 h 15"/>
                <a:gd name="T2" fmla="*/ 0 w 60"/>
                <a:gd name="T3" fmla="*/ 902962057 h 15"/>
                <a:gd name="T4" fmla="*/ 0 w 60"/>
                <a:gd name="T5" fmla="*/ 982321610 h 15"/>
                <a:gd name="T6" fmla="*/ 0 w 60"/>
                <a:gd name="T7" fmla="*/ 1038739354 h 15"/>
                <a:gd name="T8" fmla="*/ 0 w 60"/>
                <a:gd name="T9" fmla="*/ 1038739354 h 15"/>
                <a:gd name="T10" fmla="*/ 0 w 60"/>
                <a:gd name="T11" fmla="*/ 982321610 h 15"/>
                <a:gd name="T12" fmla="*/ 0 w 60"/>
                <a:gd name="T13" fmla="*/ 846748277 h 15"/>
                <a:gd name="T14" fmla="*/ 0 w 60"/>
                <a:gd name="T15" fmla="*/ 616105294 h 15"/>
                <a:gd name="T16" fmla="*/ 0 w 60"/>
                <a:gd name="T17" fmla="*/ 343276401 h 15"/>
                <a:gd name="T18" fmla="*/ 0 w 60"/>
                <a:gd name="T19" fmla="*/ 195736699 h 15"/>
                <a:gd name="T20" fmla="*/ 0 w 60"/>
                <a:gd name="T21" fmla="*/ 0 h 15"/>
                <a:gd name="T22" fmla="*/ 0 w 60"/>
                <a:gd name="T23" fmla="*/ 0 h 15"/>
                <a:gd name="T24" fmla="*/ 0 w 60"/>
                <a:gd name="T25" fmla="*/ 0 h 15"/>
                <a:gd name="T26" fmla="*/ 0 w 60"/>
                <a:gd name="T27" fmla="*/ 0 h 15"/>
                <a:gd name="T28" fmla="*/ 0 w 60"/>
                <a:gd name="T29" fmla="*/ 195736699 h 15"/>
                <a:gd name="T30" fmla="*/ 0 w 60"/>
                <a:gd name="T31" fmla="*/ 421110963 h 15"/>
                <a:gd name="T32" fmla="*/ 0 w 60"/>
                <a:gd name="T33" fmla="*/ 559685025 h 15"/>
                <a:gd name="T34" fmla="*/ 0 w 60"/>
                <a:gd name="T35" fmla="*/ 708232311 h 15"/>
                <a:gd name="T36" fmla="*/ 0 w 60"/>
                <a:gd name="T37" fmla="*/ 76465131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"/>
                <a:gd name="T58" fmla="*/ 0 h 15"/>
                <a:gd name="T59" fmla="*/ 60 w 60"/>
                <a:gd name="T60" fmla="*/ 15 h 1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81" name="Freeform 768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1653" y="3358"/>
              <a:ext cx="23" cy="36"/>
            </a:xfrm>
            <a:custGeom>
              <a:avLst/>
              <a:gdLst>
                <a:gd name="T0" fmla="*/ 0 w 79"/>
                <a:gd name="T1" fmla="*/ 0 h 32"/>
                <a:gd name="T2" fmla="*/ 0 w 79"/>
                <a:gd name="T3" fmla="*/ 1 h 32"/>
                <a:gd name="T4" fmla="*/ 0 w 79"/>
                <a:gd name="T5" fmla="*/ 2 h 32"/>
                <a:gd name="T6" fmla="*/ 0 w 79"/>
                <a:gd name="T7" fmla="*/ 48 h 32"/>
                <a:gd name="T8" fmla="*/ 0 w 79"/>
                <a:gd name="T9" fmla="*/ 61 h 32"/>
                <a:gd name="T10" fmla="*/ 0 w 79"/>
                <a:gd name="T11" fmla="*/ 88 h 32"/>
                <a:gd name="T12" fmla="*/ 0 w 79"/>
                <a:gd name="T13" fmla="*/ 111 h 32"/>
                <a:gd name="T14" fmla="*/ 0 w 79"/>
                <a:gd name="T15" fmla="*/ 125 h 32"/>
                <a:gd name="T16" fmla="*/ 0 w 79"/>
                <a:gd name="T17" fmla="*/ 141 h 32"/>
                <a:gd name="T18" fmla="*/ 0 w 79"/>
                <a:gd name="T19" fmla="*/ 226 h 32"/>
                <a:gd name="T20" fmla="*/ 0 w 79"/>
                <a:gd name="T21" fmla="*/ 272 h 32"/>
                <a:gd name="T22" fmla="*/ 0 w 79"/>
                <a:gd name="T23" fmla="*/ 306 h 32"/>
                <a:gd name="T24" fmla="*/ 0 w 79"/>
                <a:gd name="T25" fmla="*/ 324 h 32"/>
                <a:gd name="T26" fmla="*/ 0 w 79"/>
                <a:gd name="T27" fmla="*/ 324 h 32"/>
                <a:gd name="T28" fmla="*/ 0 w 79"/>
                <a:gd name="T29" fmla="*/ 331 h 32"/>
                <a:gd name="T30" fmla="*/ 0 w 79"/>
                <a:gd name="T31" fmla="*/ 324 h 32"/>
                <a:gd name="T32" fmla="*/ 0 w 79"/>
                <a:gd name="T33" fmla="*/ 322 h 32"/>
                <a:gd name="T34" fmla="*/ 0 w 79"/>
                <a:gd name="T35" fmla="*/ 286 h 32"/>
                <a:gd name="T36" fmla="*/ 0 w 79"/>
                <a:gd name="T37" fmla="*/ 254 h 32"/>
                <a:gd name="T38" fmla="*/ 0 w 79"/>
                <a:gd name="T39" fmla="*/ 181 h 32"/>
                <a:gd name="T40" fmla="*/ 0 w 79"/>
                <a:gd name="T41" fmla="*/ 141 h 32"/>
                <a:gd name="T42" fmla="*/ 0 w 79"/>
                <a:gd name="T43" fmla="*/ 61 h 32"/>
                <a:gd name="T44" fmla="*/ 0 w 79"/>
                <a:gd name="T45" fmla="*/ 2 h 32"/>
                <a:gd name="T46" fmla="*/ 0 w 79"/>
                <a:gd name="T47" fmla="*/ 1 h 32"/>
                <a:gd name="T48" fmla="*/ 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32"/>
                <a:gd name="T77" fmla="*/ 79 w 79"/>
                <a:gd name="T78" fmla="*/ 32 h 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82" name="Freeform 769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1649" y="3346"/>
              <a:ext cx="20" cy="36"/>
            </a:xfrm>
            <a:custGeom>
              <a:avLst/>
              <a:gdLst>
                <a:gd name="T0" fmla="*/ 0 w 66"/>
                <a:gd name="T1" fmla="*/ 0 h 19"/>
                <a:gd name="T2" fmla="*/ 0 w 66"/>
                <a:gd name="T3" fmla="*/ 404485 h 19"/>
                <a:gd name="T4" fmla="*/ 0 w 66"/>
                <a:gd name="T5" fmla="*/ 766393 h 19"/>
                <a:gd name="T6" fmla="*/ 0 w 66"/>
                <a:gd name="T7" fmla="*/ 1452113 h 19"/>
                <a:gd name="T8" fmla="*/ 0 w 66"/>
                <a:gd name="T9" fmla="*/ 2457404 h 19"/>
                <a:gd name="T10" fmla="*/ 0 w 66"/>
                <a:gd name="T11" fmla="*/ 3976295 h 19"/>
                <a:gd name="T12" fmla="*/ 0 w 66"/>
                <a:gd name="T13" fmla="*/ 5077925 h 19"/>
                <a:gd name="T14" fmla="*/ 0 w 66"/>
                <a:gd name="T15" fmla="*/ 6070577 h 19"/>
                <a:gd name="T16" fmla="*/ 0 w 66"/>
                <a:gd name="T17" fmla="*/ 6724223 h 19"/>
                <a:gd name="T18" fmla="*/ 0 w 66"/>
                <a:gd name="T19" fmla="*/ 6724223 h 19"/>
                <a:gd name="T20" fmla="*/ 0 w 66"/>
                <a:gd name="T21" fmla="*/ 6724223 h 19"/>
                <a:gd name="T22" fmla="*/ 0 w 66"/>
                <a:gd name="T23" fmla="*/ 6315066 h 19"/>
                <a:gd name="T24" fmla="*/ 0 w 66"/>
                <a:gd name="T25" fmla="*/ 6070577 h 19"/>
                <a:gd name="T26" fmla="*/ 0 w 66"/>
                <a:gd name="T27" fmla="*/ 5213126 h 19"/>
                <a:gd name="T28" fmla="*/ 0 w 66"/>
                <a:gd name="T29" fmla="*/ 4656130 h 19"/>
                <a:gd name="T30" fmla="*/ 0 w 66"/>
                <a:gd name="T31" fmla="*/ 2751372 h 19"/>
                <a:gd name="T32" fmla="*/ 0 w 66"/>
                <a:gd name="T33" fmla="*/ 1452113 h 19"/>
                <a:gd name="T34" fmla="*/ 0 w 66"/>
                <a:gd name="T35" fmla="*/ 404485 h 19"/>
                <a:gd name="T36" fmla="*/ 0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19"/>
                <a:gd name="T59" fmla="*/ 66 w 66"/>
                <a:gd name="T60" fmla="*/ 19 h 1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83" name="Freeform 770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1581" y="3151"/>
              <a:ext cx="17" cy="38"/>
            </a:xfrm>
            <a:custGeom>
              <a:avLst/>
              <a:gdLst>
                <a:gd name="T0" fmla="*/ 0 w 53"/>
                <a:gd name="T1" fmla="*/ 0 h 80"/>
                <a:gd name="T2" fmla="*/ 0 w 53"/>
                <a:gd name="T3" fmla="*/ 0 h 80"/>
                <a:gd name="T4" fmla="*/ 0 w 53"/>
                <a:gd name="T5" fmla="*/ 0 h 80"/>
                <a:gd name="T6" fmla="*/ 0 w 53"/>
                <a:gd name="T7" fmla="*/ 0 h 80"/>
                <a:gd name="T8" fmla="*/ 0 w 53"/>
                <a:gd name="T9" fmla="*/ 0 h 80"/>
                <a:gd name="T10" fmla="*/ 0 w 53"/>
                <a:gd name="T11" fmla="*/ 0 h 80"/>
                <a:gd name="T12" fmla="*/ 0 w 53"/>
                <a:gd name="T13" fmla="*/ 0 h 80"/>
                <a:gd name="T14" fmla="*/ 0 w 53"/>
                <a:gd name="T15" fmla="*/ 0 h 80"/>
                <a:gd name="T16" fmla="*/ 0 w 53"/>
                <a:gd name="T17" fmla="*/ 0 h 80"/>
                <a:gd name="T18" fmla="*/ 0 w 53"/>
                <a:gd name="T19" fmla="*/ 0 h 80"/>
                <a:gd name="T20" fmla="*/ 0 w 53"/>
                <a:gd name="T21" fmla="*/ 0 h 80"/>
                <a:gd name="T22" fmla="*/ 0 w 53"/>
                <a:gd name="T23" fmla="*/ 0 h 80"/>
                <a:gd name="T24" fmla="*/ 0 w 53"/>
                <a:gd name="T25" fmla="*/ 0 h 80"/>
                <a:gd name="T26" fmla="*/ 0 w 53"/>
                <a:gd name="T27" fmla="*/ 0 h 80"/>
                <a:gd name="T28" fmla="*/ 0 w 53"/>
                <a:gd name="T29" fmla="*/ 0 h 80"/>
                <a:gd name="T30" fmla="*/ 0 w 53"/>
                <a:gd name="T31" fmla="*/ 0 h 80"/>
                <a:gd name="T32" fmla="*/ 0 w 53"/>
                <a:gd name="T33" fmla="*/ 0 h 80"/>
                <a:gd name="T34" fmla="*/ 0 w 53"/>
                <a:gd name="T35" fmla="*/ 0 h 80"/>
                <a:gd name="T36" fmla="*/ 0 w 53"/>
                <a:gd name="T37" fmla="*/ 0 h 80"/>
                <a:gd name="T38" fmla="*/ 0 w 53"/>
                <a:gd name="T39" fmla="*/ 0 h 80"/>
                <a:gd name="T40" fmla="*/ 0 w 53"/>
                <a:gd name="T41" fmla="*/ 0 h 80"/>
                <a:gd name="T42" fmla="*/ 0 w 53"/>
                <a:gd name="T43" fmla="*/ 0 h 80"/>
                <a:gd name="T44" fmla="*/ 0 w 53"/>
                <a:gd name="T45" fmla="*/ 0 h 80"/>
                <a:gd name="T46" fmla="*/ 0 w 53"/>
                <a:gd name="T47" fmla="*/ 0 h 80"/>
                <a:gd name="T48" fmla="*/ 0 w 53"/>
                <a:gd name="T49" fmla="*/ 0 h 80"/>
                <a:gd name="T50" fmla="*/ 0 w 53"/>
                <a:gd name="T51" fmla="*/ 0 h 80"/>
                <a:gd name="T52" fmla="*/ 0 w 53"/>
                <a:gd name="T53" fmla="*/ 0 h 80"/>
                <a:gd name="T54" fmla="*/ 0 w 53"/>
                <a:gd name="T55" fmla="*/ 0 h 80"/>
                <a:gd name="T56" fmla="*/ 0 w 53"/>
                <a:gd name="T57" fmla="*/ 0 h 80"/>
                <a:gd name="T58" fmla="*/ 0 w 53"/>
                <a:gd name="T59" fmla="*/ 0 h 80"/>
                <a:gd name="T60" fmla="*/ 0 w 53"/>
                <a:gd name="T61" fmla="*/ 0 h 80"/>
                <a:gd name="T62" fmla="*/ 0 w 53"/>
                <a:gd name="T63" fmla="*/ 0 h 80"/>
                <a:gd name="T64" fmla="*/ 0 w 53"/>
                <a:gd name="T65" fmla="*/ 0 h 80"/>
                <a:gd name="T66" fmla="*/ 0 w 53"/>
                <a:gd name="T67" fmla="*/ 0 h 80"/>
                <a:gd name="T68" fmla="*/ 0 w 53"/>
                <a:gd name="T69" fmla="*/ 0 h 80"/>
                <a:gd name="T70" fmla="*/ 0 w 53"/>
                <a:gd name="T71" fmla="*/ 0 h 80"/>
                <a:gd name="T72" fmla="*/ 0 w 53"/>
                <a:gd name="T73" fmla="*/ 0 h 80"/>
                <a:gd name="T74" fmla="*/ 0 w 53"/>
                <a:gd name="T75" fmla="*/ 0 h 80"/>
                <a:gd name="T76" fmla="*/ 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3"/>
                <a:gd name="T118" fmla="*/ 0 h 80"/>
                <a:gd name="T119" fmla="*/ 53 w 53"/>
                <a:gd name="T120" fmla="*/ 80 h 8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84" name="Freeform 771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1601" y="3211"/>
              <a:ext cx="12" cy="34"/>
            </a:xfrm>
            <a:custGeom>
              <a:avLst/>
              <a:gdLst>
                <a:gd name="T0" fmla="*/ 0 w 41"/>
                <a:gd name="T1" fmla="*/ 2 h 43"/>
                <a:gd name="T2" fmla="*/ 0 w 41"/>
                <a:gd name="T3" fmla="*/ 2 h 43"/>
                <a:gd name="T4" fmla="*/ 0 w 41"/>
                <a:gd name="T5" fmla="*/ 2 h 43"/>
                <a:gd name="T6" fmla="*/ 0 w 41"/>
                <a:gd name="T7" fmla="*/ 2 h 43"/>
                <a:gd name="T8" fmla="*/ 0 w 41"/>
                <a:gd name="T9" fmla="*/ 0 h 43"/>
                <a:gd name="T10" fmla="*/ 0 w 41"/>
                <a:gd name="T11" fmla="*/ 2 h 43"/>
                <a:gd name="T12" fmla="*/ 0 w 41"/>
                <a:gd name="T13" fmla="*/ 2 h 43"/>
                <a:gd name="T14" fmla="*/ 0 w 41"/>
                <a:gd name="T15" fmla="*/ 2 h 43"/>
                <a:gd name="T16" fmla="*/ 0 w 41"/>
                <a:gd name="T17" fmla="*/ 2 h 43"/>
                <a:gd name="T18" fmla="*/ 0 w 41"/>
                <a:gd name="T19" fmla="*/ 2 h 43"/>
                <a:gd name="T20" fmla="*/ 0 w 41"/>
                <a:gd name="T21" fmla="*/ 2 h 43"/>
                <a:gd name="T22" fmla="*/ 0 w 41"/>
                <a:gd name="T23" fmla="*/ 2 h 43"/>
                <a:gd name="T24" fmla="*/ 0 w 41"/>
                <a:gd name="T25" fmla="*/ 2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1"/>
                <a:gd name="T40" fmla="*/ 0 h 43"/>
                <a:gd name="T41" fmla="*/ 41 w 41"/>
                <a:gd name="T42" fmla="*/ 43 h 4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85" name="Freeform 772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1604" y="3225"/>
              <a:ext cx="6" cy="37"/>
            </a:xfrm>
            <a:custGeom>
              <a:avLst/>
              <a:gdLst>
                <a:gd name="T0" fmla="*/ 0 w 20"/>
                <a:gd name="T1" fmla="*/ 0 h 24"/>
                <a:gd name="T2" fmla="*/ 0 w 20"/>
                <a:gd name="T3" fmla="*/ 0 h 24"/>
                <a:gd name="T4" fmla="*/ 0 w 20"/>
                <a:gd name="T5" fmla="*/ 29346 h 24"/>
                <a:gd name="T6" fmla="*/ 0 w 20"/>
                <a:gd name="T7" fmla="*/ 52892 h 24"/>
                <a:gd name="T8" fmla="*/ 0 w 20"/>
                <a:gd name="T9" fmla="*/ 75304 h 24"/>
                <a:gd name="T10" fmla="*/ 0 w 20"/>
                <a:gd name="T11" fmla="*/ 97558 h 24"/>
                <a:gd name="T12" fmla="*/ 0 w 20"/>
                <a:gd name="T13" fmla="*/ 116094 h 24"/>
                <a:gd name="T14" fmla="*/ 0 w 20"/>
                <a:gd name="T15" fmla="*/ 125711 h 24"/>
                <a:gd name="T16" fmla="*/ 0 w 20"/>
                <a:gd name="T17" fmla="*/ 139024 h 24"/>
                <a:gd name="T18" fmla="*/ 0 w 20"/>
                <a:gd name="T19" fmla="*/ 139024 h 24"/>
                <a:gd name="T20" fmla="*/ 0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24"/>
                <a:gd name="T35" fmla="*/ 20 w 20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86" name="Freeform 773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1614" y="3264"/>
              <a:ext cx="12" cy="38"/>
            </a:xfrm>
            <a:custGeom>
              <a:avLst/>
              <a:gdLst>
                <a:gd name="T0" fmla="*/ 0 w 39"/>
                <a:gd name="T1" fmla="*/ 4 h 43"/>
                <a:gd name="T2" fmla="*/ 0 w 39"/>
                <a:gd name="T3" fmla="*/ 4 h 43"/>
                <a:gd name="T4" fmla="*/ 0 w 39"/>
                <a:gd name="T5" fmla="*/ 4 h 43"/>
                <a:gd name="T6" fmla="*/ 0 w 39"/>
                <a:gd name="T7" fmla="*/ 4 h 43"/>
                <a:gd name="T8" fmla="*/ 0 w 39"/>
                <a:gd name="T9" fmla="*/ 4 h 43"/>
                <a:gd name="T10" fmla="*/ 0 w 39"/>
                <a:gd name="T11" fmla="*/ 4 h 43"/>
                <a:gd name="T12" fmla="*/ 0 w 39"/>
                <a:gd name="T13" fmla="*/ 4 h 43"/>
                <a:gd name="T14" fmla="*/ 0 w 39"/>
                <a:gd name="T15" fmla="*/ 4 h 43"/>
                <a:gd name="T16" fmla="*/ 0 w 39"/>
                <a:gd name="T17" fmla="*/ 4 h 43"/>
                <a:gd name="T18" fmla="*/ 0 w 39"/>
                <a:gd name="T19" fmla="*/ 4 h 43"/>
                <a:gd name="T20" fmla="*/ 0 w 39"/>
                <a:gd name="T21" fmla="*/ 4 h 43"/>
                <a:gd name="T22" fmla="*/ 0 w 39"/>
                <a:gd name="T23" fmla="*/ 4 h 43"/>
                <a:gd name="T24" fmla="*/ 0 w 39"/>
                <a:gd name="T25" fmla="*/ 0 h 43"/>
                <a:gd name="T26" fmla="*/ 0 w 39"/>
                <a:gd name="T27" fmla="*/ 3 h 43"/>
                <a:gd name="T28" fmla="*/ 0 w 39"/>
                <a:gd name="T29" fmla="*/ 4 h 43"/>
                <a:gd name="T30" fmla="*/ 0 w 39"/>
                <a:gd name="T31" fmla="*/ 4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9"/>
                <a:gd name="T49" fmla="*/ 0 h 43"/>
                <a:gd name="T50" fmla="*/ 39 w 39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87" name="Freeform 774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1606" y="3272"/>
              <a:ext cx="18" cy="37"/>
            </a:xfrm>
            <a:custGeom>
              <a:avLst/>
              <a:gdLst>
                <a:gd name="T0" fmla="*/ 0 w 55"/>
                <a:gd name="T1" fmla="*/ 1 h 62"/>
                <a:gd name="T2" fmla="*/ 0 w 55"/>
                <a:gd name="T3" fmla="*/ 0 h 62"/>
                <a:gd name="T4" fmla="*/ 0 w 55"/>
                <a:gd name="T5" fmla="*/ 1 h 62"/>
                <a:gd name="T6" fmla="*/ 0 w 55"/>
                <a:gd name="T7" fmla="*/ 1 h 62"/>
                <a:gd name="T8" fmla="*/ 0 w 55"/>
                <a:gd name="T9" fmla="*/ 1 h 62"/>
                <a:gd name="T10" fmla="*/ 0 w 55"/>
                <a:gd name="T11" fmla="*/ 1 h 62"/>
                <a:gd name="T12" fmla="*/ 0 w 55"/>
                <a:gd name="T13" fmla="*/ 1 h 62"/>
                <a:gd name="T14" fmla="*/ 0 w 55"/>
                <a:gd name="T15" fmla="*/ 1 h 62"/>
                <a:gd name="T16" fmla="*/ 0 w 55"/>
                <a:gd name="T17" fmla="*/ 1 h 62"/>
                <a:gd name="T18" fmla="*/ 0 w 55"/>
                <a:gd name="T19" fmla="*/ 1 h 62"/>
                <a:gd name="T20" fmla="*/ 0 w 55"/>
                <a:gd name="T21" fmla="*/ 1 h 62"/>
                <a:gd name="T22" fmla="*/ 0 w 55"/>
                <a:gd name="T23" fmla="*/ 1 h 62"/>
                <a:gd name="T24" fmla="*/ 0 w 55"/>
                <a:gd name="T25" fmla="*/ 1 h 62"/>
                <a:gd name="T26" fmla="*/ 0 w 55"/>
                <a:gd name="T27" fmla="*/ 1 h 62"/>
                <a:gd name="T28" fmla="*/ 0 w 55"/>
                <a:gd name="T29" fmla="*/ 1 h 62"/>
                <a:gd name="T30" fmla="*/ 0 w 55"/>
                <a:gd name="T31" fmla="*/ 1 h 62"/>
                <a:gd name="T32" fmla="*/ 0 w 55"/>
                <a:gd name="T33" fmla="*/ 1 h 62"/>
                <a:gd name="T34" fmla="*/ 0 w 55"/>
                <a:gd name="T35" fmla="*/ 1 h 62"/>
                <a:gd name="T36" fmla="*/ 0 w 55"/>
                <a:gd name="T37" fmla="*/ 1 h 62"/>
                <a:gd name="T38" fmla="*/ 0 w 55"/>
                <a:gd name="T39" fmla="*/ 1 h 62"/>
                <a:gd name="T40" fmla="*/ 0 w 55"/>
                <a:gd name="T41" fmla="*/ 1 h 62"/>
                <a:gd name="T42" fmla="*/ 0 w 55"/>
                <a:gd name="T43" fmla="*/ 1 h 62"/>
                <a:gd name="T44" fmla="*/ 0 w 55"/>
                <a:gd name="T45" fmla="*/ 1 h 62"/>
                <a:gd name="T46" fmla="*/ 0 w 55"/>
                <a:gd name="T47" fmla="*/ 1 h 62"/>
                <a:gd name="T48" fmla="*/ 0 w 55"/>
                <a:gd name="T49" fmla="*/ 1 h 62"/>
                <a:gd name="T50" fmla="*/ 0 w 55"/>
                <a:gd name="T51" fmla="*/ 1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5"/>
                <a:gd name="T79" fmla="*/ 0 h 62"/>
                <a:gd name="T80" fmla="*/ 55 w 55"/>
                <a:gd name="T81" fmla="*/ 62 h 6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88" name="Freeform 775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1626" y="3293"/>
              <a:ext cx="8" cy="37"/>
            </a:xfrm>
            <a:custGeom>
              <a:avLst/>
              <a:gdLst>
                <a:gd name="T0" fmla="*/ 0 w 35"/>
                <a:gd name="T1" fmla="*/ 3 h 43"/>
                <a:gd name="T2" fmla="*/ 0 w 35"/>
                <a:gd name="T3" fmla="*/ 0 h 43"/>
                <a:gd name="T4" fmla="*/ 0 w 35"/>
                <a:gd name="T5" fmla="*/ 3 h 43"/>
                <a:gd name="T6" fmla="*/ 0 w 35"/>
                <a:gd name="T7" fmla="*/ 3 h 43"/>
                <a:gd name="T8" fmla="*/ 0 w 35"/>
                <a:gd name="T9" fmla="*/ 3 h 43"/>
                <a:gd name="T10" fmla="*/ 0 w 35"/>
                <a:gd name="T11" fmla="*/ 3 h 43"/>
                <a:gd name="T12" fmla="*/ 0 w 35"/>
                <a:gd name="T13" fmla="*/ 3 h 43"/>
                <a:gd name="T14" fmla="*/ 0 w 35"/>
                <a:gd name="T15" fmla="*/ 3 h 43"/>
                <a:gd name="T16" fmla="*/ 0 w 35"/>
                <a:gd name="T17" fmla="*/ 3 h 43"/>
                <a:gd name="T18" fmla="*/ 0 w 35"/>
                <a:gd name="T19" fmla="*/ 3 h 43"/>
                <a:gd name="T20" fmla="*/ 0 w 35"/>
                <a:gd name="T21" fmla="*/ 3 h 43"/>
                <a:gd name="T22" fmla="*/ 0 w 35"/>
                <a:gd name="T23" fmla="*/ 3 h 43"/>
                <a:gd name="T24" fmla="*/ 0 w 35"/>
                <a:gd name="T25" fmla="*/ 3 h 43"/>
                <a:gd name="T26" fmla="*/ 0 w 35"/>
                <a:gd name="T27" fmla="*/ 3 h 43"/>
                <a:gd name="T28" fmla="*/ 0 w 35"/>
                <a:gd name="T29" fmla="*/ 3 h 43"/>
                <a:gd name="T30" fmla="*/ 0 w 35"/>
                <a:gd name="T31" fmla="*/ 3 h 43"/>
                <a:gd name="T32" fmla="*/ 0 w 35"/>
                <a:gd name="T33" fmla="*/ 3 h 43"/>
                <a:gd name="T34" fmla="*/ 0 w 35"/>
                <a:gd name="T35" fmla="*/ 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5"/>
                <a:gd name="T55" fmla="*/ 0 h 43"/>
                <a:gd name="T56" fmla="*/ 35 w 35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89" name="Freeform 776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1624" y="3314"/>
              <a:ext cx="14" cy="35"/>
            </a:xfrm>
            <a:custGeom>
              <a:avLst/>
              <a:gdLst>
                <a:gd name="T0" fmla="*/ 0 w 53"/>
                <a:gd name="T1" fmla="*/ 0 h 21"/>
                <a:gd name="T2" fmla="*/ 0 w 53"/>
                <a:gd name="T3" fmla="*/ 28458 h 21"/>
                <a:gd name="T4" fmla="*/ 0 w 53"/>
                <a:gd name="T5" fmla="*/ 47430 h 21"/>
                <a:gd name="T6" fmla="*/ 0 w 53"/>
                <a:gd name="T7" fmla="*/ 131750 h 21"/>
                <a:gd name="T8" fmla="*/ 0 w 53"/>
                <a:gd name="T9" fmla="*/ 195153 h 21"/>
                <a:gd name="T10" fmla="*/ 0 w 53"/>
                <a:gd name="T11" fmla="*/ 277028 h 21"/>
                <a:gd name="T12" fmla="*/ 0 w 53"/>
                <a:gd name="T13" fmla="*/ 365972 h 21"/>
                <a:gd name="T14" fmla="*/ 0 w 53"/>
                <a:gd name="T15" fmla="*/ 442347 h 21"/>
                <a:gd name="T16" fmla="*/ 0 w 53"/>
                <a:gd name="T17" fmla="*/ 488403 h 21"/>
                <a:gd name="T18" fmla="*/ 0 w 53"/>
                <a:gd name="T19" fmla="*/ 542092 h 21"/>
                <a:gd name="T20" fmla="*/ 0 w 53"/>
                <a:gd name="T21" fmla="*/ 574245 h 21"/>
                <a:gd name="T22" fmla="*/ 0 w 53"/>
                <a:gd name="T23" fmla="*/ 574245 h 21"/>
                <a:gd name="T24" fmla="*/ 0 w 53"/>
                <a:gd name="T25" fmla="*/ 574245 h 21"/>
                <a:gd name="T26" fmla="*/ 0 w 53"/>
                <a:gd name="T27" fmla="*/ 520472 h 21"/>
                <a:gd name="T28" fmla="*/ 0 w 53"/>
                <a:gd name="T29" fmla="*/ 488403 h 21"/>
                <a:gd name="T30" fmla="*/ 0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21"/>
                <a:gd name="T50" fmla="*/ 53 w 53"/>
                <a:gd name="T51" fmla="*/ 21 h 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90" name="Freeform 777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1640" y="3323"/>
              <a:ext cx="12" cy="36"/>
            </a:xfrm>
            <a:custGeom>
              <a:avLst/>
              <a:gdLst>
                <a:gd name="T0" fmla="*/ 0 w 43"/>
                <a:gd name="T1" fmla="*/ 0 h 38"/>
                <a:gd name="T2" fmla="*/ 0 w 43"/>
                <a:gd name="T3" fmla="*/ 0 h 38"/>
                <a:gd name="T4" fmla="*/ 0 w 43"/>
                <a:gd name="T5" fmla="*/ 0 h 38"/>
                <a:gd name="T6" fmla="*/ 0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0 w 43"/>
                <a:gd name="T15" fmla="*/ 9 h 38"/>
                <a:gd name="T16" fmla="*/ 0 w 43"/>
                <a:gd name="T17" fmla="*/ 9 h 38"/>
                <a:gd name="T18" fmla="*/ 0 w 43"/>
                <a:gd name="T19" fmla="*/ 9 h 38"/>
                <a:gd name="T20" fmla="*/ 0 w 43"/>
                <a:gd name="T21" fmla="*/ 9 h 38"/>
                <a:gd name="T22" fmla="*/ 0 w 43"/>
                <a:gd name="T23" fmla="*/ 9 h 38"/>
                <a:gd name="T24" fmla="*/ 0 w 43"/>
                <a:gd name="T25" fmla="*/ 11 h 38"/>
                <a:gd name="T26" fmla="*/ 0 w 43"/>
                <a:gd name="T27" fmla="*/ 12 h 38"/>
                <a:gd name="T28" fmla="*/ 0 w 43"/>
                <a:gd name="T29" fmla="*/ 13 h 38"/>
                <a:gd name="T30" fmla="*/ 0 w 43"/>
                <a:gd name="T31" fmla="*/ 13 h 38"/>
                <a:gd name="T32" fmla="*/ 0 w 43"/>
                <a:gd name="T33" fmla="*/ 12 h 38"/>
                <a:gd name="T34" fmla="*/ 0 w 43"/>
                <a:gd name="T35" fmla="*/ 9 h 38"/>
                <a:gd name="T36" fmla="*/ 0 w 43"/>
                <a:gd name="T37" fmla="*/ 9 h 38"/>
                <a:gd name="T38" fmla="*/ 0 w 43"/>
                <a:gd name="T39" fmla="*/ 9 h 38"/>
                <a:gd name="T40" fmla="*/ 0 w 43"/>
                <a:gd name="T41" fmla="*/ 9 h 38"/>
                <a:gd name="T42" fmla="*/ 0 w 43"/>
                <a:gd name="T43" fmla="*/ 9 h 38"/>
                <a:gd name="T44" fmla="*/ 0 w 43"/>
                <a:gd name="T45" fmla="*/ 7 h 38"/>
                <a:gd name="T46" fmla="*/ 0 w 43"/>
                <a:gd name="T47" fmla="*/ 4 h 38"/>
                <a:gd name="T48" fmla="*/ 0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3"/>
                <a:gd name="T76" fmla="*/ 0 h 38"/>
                <a:gd name="T77" fmla="*/ 43 w 43"/>
                <a:gd name="T78" fmla="*/ 38 h 3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91" name="Freeform 778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1641" y="3341"/>
              <a:ext cx="5" cy="36"/>
            </a:xfrm>
            <a:custGeom>
              <a:avLst/>
              <a:gdLst>
                <a:gd name="T0" fmla="*/ 0 w 20"/>
                <a:gd name="T1" fmla="*/ 0 h 5"/>
                <a:gd name="T2" fmla="*/ 0 w 20"/>
                <a:gd name="T3" fmla="*/ 2147483647 h 5"/>
                <a:gd name="T4" fmla="*/ 0 w 20"/>
                <a:gd name="T5" fmla="*/ 2147483647 h 5"/>
                <a:gd name="T6" fmla="*/ 0 w 20"/>
                <a:gd name="T7" fmla="*/ 2147483647 h 5"/>
                <a:gd name="T8" fmla="*/ 0 w 20"/>
                <a:gd name="T9" fmla="*/ 2147483647 h 5"/>
                <a:gd name="T10" fmla="*/ 0 w 20"/>
                <a:gd name="T11" fmla="*/ 2147483647 h 5"/>
                <a:gd name="T12" fmla="*/ 0 w 20"/>
                <a:gd name="T13" fmla="*/ 2147483647 h 5"/>
                <a:gd name="T14" fmla="*/ 0 w 20"/>
                <a:gd name="T15" fmla="*/ 2147483647 h 5"/>
                <a:gd name="T16" fmla="*/ 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5"/>
                <a:gd name="T32" fmla="*/ 20 w 2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92" name="Freeform 779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1692" y="3385"/>
              <a:ext cx="24" cy="36"/>
            </a:xfrm>
            <a:custGeom>
              <a:avLst/>
              <a:gdLst>
                <a:gd name="T0" fmla="*/ 0 w 73"/>
                <a:gd name="T1" fmla="*/ 0 h 22"/>
                <a:gd name="T2" fmla="*/ 0 w 73"/>
                <a:gd name="T3" fmla="*/ 20779 h 22"/>
                <a:gd name="T4" fmla="*/ 0 w 73"/>
                <a:gd name="T5" fmla="*/ 34002 h 22"/>
                <a:gd name="T6" fmla="*/ 0 w 73"/>
                <a:gd name="T7" fmla="*/ 91047 h 22"/>
                <a:gd name="T8" fmla="*/ 0 w 73"/>
                <a:gd name="T9" fmla="*/ 148986 h 22"/>
                <a:gd name="T10" fmla="*/ 0 w 73"/>
                <a:gd name="T11" fmla="*/ 266493 h 22"/>
                <a:gd name="T12" fmla="*/ 0 w 73"/>
                <a:gd name="T13" fmla="*/ 360229 h 22"/>
                <a:gd name="T14" fmla="*/ 0 w 73"/>
                <a:gd name="T15" fmla="*/ 381134 h 22"/>
                <a:gd name="T16" fmla="*/ 0 w 73"/>
                <a:gd name="T17" fmla="*/ 419186 h 22"/>
                <a:gd name="T18" fmla="*/ 0 w 73"/>
                <a:gd name="T19" fmla="*/ 419186 h 22"/>
                <a:gd name="T20" fmla="*/ 0 w 73"/>
                <a:gd name="T21" fmla="*/ 419186 h 22"/>
                <a:gd name="T22" fmla="*/ 0 w 73"/>
                <a:gd name="T23" fmla="*/ 398937 h 22"/>
                <a:gd name="T24" fmla="*/ 0 w 73"/>
                <a:gd name="T25" fmla="*/ 360229 h 22"/>
                <a:gd name="T26" fmla="*/ 0 w 73"/>
                <a:gd name="T27" fmla="*/ 266493 h 22"/>
                <a:gd name="T28" fmla="*/ 0 w 73"/>
                <a:gd name="T29" fmla="*/ 148986 h 22"/>
                <a:gd name="T30" fmla="*/ 0 w 73"/>
                <a:gd name="T31" fmla="*/ 91047 h 22"/>
                <a:gd name="T32" fmla="*/ 0 w 73"/>
                <a:gd name="T33" fmla="*/ 34002 h 22"/>
                <a:gd name="T34" fmla="*/ 0 w 73"/>
                <a:gd name="T35" fmla="*/ 20779 h 22"/>
                <a:gd name="T36" fmla="*/ 0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3"/>
                <a:gd name="T58" fmla="*/ 0 h 22"/>
                <a:gd name="T59" fmla="*/ 73 w 73"/>
                <a:gd name="T60" fmla="*/ 22 h 2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93" name="Freeform 780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1718" y="3348"/>
              <a:ext cx="85" cy="63"/>
            </a:xfrm>
            <a:custGeom>
              <a:avLst/>
              <a:gdLst>
                <a:gd name="T0" fmla="*/ 0 w 281"/>
                <a:gd name="T1" fmla="*/ 0 h 193"/>
                <a:gd name="T2" fmla="*/ 0 w 281"/>
                <a:gd name="T3" fmla="*/ 0 h 193"/>
                <a:gd name="T4" fmla="*/ 0 w 281"/>
                <a:gd name="T5" fmla="*/ 0 h 193"/>
                <a:gd name="T6" fmla="*/ 0 w 281"/>
                <a:gd name="T7" fmla="*/ 0 h 193"/>
                <a:gd name="T8" fmla="*/ 0 w 281"/>
                <a:gd name="T9" fmla="*/ 0 h 193"/>
                <a:gd name="T10" fmla="*/ 0 w 281"/>
                <a:gd name="T11" fmla="*/ 0 h 193"/>
                <a:gd name="T12" fmla="*/ 0 w 281"/>
                <a:gd name="T13" fmla="*/ 0 h 193"/>
                <a:gd name="T14" fmla="*/ 0 w 281"/>
                <a:gd name="T15" fmla="*/ 0 h 193"/>
                <a:gd name="T16" fmla="*/ 0 w 281"/>
                <a:gd name="T17" fmla="*/ 0 h 193"/>
                <a:gd name="T18" fmla="*/ 0 w 281"/>
                <a:gd name="T19" fmla="*/ 0 h 193"/>
                <a:gd name="T20" fmla="*/ 0 w 281"/>
                <a:gd name="T21" fmla="*/ 0 h 193"/>
                <a:gd name="T22" fmla="*/ 0 w 281"/>
                <a:gd name="T23" fmla="*/ 0 h 193"/>
                <a:gd name="T24" fmla="*/ 0 w 281"/>
                <a:gd name="T25" fmla="*/ 0 h 193"/>
                <a:gd name="T26" fmla="*/ 0 w 281"/>
                <a:gd name="T27" fmla="*/ 0 h 193"/>
                <a:gd name="T28" fmla="*/ 0 w 281"/>
                <a:gd name="T29" fmla="*/ 0 h 193"/>
                <a:gd name="T30" fmla="*/ 0 w 281"/>
                <a:gd name="T31" fmla="*/ 0 h 193"/>
                <a:gd name="T32" fmla="*/ 0 w 281"/>
                <a:gd name="T33" fmla="*/ 0 h 193"/>
                <a:gd name="T34" fmla="*/ 0 w 281"/>
                <a:gd name="T35" fmla="*/ 0 h 193"/>
                <a:gd name="T36" fmla="*/ 0 w 281"/>
                <a:gd name="T37" fmla="*/ 0 h 193"/>
                <a:gd name="T38" fmla="*/ 0 w 281"/>
                <a:gd name="T39" fmla="*/ 0 h 193"/>
                <a:gd name="T40" fmla="*/ 0 w 281"/>
                <a:gd name="T41" fmla="*/ 0 h 193"/>
                <a:gd name="T42" fmla="*/ 0 w 281"/>
                <a:gd name="T43" fmla="*/ 0 h 193"/>
                <a:gd name="T44" fmla="*/ 0 w 281"/>
                <a:gd name="T45" fmla="*/ 0 h 193"/>
                <a:gd name="T46" fmla="*/ 0 w 281"/>
                <a:gd name="T47" fmla="*/ 0 h 193"/>
                <a:gd name="T48" fmla="*/ 0 w 281"/>
                <a:gd name="T49" fmla="*/ 0 h 193"/>
                <a:gd name="T50" fmla="*/ 0 w 281"/>
                <a:gd name="T51" fmla="*/ 0 h 193"/>
                <a:gd name="T52" fmla="*/ 0 w 281"/>
                <a:gd name="T53" fmla="*/ 0 h 193"/>
                <a:gd name="T54" fmla="*/ 0 w 281"/>
                <a:gd name="T55" fmla="*/ 0 h 193"/>
                <a:gd name="T56" fmla="*/ 0 w 281"/>
                <a:gd name="T57" fmla="*/ 0 h 193"/>
                <a:gd name="T58" fmla="*/ 0 w 281"/>
                <a:gd name="T59" fmla="*/ 0 h 193"/>
                <a:gd name="T60" fmla="*/ 0 w 281"/>
                <a:gd name="T61" fmla="*/ 0 h 193"/>
                <a:gd name="T62" fmla="*/ 0 w 281"/>
                <a:gd name="T63" fmla="*/ 0 h 193"/>
                <a:gd name="T64" fmla="*/ 0 w 281"/>
                <a:gd name="T65" fmla="*/ 0 h 193"/>
                <a:gd name="T66" fmla="*/ 0 w 281"/>
                <a:gd name="T67" fmla="*/ 0 h 193"/>
                <a:gd name="T68" fmla="*/ 0 w 281"/>
                <a:gd name="T69" fmla="*/ 0 h 193"/>
                <a:gd name="T70" fmla="*/ 0 w 281"/>
                <a:gd name="T71" fmla="*/ 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81"/>
                <a:gd name="T109" fmla="*/ 0 h 193"/>
                <a:gd name="T110" fmla="*/ 281 w 281"/>
                <a:gd name="T111" fmla="*/ 193 h 19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94" name="Freeform 781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1413" y="1941"/>
              <a:ext cx="35" cy="37"/>
            </a:xfrm>
            <a:custGeom>
              <a:avLst/>
              <a:gdLst>
                <a:gd name="T0" fmla="*/ 0 w 120"/>
                <a:gd name="T1" fmla="*/ 1 h 56"/>
                <a:gd name="T2" fmla="*/ 0 w 120"/>
                <a:gd name="T3" fmla="*/ 1 h 56"/>
                <a:gd name="T4" fmla="*/ 0 w 120"/>
                <a:gd name="T5" fmla="*/ 1 h 56"/>
                <a:gd name="T6" fmla="*/ 0 w 120"/>
                <a:gd name="T7" fmla="*/ 1 h 56"/>
                <a:gd name="T8" fmla="*/ 0 w 120"/>
                <a:gd name="T9" fmla="*/ 1 h 56"/>
                <a:gd name="T10" fmla="*/ 0 w 120"/>
                <a:gd name="T11" fmla="*/ 1 h 56"/>
                <a:gd name="T12" fmla="*/ 0 w 120"/>
                <a:gd name="T13" fmla="*/ 1 h 56"/>
                <a:gd name="T14" fmla="*/ 0 w 120"/>
                <a:gd name="T15" fmla="*/ 1 h 56"/>
                <a:gd name="T16" fmla="*/ 0 w 120"/>
                <a:gd name="T17" fmla="*/ 1 h 56"/>
                <a:gd name="T18" fmla="*/ 0 w 120"/>
                <a:gd name="T19" fmla="*/ 1 h 56"/>
                <a:gd name="T20" fmla="*/ 0 w 120"/>
                <a:gd name="T21" fmla="*/ 1 h 56"/>
                <a:gd name="T22" fmla="*/ 0 w 120"/>
                <a:gd name="T23" fmla="*/ 1 h 56"/>
                <a:gd name="T24" fmla="*/ 0 w 120"/>
                <a:gd name="T25" fmla="*/ 1 h 56"/>
                <a:gd name="T26" fmla="*/ 0 w 120"/>
                <a:gd name="T27" fmla="*/ 1 h 56"/>
                <a:gd name="T28" fmla="*/ 0 w 120"/>
                <a:gd name="T29" fmla="*/ 1 h 56"/>
                <a:gd name="T30" fmla="*/ 0 w 120"/>
                <a:gd name="T31" fmla="*/ 1 h 56"/>
                <a:gd name="T32" fmla="*/ 0 w 120"/>
                <a:gd name="T33" fmla="*/ 1 h 56"/>
                <a:gd name="T34" fmla="*/ 0 w 120"/>
                <a:gd name="T35" fmla="*/ 1 h 56"/>
                <a:gd name="T36" fmla="*/ 0 w 120"/>
                <a:gd name="T37" fmla="*/ 1 h 56"/>
                <a:gd name="T38" fmla="*/ 0 w 120"/>
                <a:gd name="T39" fmla="*/ 1 h 56"/>
                <a:gd name="T40" fmla="*/ 0 w 120"/>
                <a:gd name="T41" fmla="*/ 1 h 56"/>
                <a:gd name="T42" fmla="*/ 0 w 120"/>
                <a:gd name="T43" fmla="*/ 0 h 56"/>
                <a:gd name="T44" fmla="*/ 0 w 120"/>
                <a:gd name="T45" fmla="*/ 1 h 56"/>
                <a:gd name="T46" fmla="*/ 0 w 120"/>
                <a:gd name="T47" fmla="*/ 1 h 56"/>
                <a:gd name="T48" fmla="*/ 0 w 120"/>
                <a:gd name="T49" fmla="*/ 1 h 56"/>
                <a:gd name="T50" fmla="*/ 0 w 120"/>
                <a:gd name="T51" fmla="*/ 1 h 56"/>
                <a:gd name="T52" fmla="*/ 0 w 120"/>
                <a:gd name="T53" fmla="*/ 1 h 56"/>
                <a:gd name="T54" fmla="*/ 0 w 120"/>
                <a:gd name="T55" fmla="*/ 1 h 56"/>
                <a:gd name="T56" fmla="*/ 0 w 120"/>
                <a:gd name="T57" fmla="*/ 1 h 56"/>
                <a:gd name="T58" fmla="*/ 0 w 120"/>
                <a:gd name="T59" fmla="*/ 1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0"/>
                <a:gd name="T91" fmla="*/ 0 h 56"/>
                <a:gd name="T92" fmla="*/ 120 w 120"/>
                <a:gd name="T93" fmla="*/ 56 h 5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95" name="Freeform 782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315" y="1854"/>
              <a:ext cx="171" cy="69"/>
            </a:xfrm>
            <a:custGeom>
              <a:avLst/>
              <a:gdLst>
                <a:gd name="T0" fmla="*/ 0 w 574"/>
                <a:gd name="T1" fmla="*/ 0 h 204"/>
                <a:gd name="T2" fmla="*/ 0 w 574"/>
                <a:gd name="T3" fmla="*/ 0 h 204"/>
                <a:gd name="T4" fmla="*/ 0 w 574"/>
                <a:gd name="T5" fmla="*/ 0 h 204"/>
                <a:gd name="T6" fmla="*/ 0 w 574"/>
                <a:gd name="T7" fmla="*/ 0 h 204"/>
                <a:gd name="T8" fmla="*/ 0 w 574"/>
                <a:gd name="T9" fmla="*/ 0 h 204"/>
                <a:gd name="T10" fmla="*/ 0 w 574"/>
                <a:gd name="T11" fmla="*/ 0 h 204"/>
                <a:gd name="T12" fmla="*/ 0 w 574"/>
                <a:gd name="T13" fmla="*/ 0 h 204"/>
                <a:gd name="T14" fmla="*/ 0 w 574"/>
                <a:gd name="T15" fmla="*/ 0 h 204"/>
                <a:gd name="T16" fmla="*/ 0 w 574"/>
                <a:gd name="T17" fmla="*/ 0 h 204"/>
                <a:gd name="T18" fmla="*/ 0 w 574"/>
                <a:gd name="T19" fmla="*/ 0 h 204"/>
                <a:gd name="T20" fmla="*/ 0 w 574"/>
                <a:gd name="T21" fmla="*/ 0 h 204"/>
                <a:gd name="T22" fmla="*/ 0 w 574"/>
                <a:gd name="T23" fmla="*/ 0 h 204"/>
                <a:gd name="T24" fmla="*/ 0 w 574"/>
                <a:gd name="T25" fmla="*/ 0 h 204"/>
                <a:gd name="T26" fmla="*/ 0 w 574"/>
                <a:gd name="T27" fmla="*/ 0 h 204"/>
                <a:gd name="T28" fmla="*/ 0 w 574"/>
                <a:gd name="T29" fmla="*/ 0 h 204"/>
                <a:gd name="T30" fmla="*/ 0 w 574"/>
                <a:gd name="T31" fmla="*/ 0 h 204"/>
                <a:gd name="T32" fmla="*/ 0 w 574"/>
                <a:gd name="T33" fmla="*/ 0 h 204"/>
                <a:gd name="T34" fmla="*/ 0 w 574"/>
                <a:gd name="T35" fmla="*/ 0 h 204"/>
                <a:gd name="T36" fmla="*/ 0 w 574"/>
                <a:gd name="T37" fmla="*/ 0 h 204"/>
                <a:gd name="T38" fmla="*/ 0 w 574"/>
                <a:gd name="T39" fmla="*/ 0 h 204"/>
                <a:gd name="T40" fmla="*/ 0 w 574"/>
                <a:gd name="T41" fmla="*/ 0 h 204"/>
                <a:gd name="T42" fmla="*/ 0 w 574"/>
                <a:gd name="T43" fmla="*/ 0 h 204"/>
                <a:gd name="T44" fmla="*/ 0 w 574"/>
                <a:gd name="T45" fmla="*/ 0 h 204"/>
                <a:gd name="T46" fmla="*/ 0 w 574"/>
                <a:gd name="T47" fmla="*/ 0 h 204"/>
                <a:gd name="T48" fmla="*/ 0 w 574"/>
                <a:gd name="T49" fmla="*/ 0 h 204"/>
                <a:gd name="T50" fmla="*/ 0 w 574"/>
                <a:gd name="T51" fmla="*/ 0 h 204"/>
                <a:gd name="T52" fmla="*/ 0 w 574"/>
                <a:gd name="T53" fmla="*/ 0 h 204"/>
                <a:gd name="T54" fmla="*/ 0 w 574"/>
                <a:gd name="T55" fmla="*/ 0 h 204"/>
                <a:gd name="T56" fmla="*/ 0 w 574"/>
                <a:gd name="T57" fmla="*/ 0 h 204"/>
                <a:gd name="T58" fmla="*/ 0 w 574"/>
                <a:gd name="T59" fmla="*/ 0 h 204"/>
                <a:gd name="T60" fmla="*/ 0 w 574"/>
                <a:gd name="T61" fmla="*/ 0 h 204"/>
                <a:gd name="T62" fmla="*/ 0 w 574"/>
                <a:gd name="T63" fmla="*/ 0 h 204"/>
                <a:gd name="T64" fmla="*/ 0 w 574"/>
                <a:gd name="T65" fmla="*/ 0 h 204"/>
                <a:gd name="T66" fmla="*/ 0 w 574"/>
                <a:gd name="T67" fmla="*/ 0 h 204"/>
                <a:gd name="T68" fmla="*/ 0 w 574"/>
                <a:gd name="T69" fmla="*/ 0 h 204"/>
                <a:gd name="T70" fmla="*/ 0 w 574"/>
                <a:gd name="T71" fmla="*/ 0 h 204"/>
                <a:gd name="T72" fmla="*/ 0 w 574"/>
                <a:gd name="T73" fmla="*/ 0 h 204"/>
                <a:gd name="T74" fmla="*/ 0 w 574"/>
                <a:gd name="T75" fmla="*/ 0 h 204"/>
                <a:gd name="T76" fmla="*/ 0 w 574"/>
                <a:gd name="T77" fmla="*/ 0 h 204"/>
                <a:gd name="T78" fmla="*/ 0 w 574"/>
                <a:gd name="T79" fmla="*/ 0 h 204"/>
                <a:gd name="T80" fmla="*/ 0 w 574"/>
                <a:gd name="T81" fmla="*/ 0 h 204"/>
                <a:gd name="T82" fmla="*/ 0 w 574"/>
                <a:gd name="T83" fmla="*/ 0 h 204"/>
                <a:gd name="T84" fmla="*/ 0 w 574"/>
                <a:gd name="T85" fmla="*/ 0 h 204"/>
                <a:gd name="T86" fmla="*/ 0 w 574"/>
                <a:gd name="T87" fmla="*/ 0 h 204"/>
                <a:gd name="T88" fmla="*/ 0 w 574"/>
                <a:gd name="T89" fmla="*/ 0 h 204"/>
                <a:gd name="T90" fmla="*/ 0 w 574"/>
                <a:gd name="T91" fmla="*/ 0 h 204"/>
                <a:gd name="T92" fmla="*/ 0 w 574"/>
                <a:gd name="T93" fmla="*/ 0 h 204"/>
                <a:gd name="T94" fmla="*/ 0 w 574"/>
                <a:gd name="T95" fmla="*/ 0 h 204"/>
                <a:gd name="T96" fmla="*/ 0 w 574"/>
                <a:gd name="T97" fmla="*/ 0 h 204"/>
                <a:gd name="T98" fmla="*/ 0 w 574"/>
                <a:gd name="T99" fmla="*/ 0 h 204"/>
                <a:gd name="T100" fmla="*/ 0 w 574"/>
                <a:gd name="T101" fmla="*/ 0 h 204"/>
                <a:gd name="T102" fmla="*/ 0 w 574"/>
                <a:gd name="T103" fmla="*/ 0 h 204"/>
                <a:gd name="T104" fmla="*/ 0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4"/>
                <a:gd name="T160" fmla="*/ 0 h 204"/>
                <a:gd name="T161" fmla="*/ 574 w 574"/>
                <a:gd name="T162" fmla="*/ 204 h 20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96" name="Freeform 783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1523" y="1919"/>
              <a:ext cx="61" cy="44"/>
            </a:xfrm>
            <a:custGeom>
              <a:avLst/>
              <a:gdLst>
                <a:gd name="T0" fmla="*/ 0 w 207"/>
                <a:gd name="T1" fmla="*/ 0 h 129"/>
                <a:gd name="T2" fmla="*/ 0 w 207"/>
                <a:gd name="T3" fmla="*/ 0 h 129"/>
                <a:gd name="T4" fmla="*/ 0 w 207"/>
                <a:gd name="T5" fmla="*/ 0 h 129"/>
                <a:gd name="T6" fmla="*/ 0 w 207"/>
                <a:gd name="T7" fmla="*/ 0 h 129"/>
                <a:gd name="T8" fmla="*/ 0 w 207"/>
                <a:gd name="T9" fmla="*/ 0 h 129"/>
                <a:gd name="T10" fmla="*/ 0 w 207"/>
                <a:gd name="T11" fmla="*/ 0 h 129"/>
                <a:gd name="T12" fmla="*/ 0 w 207"/>
                <a:gd name="T13" fmla="*/ 0 h 129"/>
                <a:gd name="T14" fmla="*/ 0 w 207"/>
                <a:gd name="T15" fmla="*/ 0 h 129"/>
                <a:gd name="T16" fmla="*/ 0 w 207"/>
                <a:gd name="T17" fmla="*/ 0 h 129"/>
                <a:gd name="T18" fmla="*/ 0 w 207"/>
                <a:gd name="T19" fmla="*/ 0 h 129"/>
                <a:gd name="T20" fmla="*/ 0 w 207"/>
                <a:gd name="T21" fmla="*/ 0 h 129"/>
                <a:gd name="T22" fmla="*/ 0 w 207"/>
                <a:gd name="T23" fmla="*/ 0 h 129"/>
                <a:gd name="T24" fmla="*/ 0 w 207"/>
                <a:gd name="T25" fmla="*/ 0 h 129"/>
                <a:gd name="T26" fmla="*/ 0 w 207"/>
                <a:gd name="T27" fmla="*/ 0 h 129"/>
                <a:gd name="T28" fmla="*/ 0 w 207"/>
                <a:gd name="T29" fmla="*/ 0 h 129"/>
                <a:gd name="T30" fmla="*/ 0 w 207"/>
                <a:gd name="T31" fmla="*/ 0 h 129"/>
                <a:gd name="T32" fmla="*/ 0 w 207"/>
                <a:gd name="T33" fmla="*/ 0 h 129"/>
                <a:gd name="T34" fmla="*/ 0 w 207"/>
                <a:gd name="T35" fmla="*/ 0 h 129"/>
                <a:gd name="T36" fmla="*/ 0 w 207"/>
                <a:gd name="T37" fmla="*/ 0 h 129"/>
                <a:gd name="T38" fmla="*/ 0 w 207"/>
                <a:gd name="T39" fmla="*/ 0 h 129"/>
                <a:gd name="T40" fmla="*/ 0 w 207"/>
                <a:gd name="T41" fmla="*/ 0 h 129"/>
                <a:gd name="T42" fmla="*/ 0 w 207"/>
                <a:gd name="T43" fmla="*/ 0 h 129"/>
                <a:gd name="T44" fmla="*/ 0 w 207"/>
                <a:gd name="T45" fmla="*/ 0 h 129"/>
                <a:gd name="T46" fmla="*/ 0 w 207"/>
                <a:gd name="T47" fmla="*/ 0 h 129"/>
                <a:gd name="T48" fmla="*/ 0 w 207"/>
                <a:gd name="T49" fmla="*/ 0 h 129"/>
                <a:gd name="T50" fmla="*/ 0 w 207"/>
                <a:gd name="T51" fmla="*/ 0 h 129"/>
                <a:gd name="T52" fmla="*/ 0 w 207"/>
                <a:gd name="T53" fmla="*/ 0 h 129"/>
                <a:gd name="T54" fmla="*/ 0 w 207"/>
                <a:gd name="T55" fmla="*/ 0 h 129"/>
                <a:gd name="T56" fmla="*/ 0 w 207"/>
                <a:gd name="T57" fmla="*/ 0 h 129"/>
                <a:gd name="T58" fmla="*/ 0 w 207"/>
                <a:gd name="T59" fmla="*/ 0 h 129"/>
                <a:gd name="T60" fmla="*/ 0 w 207"/>
                <a:gd name="T61" fmla="*/ 0 h 129"/>
                <a:gd name="T62" fmla="*/ 0 w 207"/>
                <a:gd name="T63" fmla="*/ 0 h 129"/>
                <a:gd name="T64" fmla="*/ 0 w 207"/>
                <a:gd name="T65" fmla="*/ 0 h 129"/>
                <a:gd name="T66" fmla="*/ 0 w 207"/>
                <a:gd name="T67" fmla="*/ 0 h 129"/>
                <a:gd name="T68" fmla="*/ 0 w 207"/>
                <a:gd name="T69" fmla="*/ 0 h 129"/>
                <a:gd name="T70" fmla="*/ 0 w 207"/>
                <a:gd name="T71" fmla="*/ 0 h 129"/>
                <a:gd name="T72" fmla="*/ 0 w 207"/>
                <a:gd name="T73" fmla="*/ 0 h 129"/>
                <a:gd name="T74" fmla="*/ 0 w 207"/>
                <a:gd name="T75" fmla="*/ 0 h 129"/>
                <a:gd name="T76" fmla="*/ 0 w 207"/>
                <a:gd name="T77" fmla="*/ 0 h 129"/>
                <a:gd name="T78" fmla="*/ 0 w 207"/>
                <a:gd name="T79" fmla="*/ 0 h 129"/>
                <a:gd name="T80" fmla="*/ 0 w 207"/>
                <a:gd name="T81" fmla="*/ 0 h 129"/>
                <a:gd name="T82" fmla="*/ 0 w 207"/>
                <a:gd name="T83" fmla="*/ 0 h 129"/>
                <a:gd name="T84" fmla="*/ 0 w 207"/>
                <a:gd name="T85" fmla="*/ 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7"/>
                <a:gd name="T130" fmla="*/ 0 h 129"/>
                <a:gd name="T131" fmla="*/ 207 w 207"/>
                <a:gd name="T132" fmla="*/ 129 h 12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97" name="Freeform 784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229" y="1957"/>
              <a:ext cx="22" cy="53"/>
            </a:xfrm>
            <a:custGeom>
              <a:avLst/>
              <a:gdLst>
                <a:gd name="T0" fmla="*/ 0 w 72"/>
                <a:gd name="T1" fmla="*/ 0 h 154"/>
                <a:gd name="T2" fmla="*/ 0 w 72"/>
                <a:gd name="T3" fmla="*/ 0 h 154"/>
                <a:gd name="T4" fmla="*/ 0 w 72"/>
                <a:gd name="T5" fmla="*/ 0 h 154"/>
                <a:gd name="T6" fmla="*/ 0 w 72"/>
                <a:gd name="T7" fmla="*/ 0 h 154"/>
                <a:gd name="T8" fmla="*/ 0 w 72"/>
                <a:gd name="T9" fmla="*/ 0 h 154"/>
                <a:gd name="T10" fmla="*/ 0 w 72"/>
                <a:gd name="T11" fmla="*/ 0 h 154"/>
                <a:gd name="T12" fmla="*/ 0 w 72"/>
                <a:gd name="T13" fmla="*/ 0 h 154"/>
                <a:gd name="T14" fmla="*/ 0 w 72"/>
                <a:gd name="T15" fmla="*/ 0 h 154"/>
                <a:gd name="T16" fmla="*/ 0 w 72"/>
                <a:gd name="T17" fmla="*/ 0 h 154"/>
                <a:gd name="T18" fmla="*/ 0 w 72"/>
                <a:gd name="T19" fmla="*/ 0 h 154"/>
                <a:gd name="T20" fmla="*/ 0 w 72"/>
                <a:gd name="T21" fmla="*/ 0 h 154"/>
                <a:gd name="T22" fmla="*/ 0 w 72"/>
                <a:gd name="T23" fmla="*/ 0 h 154"/>
                <a:gd name="T24" fmla="*/ 0 w 72"/>
                <a:gd name="T25" fmla="*/ 0 h 154"/>
                <a:gd name="T26" fmla="*/ 0 w 72"/>
                <a:gd name="T27" fmla="*/ 0 h 154"/>
                <a:gd name="T28" fmla="*/ 0 w 72"/>
                <a:gd name="T29" fmla="*/ 0 h 154"/>
                <a:gd name="T30" fmla="*/ 0 w 72"/>
                <a:gd name="T31" fmla="*/ 0 h 154"/>
                <a:gd name="T32" fmla="*/ 0 w 72"/>
                <a:gd name="T33" fmla="*/ 0 h 154"/>
                <a:gd name="T34" fmla="*/ 0 w 72"/>
                <a:gd name="T35" fmla="*/ 0 h 154"/>
                <a:gd name="T36" fmla="*/ 0 w 72"/>
                <a:gd name="T37" fmla="*/ 0 h 154"/>
                <a:gd name="T38" fmla="*/ 0 w 72"/>
                <a:gd name="T39" fmla="*/ 0 h 154"/>
                <a:gd name="T40" fmla="*/ 0 w 72"/>
                <a:gd name="T41" fmla="*/ 0 h 154"/>
                <a:gd name="T42" fmla="*/ 0 w 72"/>
                <a:gd name="T43" fmla="*/ 0 h 154"/>
                <a:gd name="T44" fmla="*/ 0 w 72"/>
                <a:gd name="T45" fmla="*/ 0 h 154"/>
                <a:gd name="T46" fmla="*/ 0 w 72"/>
                <a:gd name="T47" fmla="*/ 0 h 154"/>
                <a:gd name="T48" fmla="*/ 0 w 72"/>
                <a:gd name="T49" fmla="*/ 0 h 154"/>
                <a:gd name="T50" fmla="*/ 0 w 72"/>
                <a:gd name="T51" fmla="*/ 0 h 154"/>
                <a:gd name="T52" fmla="*/ 0 w 72"/>
                <a:gd name="T53" fmla="*/ 0 h 154"/>
                <a:gd name="T54" fmla="*/ 0 w 72"/>
                <a:gd name="T55" fmla="*/ 0 h 154"/>
                <a:gd name="T56" fmla="*/ 0 w 72"/>
                <a:gd name="T57" fmla="*/ 0 h 154"/>
                <a:gd name="T58" fmla="*/ 0 w 72"/>
                <a:gd name="T59" fmla="*/ 0 h 154"/>
                <a:gd name="T60" fmla="*/ 0 w 72"/>
                <a:gd name="T61" fmla="*/ 0 h 154"/>
                <a:gd name="T62" fmla="*/ 0 w 72"/>
                <a:gd name="T63" fmla="*/ 0 h 154"/>
                <a:gd name="T64" fmla="*/ 0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2"/>
                <a:gd name="T100" fmla="*/ 0 h 154"/>
                <a:gd name="T101" fmla="*/ 72 w 72"/>
                <a:gd name="T102" fmla="*/ 154 h 15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98" name="Freeform 785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174" y="1957"/>
              <a:ext cx="64" cy="92"/>
            </a:xfrm>
            <a:custGeom>
              <a:avLst/>
              <a:gdLst>
                <a:gd name="T0" fmla="*/ 0 w 214"/>
                <a:gd name="T1" fmla="*/ 0 h 271"/>
                <a:gd name="T2" fmla="*/ 0 w 214"/>
                <a:gd name="T3" fmla="*/ 0 h 271"/>
                <a:gd name="T4" fmla="*/ 0 w 214"/>
                <a:gd name="T5" fmla="*/ 0 h 271"/>
                <a:gd name="T6" fmla="*/ 0 w 214"/>
                <a:gd name="T7" fmla="*/ 0 h 271"/>
                <a:gd name="T8" fmla="*/ 0 w 214"/>
                <a:gd name="T9" fmla="*/ 0 h 271"/>
                <a:gd name="T10" fmla="*/ 0 w 214"/>
                <a:gd name="T11" fmla="*/ 0 h 271"/>
                <a:gd name="T12" fmla="*/ 0 w 214"/>
                <a:gd name="T13" fmla="*/ 0 h 271"/>
                <a:gd name="T14" fmla="*/ 0 w 214"/>
                <a:gd name="T15" fmla="*/ 0 h 271"/>
                <a:gd name="T16" fmla="*/ 0 w 214"/>
                <a:gd name="T17" fmla="*/ 0 h 271"/>
                <a:gd name="T18" fmla="*/ 0 w 214"/>
                <a:gd name="T19" fmla="*/ 0 h 271"/>
                <a:gd name="T20" fmla="*/ 0 w 214"/>
                <a:gd name="T21" fmla="*/ 0 h 271"/>
                <a:gd name="T22" fmla="*/ 0 w 214"/>
                <a:gd name="T23" fmla="*/ 0 h 271"/>
                <a:gd name="T24" fmla="*/ 0 w 214"/>
                <a:gd name="T25" fmla="*/ 0 h 271"/>
                <a:gd name="T26" fmla="*/ 0 w 214"/>
                <a:gd name="T27" fmla="*/ 0 h 271"/>
                <a:gd name="T28" fmla="*/ 0 w 214"/>
                <a:gd name="T29" fmla="*/ 0 h 271"/>
                <a:gd name="T30" fmla="*/ 0 w 214"/>
                <a:gd name="T31" fmla="*/ 0 h 271"/>
                <a:gd name="T32" fmla="*/ 0 w 214"/>
                <a:gd name="T33" fmla="*/ 0 h 271"/>
                <a:gd name="T34" fmla="*/ 0 w 214"/>
                <a:gd name="T35" fmla="*/ 0 h 271"/>
                <a:gd name="T36" fmla="*/ 0 w 214"/>
                <a:gd name="T37" fmla="*/ 0 h 271"/>
                <a:gd name="T38" fmla="*/ 0 w 214"/>
                <a:gd name="T39" fmla="*/ 0 h 271"/>
                <a:gd name="T40" fmla="*/ 0 w 214"/>
                <a:gd name="T41" fmla="*/ 0 h 271"/>
                <a:gd name="T42" fmla="*/ 0 w 214"/>
                <a:gd name="T43" fmla="*/ 0 h 271"/>
                <a:gd name="T44" fmla="*/ 0 w 214"/>
                <a:gd name="T45" fmla="*/ 0 h 271"/>
                <a:gd name="T46" fmla="*/ 0 w 214"/>
                <a:gd name="T47" fmla="*/ 0 h 271"/>
                <a:gd name="T48" fmla="*/ 0 w 214"/>
                <a:gd name="T49" fmla="*/ 0 h 271"/>
                <a:gd name="T50" fmla="*/ 0 w 214"/>
                <a:gd name="T51" fmla="*/ 0 h 271"/>
                <a:gd name="T52" fmla="*/ 0 w 214"/>
                <a:gd name="T53" fmla="*/ 0 h 271"/>
                <a:gd name="T54" fmla="*/ 0 w 214"/>
                <a:gd name="T55" fmla="*/ 0 h 271"/>
                <a:gd name="T56" fmla="*/ 0 w 214"/>
                <a:gd name="T57" fmla="*/ 0 h 271"/>
                <a:gd name="T58" fmla="*/ 0 w 214"/>
                <a:gd name="T59" fmla="*/ 0 h 271"/>
                <a:gd name="T60" fmla="*/ 0 w 214"/>
                <a:gd name="T61" fmla="*/ 0 h 271"/>
                <a:gd name="T62" fmla="*/ 0 w 214"/>
                <a:gd name="T63" fmla="*/ 0 h 271"/>
                <a:gd name="T64" fmla="*/ 0 w 214"/>
                <a:gd name="T65" fmla="*/ 0 h 271"/>
                <a:gd name="T66" fmla="*/ 0 w 214"/>
                <a:gd name="T67" fmla="*/ 0 h 271"/>
                <a:gd name="T68" fmla="*/ 0 w 214"/>
                <a:gd name="T69" fmla="*/ 0 h 271"/>
                <a:gd name="T70" fmla="*/ 0 w 214"/>
                <a:gd name="T71" fmla="*/ 0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14"/>
                <a:gd name="T109" fmla="*/ 0 h 271"/>
                <a:gd name="T110" fmla="*/ 214 w 214"/>
                <a:gd name="T111" fmla="*/ 271 h 27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599" name="Freeform 786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207" y="2027"/>
              <a:ext cx="49" cy="36"/>
            </a:xfrm>
            <a:custGeom>
              <a:avLst/>
              <a:gdLst>
                <a:gd name="T0" fmla="*/ 0 w 153"/>
                <a:gd name="T1" fmla="*/ 0 h 80"/>
                <a:gd name="T2" fmla="*/ 0 w 153"/>
                <a:gd name="T3" fmla="*/ 0 h 80"/>
                <a:gd name="T4" fmla="*/ 0 w 153"/>
                <a:gd name="T5" fmla="*/ 0 h 80"/>
                <a:gd name="T6" fmla="*/ 0 w 153"/>
                <a:gd name="T7" fmla="*/ 0 h 80"/>
                <a:gd name="T8" fmla="*/ 0 w 153"/>
                <a:gd name="T9" fmla="*/ 0 h 80"/>
                <a:gd name="T10" fmla="*/ 0 w 153"/>
                <a:gd name="T11" fmla="*/ 0 h 80"/>
                <a:gd name="T12" fmla="*/ 0 w 153"/>
                <a:gd name="T13" fmla="*/ 0 h 80"/>
                <a:gd name="T14" fmla="*/ 0 w 153"/>
                <a:gd name="T15" fmla="*/ 0 h 80"/>
                <a:gd name="T16" fmla="*/ 0 w 153"/>
                <a:gd name="T17" fmla="*/ 0 h 80"/>
                <a:gd name="T18" fmla="*/ 0 w 153"/>
                <a:gd name="T19" fmla="*/ 0 h 80"/>
                <a:gd name="T20" fmla="*/ 0 w 153"/>
                <a:gd name="T21" fmla="*/ 0 h 80"/>
                <a:gd name="T22" fmla="*/ 0 w 153"/>
                <a:gd name="T23" fmla="*/ 0 h 80"/>
                <a:gd name="T24" fmla="*/ 0 w 153"/>
                <a:gd name="T25" fmla="*/ 0 h 80"/>
                <a:gd name="T26" fmla="*/ 0 w 153"/>
                <a:gd name="T27" fmla="*/ 0 h 80"/>
                <a:gd name="T28" fmla="*/ 0 w 153"/>
                <a:gd name="T29" fmla="*/ 0 h 80"/>
                <a:gd name="T30" fmla="*/ 0 w 153"/>
                <a:gd name="T31" fmla="*/ 0 h 80"/>
                <a:gd name="T32" fmla="*/ 0 w 153"/>
                <a:gd name="T33" fmla="*/ 0 h 80"/>
                <a:gd name="T34" fmla="*/ 0 w 153"/>
                <a:gd name="T35" fmla="*/ 0 h 80"/>
                <a:gd name="T36" fmla="*/ 0 w 153"/>
                <a:gd name="T37" fmla="*/ 0 h 80"/>
                <a:gd name="T38" fmla="*/ 0 w 153"/>
                <a:gd name="T39" fmla="*/ 0 h 80"/>
                <a:gd name="T40" fmla="*/ 0 w 153"/>
                <a:gd name="T41" fmla="*/ 0 h 80"/>
                <a:gd name="T42" fmla="*/ 0 w 153"/>
                <a:gd name="T43" fmla="*/ 0 h 80"/>
                <a:gd name="T44" fmla="*/ 0 w 153"/>
                <a:gd name="T45" fmla="*/ 0 h 80"/>
                <a:gd name="T46" fmla="*/ 0 w 153"/>
                <a:gd name="T47" fmla="*/ 0 h 80"/>
                <a:gd name="T48" fmla="*/ 0 w 153"/>
                <a:gd name="T49" fmla="*/ 0 h 80"/>
                <a:gd name="T50" fmla="*/ 0 w 153"/>
                <a:gd name="T51" fmla="*/ 0 h 80"/>
                <a:gd name="T52" fmla="*/ 0 w 153"/>
                <a:gd name="T53" fmla="*/ 0 h 80"/>
                <a:gd name="T54" fmla="*/ 0 w 153"/>
                <a:gd name="T55" fmla="*/ 0 h 80"/>
                <a:gd name="T56" fmla="*/ 0 w 153"/>
                <a:gd name="T57" fmla="*/ 0 h 80"/>
                <a:gd name="T58" fmla="*/ 0 w 153"/>
                <a:gd name="T59" fmla="*/ 0 h 80"/>
                <a:gd name="T60" fmla="*/ 0 w 153"/>
                <a:gd name="T61" fmla="*/ 0 h 80"/>
                <a:gd name="T62" fmla="*/ 0 w 153"/>
                <a:gd name="T63" fmla="*/ 0 h 80"/>
                <a:gd name="T64" fmla="*/ 0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3"/>
                <a:gd name="T100" fmla="*/ 0 h 80"/>
                <a:gd name="T101" fmla="*/ 153 w 153"/>
                <a:gd name="T102" fmla="*/ 80 h 8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00" name="Freeform 787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229" y="2003"/>
              <a:ext cx="97" cy="55"/>
            </a:xfrm>
            <a:custGeom>
              <a:avLst/>
              <a:gdLst>
                <a:gd name="T0" fmla="*/ 0 w 332"/>
                <a:gd name="T1" fmla="*/ 0 h 169"/>
                <a:gd name="T2" fmla="*/ 0 w 332"/>
                <a:gd name="T3" fmla="*/ 0 h 169"/>
                <a:gd name="T4" fmla="*/ 0 w 332"/>
                <a:gd name="T5" fmla="*/ 0 h 169"/>
                <a:gd name="T6" fmla="*/ 0 w 332"/>
                <a:gd name="T7" fmla="*/ 0 h 169"/>
                <a:gd name="T8" fmla="*/ 0 w 332"/>
                <a:gd name="T9" fmla="*/ 0 h 169"/>
                <a:gd name="T10" fmla="*/ 0 w 332"/>
                <a:gd name="T11" fmla="*/ 0 h 169"/>
                <a:gd name="T12" fmla="*/ 0 w 332"/>
                <a:gd name="T13" fmla="*/ 0 h 169"/>
                <a:gd name="T14" fmla="*/ 0 w 332"/>
                <a:gd name="T15" fmla="*/ 0 h 169"/>
                <a:gd name="T16" fmla="*/ 0 w 332"/>
                <a:gd name="T17" fmla="*/ 0 h 169"/>
                <a:gd name="T18" fmla="*/ 0 w 332"/>
                <a:gd name="T19" fmla="*/ 0 h 169"/>
                <a:gd name="T20" fmla="*/ 0 w 332"/>
                <a:gd name="T21" fmla="*/ 0 h 169"/>
                <a:gd name="T22" fmla="*/ 0 w 332"/>
                <a:gd name="T23" fmla="*/ 0 h 169"/>
                <a:gd name="T24" fmla="*/ 0 w 332"/>
                <a:gd name="T25" fmla="*/ 0 h 169"/>
                <a:gd name="T26" fmla="*/ 0 w 332"/>
                <a:gd name="T27" fmla="*/ 0 h 169"/>
                <a:gd name="T28" fmla="*/ 0 w 332"/>
                <a:gd name="T29" fmla="*/ 0 h 169"/>
                <a:gd name="T30" fmla="*/ 0 w 332"/>
                <a:gd name="T31" fmla="*/ 0 h 169"/>
                <a:gd name="T32" fmla="*/ 0 w 332"/>
                <a:gd name="T33" fmla="*/ 0 h 169"/>
                <a:gd name="T34" fmla="*/ 0 w 332"/>
                <a:gd name="T35" fmla="*/ 0 h 169"/>
                <a:gd name="T36" fmla="*/ 0 w 332"/>
                <a:gd name="T37" fmla="*/ 0 h 169"/>
                <a:gd name="T38" fmla="*/ 0 w 332"/>
                <a:gd name="T39" fmla="*/ 0 h 169"/>
                <a:gd name="T40" fmla="*/ 0 w 332"/>
                <a:gd name="T41" fmla="*/ 0 h 169"/>
                <a:gd name="T42" fmla="*/ 0 w 332"/>
                <a:gd name="T43" fmla="*/ 0 h 169"/>
                <a:gd name="T44" fmla="*/ 0 w 332"/>
                <a:gd name="T45" fmla="*/ 0 h 169"/>
                <a:gd name="T46" fmla="*/ 0 w 332"/>
                <a:gd name="T47" fmla="*/ 0 h 169"/>
                <a:gd name="T48" fmla="*/ 0 w 332"/>
                <a:gd name="T49" fmla="*/ 0 h 169"/>
                <a:gd name="T50" fmla="*/ 0 w 332"/>
                <a:gd name="T51" fmla="*/ 0 h 169"/>
                <a:gd name="T52" fmla="*/ 0 w 332"/>
                <a:gd name="T53" fmla="*/ 0 h 169"/>
                <a:gd name="T54" fmla="*/ 0 w 332"/>
                <a:gd name="T55" fmla="*/ 0 h 169"/>
                <a:gd name="T56" fmla="*/ 0 w 332"/>
                <a:gd name="T57" fmla="*/ 0 h 169"/>
                <a:gd name="T58" fmla="*/ 0 w 332"/>
                <a:gd name="T59" fmla="*/ 0 h 169"/>
                <a:gd name="T60" fmla="*/ 0 w 332"/>
                <a:gd name="T61" fmla="*/ 0 h 169"/>
                <a:gd name="T62" fmla="*/ 0 w 332"/>
                <a:gd name="T63" fmla="*/ 0 h 169"/>
                <a:gd name="T64" fmla="*/ 0 w 332"/>
                <a:gd name="T65" fmla="*/ 0 h 169"/>
                <a:gd name="T66" fmla="*/ 0 w 332"/>
                <a:gd name="T67" fmla="*/ 0 h 169"/>
                <a:gd name="T68" fmla="*/ 0 w 332"/>
                <a:gd name="T69" fmla="*/ 0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2"/>
                <a:gd name="T106" fmla="*/ 0 h 169"/>
                <a:gd name="T107" fmla="*/ 332 w 332"/>
                <a:gd name="T108" fmla="*/ 169 h 16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01" name="Freeform 788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240" y="2022"/>
              <a:ext cx="86" cy="77"/>
            </a:xfrm>
            <a:custGeom>
              <a:avLst/>
              <a:gdLst>
                <a:gd name="T0" fmla="*/ 0 w 286"/>
                <a:gd name="T1" fmla="*/ 0 h 235"/>
                <a:gd name="T2" fmla="*/ 0 w 286"/>
                <a:gd name="T3" fmla="*/ 0 h 235"/>
                <a:gd name="T4" fmla="*/ 0 w 286"/>
                <a:gd name="T5" fmla="*/ 0 h 235"/>
                <a:gd name="T6" fmla="*/ 0 w 286"/>
                <a:gd name="T7" fmla="*/ 0 h 235"/>
                <a:gd name="T8" fmla="*/ 0 w 286"/>
                <a:gd name="T9" fmla="*/ 0 h 235"/>
                <a:gd name="T10" fmla="*/ 0 w 286"/>
                <a:gd name="T11" fmla="*/ 0 h 235"/>
                <a:gd name="T12" fmla="*/ 0 w 286"/>
                <a:gd name="T13" fmla="*/ 0 h 235"/>
                <a:gd name="T14" fmla="*/ 0 w 286"/>
                <a:gd name="T15" fmla="*/ 0 h 235"/>
                <a:gd name="T16" fmla="*/ 0 w 286"/>
                <a:gd name="T17" fmla="*/ 0 h 235"/>
                <a:gd name="T18" fmla="*/ 0 w 286"/>
                <a:gd name="T19" fmla="*/ 0 h 235"/>
                <a:gd name="T20" fmla="*/ 0 w 286"/>
                <a:gd name="T21" fmla="*/ 0 h 235"/>
                <a:gd name="T22" fmla="*/ 0 w 286"/>
                <a:gd name="T23" fmla="*/ 0 h 235"/>
                <a:gd name="T24" fmla="*/ 0 w 286"/>
                <a:gd name="T25" fmla="*/ 0 h 235"/>
                <a:gd name="T26" fmla="*/ 0 w 286"/>
                <a:gd name="T27" fmla="*/ 0 h 235"/>
                <a:gd name="T28" fmla="*/ 0 w 286"/>
                <a:gd name="T29" fmla="*/ 0 h 235"/>
                <a:gd name="T30" fmla="*/ 0 w 286"/>
                <a:gd name="T31" fmla="*/ 0 h 235"/>
                <a:gd name="T32" fmla="*/ 0 w 286"/>
                <a:gd name="T33" fmla="*/ 0 h 235"/>
                <a:gd name="T34" fmla="*/ 0 w 286"/>
                <a:gd name="T35" fmla="*/ 0 h 235"/>
                <a:gd name="T36" fmla="*/ 0 w 286"/>
                <a:gd name="T37" fmla="*/ 0 h 235"/>
                <a:gd name="T38" fmla="*/ 0 w 286"/>
                <a:gd name="T39" fmla="*/ 0 h 235"/>
                <a:gd name="T40" fmla="*/ 0 w 286"/>
                <a:gd name="T41" fmla="*/ 0 h 235"/>
                <a:gd name="T42" fmla="*/ 0 w 286"/>
                <a:gd name="T43" fmla="*/ 0 h 235"/>
                <a:gd name="T44" fmla="*/ 0 w 286"/>
                <a:gd name="T45" fmla="*/ 0 h 235"/>
                <a:gd name="T46" fmla="*/ 0 w 286"/>
                <a:gd name="T47" fmla="*/ 0 h 235"/>
                <a:gd name="T48" fmla="*/ 0 w 286"/>
                <a:gd name="T49" fmla="*/ 0 h 235"/>
                <a:gd name="T50" fmla="*/ 0 w 286"/>
                <a:gd name="T51" fmla="*/ 0 h 235"/>
                <a:gd name="T52" fmla="*/ 0 w 286"/>
                <a:gd name="T53" fmla="*/ 0 h 235"/>
                <a:gd name="T54" fmla="*/ 0 w 286"/>
                <a:gd name="T55" fmla="*/ 0 h 235"/>
                <a:gd name="T56" fmla="*/ 0 w 286"/>
                <a:gd name="T57" fmla="*/ 0 h 235"/>
                <a:gd name="T58" fmla="*/ 0 w 286"/>
                <a:gd name="T59" fmla="*/ 0 h 235"/>
                <a:gd name="T60" fmla="*/ 0 w 286"/>
                <a:gd name="T61" fmla="*/ 0 h 235"/>
                <a:gd name="T62" fmla="*/ 0 w 286"/>
                <a:gd name="T63" fmla="*/ 0 h 235"/>
                <a:gd name="T64" fmla="*/ 0 w 286"/>
                <a:gd name="T65" fmla="*/ 0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86"/>
                <a:gd name="T100" fmla="*/ 0 h 235"/>
                <a:gd name="T101" fmla="*/ 286 w 286"/>
                <a:gd name="T102" fmla="*/ 235 h 2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02" name="Freeform 789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275" y="2093"/>
              <a:ext cx="58" cy="63"/>
            </a:xfrm>
            <a:custGeom>
              <a:avLst/>
              <a:gdLst>
                <a:gd name="T0" fmla="*/ 0 w 205"/>
                <a:gd name="T1" fmla="*/ 0 h 191"/>
                <a:gd name="T2" fmla="*/ 0 w 205"/>
                <a:gd name="T3" fmla="*/ 0 h 191"/>
                <a:gd name="T4" fmla="*/ 0 w 205"/>
                <a:gd name="T5" fmla="*/ 0 h 191"/>
                <a:gd name="T6" fmla="*/ 0 w 205"/>
                <a:gd name="T7" fmla="*/ 0 h 191"/>
                <a:gd name="T8" fmla="*/ 0 w 205"/>
                <a:gd name="T9" fmla="*/ 0 h 191"/>
                <a:gd name="T10" fmla="*/ 0 w 205"/>
                <a:gd name="T11" fmla="*/ 0 h 191"/>
                <a:gd name="T12" fmla="*/ 0 w 205"/>
                <a:gd name="T13" fmla="*/ 0 h 191"/>
                <a:gd name="T14" fmla="*/ 0 w 205"/>
                <a:gd name="T15" fmla="*/ 0 h 191"/>
                <a:gd name="T16" fmla="*/ 0 w 205"/>
                <a:gd name="T17" fmla="*/ 0 h 191"/>
                <a:gd name="T18" fmla="*/ 0 w 205"/>
                <a:gd name="T19" fmla="*/ 0 h 191"/>
                <a:gd name="T20" fmla="*/ 0 w 205"/>
                <a:gd name="T21" fmla="*/ 0 h 191"/>
                <a:gd name="T22" fmla="*/ 0 w 205"/>
                <a:gd name="T23" fmla="*/ 0 h 191"/>
                <a:gd name="T24" fmla="*/ 0 w 205"/>
                <a:gd name="T25" fmla="*/ 0 h 191"/>
                <a:gd name="T26" fmla="*/ 0 w 205"/>
                <a:gd name="T27" fmla="*/ 0 h 191"/>
                <a:gd name="T28" fmla="*/ 0 w 205"/>
                <a:gd name="T29" fmla="*/ 0 h 191"/>
                <a:gd name="T30" fmla="*/ 0 w 205"/>
                <a:gd name="T31" fmla="*/ 0 h 191"/>
                <a:gd name="T32" fmla="*/ 0 w 205"/>
                <a:gd name="T33" fmla="*/ 0 h 191"/>
                <a:gd name="T34" fmla="*/ 0 w 205"/>
                <a:gd name="T35" fmla="*/ 0 h 191"/>
                <a:gd name="T36" fmla="*/ 0 w 205"/>
                <a:gd name="T37" fmla="*/ 0 h 191"/>
                <a:gd name="T38" fmla="*/ 0 w 205"/>
                <a:gd name="T39" fmla="*/ 0 h 191"/>
                <a:gd name="T40" fmla="*/ 0 w 205"/>
                <a:gd name="T41" fmla="*/ 0 h 191"/>
                <a:gd name="T42" fmla="*/ 0 w 205"/>
                <a:gd name="T43" fmla="*/ 0 h 191"/>
                <a:gd name="T44" fmla="*/ 0 w 205"/>
                <a:gd name="T45" fmla="*/ 0 h 191"/>
                <a:gd name="T46" fmla="*/ 0 w 205"/>
                <a:gd name="T47" fmla="*/ 0 h 191"/>
                <a:gd name="T48" fmla="*/ 0 w 205"/>
                <a:gd name="T49" fmla="*/ 0 h 191"/>
                <a:gd name="T50" fmla="*/ 0 w 205"/>
                <a:gd name="T51" fmla="*/ 0 h 191"/>
                <a:gd name="T52" fmla="*/ 0 w 205"/>
                <a:gd name="T53" fmla="*/ 0 h 191"/>
                <a:gd name="T54" fmla="*/ 0 w 205"/>
                <a:gd name="T55" fmla="*/ 0 h 191"/>
                <a:gd name="T56" fmla="*/ 0 w 205"/>
                <a:gd name="T57" fmla="*/ 0 h 191"/>
                <a:gd name="T58" fmla="*/ 0 w 205"/>
                <a:gd name="T59" fmla="*/ 0 h 191"/>
                <a:gd name="T60" fmla="*/ 0 w 205"/>
                <a:gd name="T61" fmla="*/ 0 h 191"/>
                <a:gd name="T62" fmla="*/ 0 w 205"/>
                <a:gd name="T63" fmla="*/ 0 h 191"/>
                <a:gd name="T64" fmla="*/ 0 w 205"/>
                <a:gd name="T65" fmla="*/ 0 h 191"/>
                <a:gd name="T66" fmla="*/ 0 w 205"/>
                <a:gd name="T67" fmla="*/ 0 h 191"/>
                <a:gd name="T68" fmla="*/ 0 w 205"/>
                <a:gd name="T69" fmla="*/ 0 h 191"/>
                <a:gd name="T70" fmla="*/ 0 w 205"/>
                <a:gd name="T71" fmla="*/ 0 h 191"/>
                <a:gd name="T72" fmla="*/ 0 w 205"/>
                <a:gd name="T73" fmla="*/ 0 h 191"/>
                <a:gd name="T74" fmla="*/ 0 w 205"/>
                <a:gd name="T75" fmla="*/ 0 h 191"/>
                <a:gd name="T76" fmla="*/ 0 w 205"/>
                <a:gd name="T77" fmla="*/ 0 h 191"/>
                <a:gd name="T78" fmla="*/ 0 w 205"/>
                <a:gd name="T79" fmla="*/ 0 h 191"/>
                <a:gd name="T80" fmla="*/ 0 w 205"/>
                <a:gd name="T81" fmla="*/ 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5"/>
                <a:gd name="T124" fmla="*/ 0 h 191"/>
                <a:gd name="T125" fmla="*/ 205 w 205"/>
                <a:gd name="T126" fmla="*/ 191 h 19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03" name="Freeform 790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330" y="2127"/>
              <a:ext cx="98" cy="50"/>
            </a:xfrm>
            <a:custGeom>
              <a:avLst/>
              <a:gdLst>
                <a:gd name="T0" fmla="*/ 0 w 329"/>
                <a:gd name="T1" fmla="*/ 0 h 154"/>
                <a:gd name="T2" fmla="*/ 0 w 329"/>
                <a:gd name="T3" fmla="*/ 0 h 154"/>
                <a:gd name="T4" fmla="*/ 0 w 329"/>
                <a:gd name="T5" fmla="*/ 0 h 154"/>
                <a:gd name="T6" fmla="*/ 0 w 329"/>
                <a:gd name="T7" fmla="*/ 0 h 154"/>
                <a:gd name="T8" fmla="*/ 0 w 329"/>
                <a:gd name="T9" fmla="*/ 0 h 154"/>
                <a:gd name="T10" fmla="*/ 0 w 329"/>
                <a:gd name="T11" fmla="*/ 0 h 154"/>
                <a:gd name="T12" fmla="*/ 0 w 329"/>
                <a:gd name="T13" fmla="*/ 0 h 154"/>
                <a:gd name="T14" fmla="*/ 0 w 329"/>
                <a:gd name="T15" fmla="*/ 0 h 154"/>
                <a:gd name="T16" fmla="*/ 0 w 329"/>
                <a:gd name="T17" fmla="*/ 0 h 154"/>
                <a:gd name="T18" fmla="*/ 0 w 329"/>
                <a:gd name="T19" fmla="*/ 0 h 154"/>
                <a:gd name="T20" fmla="*/ 0 w 329"/>
                <a:gd name="T21" fmla="*/ 0 h 154"/>
                <a:gd name="T22" fmla="*/ 0 w 329"/>
                <a:gd name="T23" fmla="*/ 0 h 154"/>
                <a:gd name="T24" fmla="*/ 0 w 329"/>
                <a:gd name="T25" fmla="*/ 0 h 154"/>
                <a:gd name="T26" fmla="*/ 0 w 329"/>
                <a:gd name="T27" fmla="*/ 0 h 154"/>
                <a:gd name="T28" fmla="*/ 0 w 329"/>
                <a:gd name="T29" fmla="*/ 0 h 154"/>
                <a:gd name="T30" fmla="*/ 0 w 329"/>
                <a:gd name="T31" fmla="*/ 0 h 154"/>
                <a:gd name="T32" fmla="*/ 0 w 329"/>
                <a:gd name="T33" fmla="*/ 0 h 154"/>
                <a:gd name="T34" fmla="*/ 0 w 329"/>
                <a:gd name="T35" fmla="*/ 0 h 154"/>
                <a:gd name="T36" fmla="*/ 0 w 329"/>
                <a:gd name="T37" fmla="*/ 0 h 154"/>
                <a:gd name="T38" fmla="*/ 0 w 329"/>
                <a:gd name="T39" fmla="*/ 0 h 154"/>
                <a:gd name="T40" fmla="*/ 0 w 329"/>
                <a:gd name="T41" fmla="*/ 0 h 154"/>
                <a:gd name="T42" fmla="*/ 0 w 329"/>
                <a:gd name="T43" fmla="*/ 0 h 154"/>
                <a:gd name="T44" fmla="*/ 0 w 329"/>
                <a:gd name="T45" fmla="*/ 0 h 154"/>
                <a:gd name="T46" fmla="*/ 0 w 329"/>
                <a:gd name="T47" fmla="*/ 0 h 154"/>
                <a:gd name="T48" fmla="*/ 0 w 329"/>
                <a:gd name="T49" fmla="*/ 0 h 154"/>
                <a:gd name="T50" fmla="*/ 0 w 329"/>
                <a:gd name="T51" fmla="*/ 0 h 154"/>
                <a:gd name="T52" fmla="*/ 0 w 329"/>
                <a:gd name="T53" fmla="*/ 0 h 154"/>
                <a:gd name="T54" fmla="*/ 0 w 329"/>
                <a:gd name="T55" fmla="*/ 0 h 154"/>
                <a:gd name="T56" fmla="*/ 0 w 329"/>
                <a:gd name="T57" fmla="*/ 0 h 154"/>
                <a:gd name="T58" fmla="*/ 0 w 329"/>
                <a:gd name="T59" fmla="*/ 0 h 154"/>
                <a:gd name="T60" fmla="*/ 0 w 329"/>
                <a:gd name="T61" fmla="*/ 0 h 154"/>
                <a:gd name="T62" fmla="*/ 0 w 329"/>
                <a:gd name="T63" fmla="*/ 0 h 154"/>
                <a:gd name="T64" fmla="*/ 0 w 329"/>
                <a:gd name="T65" fmla="*/ 0 h 154"/>
                <a:gd name="T66" fmla="*/ 0 w 329"/>
                <a:gd name="T67" fmla="*/ 0 h 154"/>
                <a:gd name="T68" fmla="*/ 0 w 329"/>
                <a:gd name="T69" fmla="*/ 0 h 154"/>
                <a:gd name="T70" fmla="*/ 0 w 329"/>
                <a:gd name="T71" fmla="*/ 0 h 154"/>
                <a:gd name="T72" fmla="*/ 0 w 329"/>
                <a:gd name="T73" fmla="*/ 0 h 154"/>
                <a:gd name="T74" fmla="*/ 0 w 329"/>
                <a:gd name="T75" fmla="*/ 0 h 154"/>
                <a:gd name="T76" fmla="*/ 0 w 329"/>
                <a:gd name="T77" fmla="*/ 0 h 154"/>
                <a:gd name="T78" fmla="*/ 0 w 329"/>
                <a:gd name="T79" fmla="*/ 0 h 154"/>
                <a:gd name="T80" fmla="*/ 0 w 329"/>
                <a:gd name="T81" fmla="*/ 0 h 154"/>
                <a:gd name="T82" fmla="*/ 0 w 329"/>
                <a:gd name="T83" fmla="*/ 0 h 154"/>
                <a:gd name="T84" fmla="*/ 0 w 329"/>
                <a:gd name="T85" fmla="*/ 0 h 154"/>
                <a:gd name="T86" fmla="*/ 0 w 329"/>
                <a:gd name="T87" fmla="*/ 0 h 154"/>
                <a:gd name="T88" fmla="*/ 0 w 329"/>
                <a:gd name="T89" fmla="*/ 0 h 154"/>
                <a:gd name="T90" fmla="*/ 0 w 329"/>
                <a:gd name="T91" fmla="*/ 0 h 154"/>
                <a:gd name="T92" fmla="*/ 0 w 329"/>
                <a:gd name="T93" fmla="*/ 0 h 154"/>
                <a:gd name="T94" fmla="*/ 0 w 329"/>
                <a:gd name="T95" fmla="*/ 0 h 154"/>
                <a:gd name="T96" fmla="*/ 0 w 329"/>
                <a:gd name="T97" fmla="*/ 0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29"/>
                <a:gd name="T148" fmla="*/ 0 h 154"/>
                <a:gd name="T149" fmla="*/ 329 w 329"/>
                <a:gd name="T150" fmla="*/ 154 h 15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04" name="Freeform 791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1795" y="2917"/>
              <a:ext cx="91" cy="98"/>
            </a:xfrm>
            <a:custGeom>
              <a:avLst/>
              <a:gdLst>
                <a:gd name="T0" fmla="*/ 0 w 306"/>
                <a:gd name="T1" fmla="*/ 0 h 293"/>
                <a:gd name="T2" fmla="*/ 0 w 306"/>
                <a:gd name="T3" fmla="*/ 0 h 293"/>
                <a:gd name="T4" fmla="*/ 0 w 306"/>
                <a:gd name="T5" fmla="*/ 0 h 293"/>
                <a:gd name="T6" fmla="*/ 0 w 306"/>
                <a:gd name="T7" fmla="*/ 0 h 293"/>
                <a:gd name="T8" fmla="*/ 0 w 306"/>
                <a:gd name="T9" fmla="*/ 0 h 293"/>
                <a:gd name="T10" fmla="*/ 0 w 306"/>
                <a:gd name="T11" fmla="*/ 0 h 293"/>
                <a:gd name="T12" fmla="*/ 0 w 306"/>
                <a:gd name="T13" fmla="*/ 0 h 293"/>
                <a:gd name="T14" fmla="*/ 0 w 306"/>
                <a:gd name="T15" fmla="*/ 0 h 293"/>
                <a:gd name="T16" fmla="*/ 0 w 306"/>
                <a:gd name="T17" fmla="*/ 0 h 293"/>
                <a:gd name="T18" fmla="*/ 0 w 306"/>
                <a:gd name="T19" fmla="*/ 0 h 293"/>
                <a:gd name="T20" fmla="*/ 0 w 306"/>
                <a:gd name="T21" fmla="*/ 0 h 293"/>
                <a:gd name="T22" fmla="*/ 0 w 306"/>
                <a:gd name="T23" fmla="*/ 0 h 293"/>
                <a:gd name="T24" fmla="*/ 0 w 306"/>
                <a:gd name="T25" fmla="*/ 0 h 293"/>
                <a:gd name="T26" fmla="*/ 0 w 306"/>
                <a:gd name="T27" fmla="*/ 0 h 293"/>
                <a:gd name="T28" fmla="*/ 0 w 306"/>
                <a:gd name="T29" fmla="*/ 0 h 293"/>
                <a:gd name="T30" fmla="*/ 0 w 306"/>
                <a:gd name="T31" fmla="*/ 0 h 293"/>
                <a:gd name="T32" fmla="*/ 0 w 306"/>
                <a:gd name="T33" fmla="*/ 0 h 293"/>
                <a:gd name="T34" fmla="*/ 0 w 306"/>
                <a:gd name="T35" fmla="*/ 0 h 293"/>
                <a:gd name="T36" fmla="*/ 0 w 306"/>
                <a:gd name="T37" fmla="*/ 0 h 293"/>
                <a:gd name="T38" fmla="*/ 0 w 306"/>
                <a:gd name="T39" fmla="*/ 0 h 293"/>
                <a:gd name="T40" fmla="*/ 0 w 306"/>
                <a:gd name="T41" fmla="*/ 0 h 293"/>
                <a:gd name="T42" fmla="*/ 0 w 306"/>
                <a:gd name="T43" fmla="*/ 0 h 293"/>
                <a:gd name="T44" fmla="*/ 0 w 306"/>
                <a:gd name="T45" fmla="*/ 0 h 293"/>
                <a:gd name="T46" fmla="*/ 0 w 306"/>
                <a:gd name="T47" fmla="*/ 0 h 293"/>
                <a:gd name="T48" fmla="*/ 0 w 306"/>
                <a:gd name="T49" fmla="*/ 0 h 293"/>
                <a:gd name="T50" fmla="*/ 0 w 306"/>
                <a:gd name="T51" fmla="*/ 0 h 293"/>
                <a:gd name="T52" fmla="*/ 0 w 306"/>
                <a:gd name="T53" fmla="*/ 0 h 293"/>
                <a:gd name="T54" fmla="*/ 0 w 306"/>
                <a:gd name="T55" fmla="*/ 0 h 293"/>
                <a:gd name="T56" fmla="*/ 0 w 306"/>
                <a:gd name="T57" fmla="*/ 0 h 293"/>
                <a:gd name="T58" fmla="*/ 0 w 306"/>
                <a:gd name="T59" fmla="*/ 0 h 293"/>
                <a:gd name="T60" fmla="*/ 0 w 306"/>
                <a:gd name="T61" fmla="*/ 0 h 293"/>
                <a:gd name="T62" fmla="*/ 0 w 306"/>
                <a:gd name="T63" fmla="*/ 0 h 293"/>
                <a:gd name="T64" fmla="*/ 0 w 306"/>
                <a:gd name="T65" fmla="*/ 0 h 293"/>
                <a:gd name="T66" fmla="*/ 0 w 306"/>
                <a:gd name="T67" fmla="*/ 0 h 293"/>
                <a:gd name="T68" fmla="*/ 0 w 306"/>
                <a:gd name="T69" fmla="*/ 0 h 293"/>
                <a:gd name="T70" fmla="*/ 0 w 306"/>
                <a:gd name="T71" fmla="*/ 0 h 293"/>
                <a:gd name="T72" fmla="*/ 0 w 306"/>
                <a:gd name="T73" fmla="*/ 0 h 293"/>
                <a:gd name="T74" fmla="*/ 0 w 306"/>
                <a:gd name="T75" fmla="*/ 0 h 293"/>
                <a:gd name="T76" fmla="*/ 0 w 306"/>
                <a:gd name="T77" fmla="*/ 0 h 293"/>
                <a:gd name="T78" fmla="*/ 0 w 306"/>
                <a:gd name="T79" fmla="*/ 0 h 293"/>
                <a:gd name="T80" fmla="*/ 0 w 306"/>
                <a:gd name="T81" fmla="*/ 0 h 293"/>
                <a:gd name="T82" fmla="*/ 0 w 306"/>
                <a:gd name="T83" fmla="*/ 0 h 293"/>
                <a:gd name="T84" fmla="*/ 0 w 306"/>
                <a:gd name="T85" fmla="*/ 0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06"/>
                <a:gd name="T130" fmla="*/ 0 h 293"/>
                <a:gd name="T131" fmla="*/ 306 w 306"/>
                <a:gd name="T132" fmla="*/ 293 h 29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05" name="Freeform 792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2850" y="786"/>
              <a:ext cx="162" cy="58"/>
            </a:xfrm>
            <a:custGeom>
              <a:avLst/>
              <a:gdLst>
                <a:gd name="T0" fmla="*/ 0 w 546"/>
                <a:gd name="T1" fmla="*/ 0 h 173"/>
                <a:gd name="T2" fmla="*/ 0 w 546"/>
                <a:gd name="T3" fmla="*/ 0 h 173"/>
                <a:gd name="T4" fmla="*/ 0 w 546"/>
                <a:gd name="T5" fmla="*/ 0 h 173"/>
                <a:gd name="T6" fmla="*/ 0 w 546"/>
                <a:gd name="T7" fmla="*/ 0 h 173"/>
                <a:gd name="T8" fmla="*/ 0 w 546"/>
                <a:gd name="T9" fmla="*/ 0 h 173"/>
                <a:gd name="T10" fmla="*/ 0 w 546"/>
                <a:gd name="T11" fmla="*/ 0 h 173"/>
                <a:gd name="T12" fmla="*/ 0 w 546"/>
                <a:gd name="T13" fmla="*/ 0 h 173"/>
                <a:gd name="T14" fmla="*/ 0 w 546"/>
                <a:gd name="T15" fmla="*/ 0 h 173"/>
                <a:gd name="T16" fmla="*/ 0 w 546"/>
                <a:gd name="T17" fmla="*/ 0 h 173"/>
                <a:gd name="T18" fmla="*/ 0 w 546"/>
                <a:gd name="T19" fmla="*/ 0 h 173"/>
                <a:gd name="T20" fmla="*/ 0 w 546"/>
                <a:gd name="T21" fmla="*/ 0 h 173"/>
                <a:gd name="T22" fmla="*/ 0 w 546"/>
                <a:gd name="T23" fmla="*/ 0 h 173"/>
                <a:gd name="T24" fmla="*/ 0 w 546"/>
                <a:gd name="T25" fmla="*/ 0 h 173"/>
                <a:gd name="T26" fmla="*/ 0 w 546"/>
                <a:gd name="T27" fmla="*/ 0 h 173"/>
                <a:gd name="T28" fmla="*/ 0 w 546"/>
                <a:gd name="T29" fmla="*/ 0 h 173"/>
                <a:gd name="T30" fmla="*/ 0 w 546"/>
                <a:gd name="T31" fmla="*/ 0 h 173"/>
                <a:gd name="T32" fmla="*/ 0 w 546"/>
                <a:gd name="T33" fmla="*/ 0 h 173"/>
                <a:gd name="T34" fmla="*/ 0 w 546"/>
                <a:gd name="T35" fmla="*/ 0 h 173"/>
                <a:gd name="T36" fmla="*/ 0 w 546"/>
                <a:gd name="T37" fmla="*/ 0 h 173"/>
                <a:gd name="T38" fmla="*/ 0 w 546"/>
                <a:gd name="T39" fmla="*/ 0 h 173"/>
                <a:gd name="T40" fmla="*/ 0 w 546"/>
                <a:gd name="T41" fmla="*/ 0 h 173"/>
                <a:gd name="T42" fmla="*/ 0 w 546"/>
                <a:gd name="T43" fmla="*/ 0 h 173"/>
                <a:gd name="T44" fmla="*/ 0 w 546"/>
                <a:gd name="T45" fmla="*/ 0 h 173"/>
                <a:gd name="T46" fmla="*/ 0 w 546"/>
                <a:gd name="T47" fmla="*/ 0 h 173"/>
                <a:gd name="T48" fmla="*/ 0 w 546"/>
                <a:gd name="T49" fmla="*/ 0 h 173"/>
                <a:gd name="T50" fmla="*/ 0 w 546"/>
                <a:gd name="T51" fmla="*/ 0 h 173"/>
                <a:gd name="T52" fmla="*/ 0 w 546"/>
                <a:gd name="T53" fmla="*/ 0 h 173"/>
                <a:gd name="T54" fmla="*/ 0 w 546"/>
                <a:gd name="T55" fmla="*/ 0 h 173"/>
                <a:gd name="T56" fmla="*/ 0 w 546"/>
                <a:gd name="T57" fmla="*/ 0 h 173"/>
                <a:gd name="T58" fmla="*/ 0 w 546"/>
                <a:gd name="T59" fmla="*/ 0 h 173"/>
                <a:gd name="T60" fmla="*/ 0 w 546"/>
                <a:gd name="T61" fmla="*/ 0 h 173"/>
                <a:gd name="T62" fmla="*/ 0 w 546"/>
                <a:gd name="T63" fmla="*/ 0 h 173"/>
                <a:gd name="T64" fmla="*/ 0 w 546"/>
                <a:gd name="T65" fmla="*/ 0 h 173"/>
                <a:gd name="T66" fmla="*/ 0 w 546"/>
                <a:gd name="T67" fmla="*/ 0 h 173"/>
                <a:gd name="T68" fmla="*/ 0 w 546"/>
                <a:gd name="T69" fmla="*/ 0 h 173"/>
                <a:gd name="T70" fmla="*/ 0 w 546"/>
                <a:gd name="T71" fmla="*/ 0 h 173"/>
                <a:gd name="T72" fmla="*/ 0 w 546"/>
                <a:gd name="T73" fmla="*/ 0 h 173"/>
                <a:gd name="T74" fmla="*/ 0 w 546"/>
                <a:gd name="T75" fmla="*/ 0 h 173"/>
                <a:gd name="T76" fmla="*/ 0 w 546"/>
                <a:gd name="T77" fmla="*/ 0 h 173"/>
                <a:gd name="T78" fmla="*/ 0 w 546"/>
                <a:gd name="T79" fmla="*/ 0 h 173"/>
                <a:gd name="T80" fmla="*/ 0 w 546"/>
                <a:gd name="T81" fmla="*/ 0 h 173"/>
                <a:gd name="T82" fmla="*/ 0 w 546"/>
                <a:gd name="T83" fmla="*/ 0 h 173"/>
                <a:gd name="T84" fmla="*/ 0 w 546"/>
                <a:gd name="T85" fmla="*/ 0 h 173"/>
                <a:gd name="T86" fmla="*/ 0 w 546"/>
                <a:gd name="T87" fmla="*/ 0 h 173"/>
                <a:gd name="T88" fmla="*/ 0 w 546"/>
                <a:gd name="T89" fmla="*/ 0 h 173"/>
                <a:gd name="T90" fmla="*/ 0 w 546"/>
                <a:gd name="T91" fmla="*/ 0 h 173"/>
                <a:gd name="T92" fmla="*/ 0 w 546"/>
                <a:gd name="T93" fmla="*/ 0 h 173"/>
                <a:gd name="T94" fmla="*/ 0 w 546"/>
                <a:gd name="T95" fmla="*/ 0 h 173"/>
                <a:gd name="T96" fmla="*/ 0 w 546"/>
                <a:gd name="T97" fmla="*/ 0 h 173"/>
                <a:gd name="T98" fmla="*/ 0 w 546"/>
                <a:gd name="T99" fmla="*/ 0 h 173"/>
                <a:gd name="T100" fmla="*/ 0 w 546"/>
                <a:gd name="T101" fmla="*/ 0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46"/>
                <a:gd name="T154" fmla="*/ 0 h 173"/>
                <a:gd name="T155" fmla="*/ 546 w 546"/>
                <a:gd name="T156" fmla="*/ 173 h 1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06" name="Freeform 793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2800" y="931"/>
              <a:ext cx="307" cy="228"/>
            </a:xfrm>
            <a:custGeom>
              <a:avLst/>
              <a:gdLst>
                <a:gd name="T0" fmla="*/ 0 w 1037"/>
                <a:gd name="T1" fmla="*/ 0 h 690"/>
                <a:gd name="T2" fmla="*/ 0 w 1037"/>
                <a:gd name="T3" fmla="*/ 0 h 690"/>
                <a:gd name="T4" fmla="*/ 0 w 1037"/>
                <a:gd name="T5" fmla="*/ 0 h 690"/>
                <a:gd name="T6" fmla="*/ 0 w 1037"/>
                <a:gd name="T7" fmla="*/ 0 h 690"/>
                <a:gd name="T8" fmla="*/ 0 w 1037"/>
                <a:gd name="T9" fmla="*/ 0 h 690"/>
                <a:gd name="T10" fmla="*/ 0 w 1037"/>
                <a:gd name="T11" fmla="*/ 0 h 690"/>
                <a:gd name="T12" fmla="*/ 0 w 1037"/>
                <a:gd name="T13" fmla="*/ 0 h 690"/>
                <a:gd name="T14" fmla="*/ 0 w 1037"/>
                <a:gd name="T15" fmla="*/ 0 h 690"/>
                <a:gd name="T16" fmla="*/ 0 w 1037"/>
                <a:gd name="T17" fmla="*/ 0 h 690"/>
                <a:gd name="T18" fmla="*/ 0 w 1037"/>
                <a:gd name="T19" fmla="*/ 0 h 690"/>
                <a:gd name="T20" fmla="*/ 0 w 1037"/>
                <a:gd name="T21" fmla="*/ 0 h 690"/>
                <a:gd name="T22" fmla="*/ 0 w 1037"/>
                <a:gd name="T23" fmla="*/ 0 h 690"/>
                <a:gd name="T24" fmla="*/ 0 w 1037"/>
                <a:gd name="T25" fmla="*/ 0 h 690"/>
                <a:gd name="T26" fmla="*/ 0 w 1037"/>
                <a:gd name="T27" fmla="*/ 0 h 690"/>
                <a:gd name="T28" fmla="*/ 0 w 1037"/>
                <a:gd name="T29" fmla="*/ 0 h 690"/>
                <a:gd name="T30" fmla="*/ 0 w 1037"/>
                <a:gd name="T31" fmla="*/ 0 h 690"/>
                <a:gd name="T32" fmla="*/ 0 w 1037"/>
                <a:gd name="T33" fmla="*/ 0 h 690"/>
                <a:gd name="T34" fmla="*/ 0 w 1037"/>
                <a:gd name="T35" fmla="*/ 0 h 690"/>
                <a:gd name="T36" fmla="*/ 0 w 1037"/>
                <a:gd name="T37" fmla="*/ 0 h 690"/>
                <a:gd name="T38" fmla="*/ 0 w 1037"/>
                <a:gd name="T39" fmla="*/ 0 h 690"/>
                <a:gd name="T40" fmla="*/ 0 w 1037"/>
                <a:gd name="T41" fmla="*/ 0 h 690"/>
                <a:gd name="T42" fmla="*/ 0 w 1037"/>
                <a:gd name="T43" fmla="*/ 0 h 690"/>
                <a:gd name="T44" fmla="*/ 0 w 1037"/>
                <a:gd name="T45" fmla="*/ 0 h 690"/>
                <a:gd name="T46" fmla="*/ 0 w 1037"/>
                <a:gd name="T47" fmla="*/ 0 h 690"/>
                <a:gd name="T48" fmla="*/ 0 w 1037"/>
                <a:gd name="T49" fmla="*/ 0 h 690"/>
                <a:gd name="T50" fmla="*/ 0 w 1037"/>
                <a:gd name="T51" fmla="*/ 0 h 690"/>
                <a:gd name="T52" fmla="*/ 0 w 1037"/>
                <a:gd name="T53" fmla="*/ 0 h 690"/>
                <a:gd name="T54" fmla="*/ 0 w 1037"/>
                <a:gd name="T55" fmla="*/ 0 h 690"/>
                <a:gd name="T56" fmla="*/ 0 w 1037"/>
                <a:gd name="T57" fmla="*/ 0 h 690"/>
                <a:gd name="T58" fmla="*/ 0 w 1037"/>
                <a:gd name="T59" fmla="*/ 0 h 690"/>
                <a:gd name="T60" fmla="*/ 0 w 1037"/>
                <a:gd name="T61" fmla="*/ 0 h 690"/>
                <a:gd name="T62" fmla="*/ 0 w 1037"/>
                <a:gd name="T63" fmla="*/ 0 h 690"/>
                <a:gd name="T64" fmla="*/ 0 w 1037"/>
                <a:gd name="T65" fmla="*/ 0 h 690"/>
                <a:gd name="T66" fmla="*/ 0 w 1037"/>
                <a:gd name="T67" fmla="*/ 0 h 690"/>
                <a:gd name="T68" fmla="*/ 0 w 1037"/>
                <a:gd name="T69" fmla="*/ 0 h 690"/>
                <a:gd name="T70" fmla="*/ 0 w 1037"/>
                <a:gd name="T71" fmla="*/ 0 h 690"/>
                <a:gd name="T72" fmla="*/ 0 w 1037"/>
                <a:gd name="T73" fmla="*/ 0 h 690"/>
                <a:gd name="T74" fmla="*/ 0 w 1037"/>
                <a:gd name="T75" fmla="*/ 0 h 690"/>
                <a:gd name="T76" fmla="*/ 0 w 1037"/>
                <a:gd name="T77" fmla="*/ 0 h 690"/>
                <a:gd name="T78" fmla="*/ 0 w 1037"/>
                <a:gd name="T79" fmla="*/ 0 h 690"/>
                <a:gd name="T80" fmla="*/ 0 w 1037"/>
                <a:gd name="T81" fmla="*/ 0 h 690"/>
                <a:gd name="T82" fmla="*/ 0 w 1037"/>
                <a:gd name="T83" fmla="*/ 0 h 690"/>
                <a:gd name="T84" fmla="*/ 0 w 1037"/>
                <a:gd name="T85" fmla="*/ 0 h 690"/>
                <a:gd name="T86" fmla="*/ 0 w 1037"/>
                <a:gd name="T87" fmla="*/ 0 h 690"/>
                <a:gd name="T88" fmla="*/ 0 w 1037"/>
                <a:gd name="T89" fmla="*/ 0 h 690"/>
                <a:gd name="T90" fmla="*/ 0 w 1037"/>
                <a:gd name="T91" fmla="*/ 0 h 690"/>
                <a:gd name="T92" fmla="*/ 0 w 1037"/>
                <a:gd name="T93" fmla="*/ 0 h 690"/>
                <a:gd name="T94" fmla="*/ 0 w 1037"/>
                <a:gd name="T95" fmla="*/ 0 h 690"/>
                <a:gd name="T96" fmla="*/ 0 w 1037"/>
                <a:gd name="T97" fmla="*/ 0 h 690"/>
                <a:gd name="T98" fmla="*/ 0 w 1037"/>
                <a:gd name="T99" fmla="*/ 0 h 690"/>
                <a:gd name="T100" fmla="*/ 0 w 1037"/>
                <a:gd name="T101" fmla="*/ 0 h 690"/>
                <a:gd name="T102" fmla="*/ 0 w 1037"/>
                <a:gd name="T103" fmla="*/ 0 h 690"/>
                <a:gd name="T104" fmla="*/ 0 w 1037"/>
                <a:gd name="T105" fmla="*/ 0 h 690"/>
                <a:gd name="T106" fmla="*/ 0 w 1037"/>
                <a:gd name="T107" fmla="*/ 0 h 690"/>
                <a:gd name="T108" fmla="*/ 0 w 1037"/>
                <a:gd name="T109" fmla="*/ 0 h 690"/>
                <a:gd name="T110" fmla="*/ 0 w 1037"/>
                <a:gd name="T111" fmla="*/ 0 h 690"/>
                <a:gd name="T112" fmla="*/ 0 w 1037"/>
                <a:gd name="T113" fmla="*/ 0 h 690"/>
                <a:gd name="T114" fmla="*/ 0 w 1037"/>
                <a:gd name="T115" fmla="*/ 0 h 690"/>
                <a:gd name="T116" fmla="*/ 0 w 1037"/>
                <a:gd name="T117" fmla="*/ 0 h 690"/>
                <a:gd name="T118" fmla="*/ 0 w 1037"/>
                <a:gd name="T119" fmla="*/ 0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037"/>
                <a:gd name="T181" fmla="*/ 0 h 690"/>
                <a:gd name="T182" fmla="*/ 1037 w 1037"/>
                <a:gd name="T183" fmla="*/ 690 h 69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07" name="Freeform 794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3032" y="1461"/>
              <a:ext cx="34" cy="57"/>
            </a:xfrm>
            <a:custGeom>
              <a:avLst/>
              <a:gdLst>
                <a:gd name="T0" fmla="*/ 0 w 120"/>
                <a:gd name="T1" fmla="*/ 0 h 173"/>
                <a:gd name="T2" fmla="*/ 0 w 120"/>
                <a:gd name="T3" fmla="*/ 0 h 173"/>
                <a:gd name="T4" fmla="*/ 0 w 120"/>
                <a:gd name="T5" fmla="*/ 0 h 173"/>
                <a:gd name="T6" fmla="*/ 0 w 120"/>
                <a:gd name="T7" fmla="*/ 0 h 173"/>
                <a:gd name="T8" fmla="*/ 0 w 120"/>
                <a:gd name="T9" fmla="*/ 0 h 173"/>
                <a:gd name="T10" fmla="*/ 0 w 120"/>
                <a:gd name="T11" fmla="*/ 0 h 173"/>
                <a:gd name="T12" fmla="*/ 0 w 120"/>
                <a:gd name="T13" fmla="*/ 0 h 173"/>
                <a:gd name="T14" fmla="*/ 0 w 120"/>
                <a:gd name="T15" fmla="*/ 0 h 173"/>
                <a:gd name="T16" fmla="*/ 0 w 120"/>
                <a:gd name="T17" fmla="*/ 0 h 173"/>
                <a:gd name="T18" fmla="*/ 0 w 120"/>
                <a:gd name="T19" fmla="*/ 0 h 173"/>
                <a:gd name="T20" fmla="*/ 0 w 120"/>
                <a:gd name="T21" fmla="*/ 0 h 173"/>
                <a:gd name="T22" fmla="*/ 0 w 120"/>
                <a:gd name="T23" fmla="*/ 0 h 173"/>
                <a:gd name="T24" fmla="*/ 0 w 120"/>
                <a:gd name="T25" fmla="*/ 0 h 173"/>
                <a:gd name="T26" fmla="*/ 0 w 120"/>
                <a:gd name="T27" fmla="*/ 0 h 173"/>
                <a:gd name="T28" fmla="*/ 0 w 120"/>
                <a:gd name="T29" fmla="*/ 0 h 173"/>
                <a:gd name="T30" fmla="*/ 0 w 120"/>
                <a:gd name="T31" fmla="*/ 0 h 173"/>
                <a:gd name="T32" fmla="*/ 0 w 120"/>
                <a:gd name="T33" fmla="*/ 0 h 173"/>
                <a:gd name="T34" fmla="*/ 0 w 120"/>
                <a:gd name="T35" fmla="*/ 0 h 173"/>
                <a:gd name="T36" fmla="*/ 0 w 120"/>
                <a:gd name="T37" fmla="*/ 0 h 173"/>
                <a:gd name="T38" fmla="*/ 0 w 120"/>
                <a:gd name="T39" fmla="*/ 0 h 173"/>
                <a:gd name="T40" fmla="*/ 0 w 120"/>
                <a:gd name="T41" fmla="*/ 0 h 173"/>
                <a:gd name="T42" fmla="*/ 0 w 120"/>
                <a:gd name="T43" fmla="*/ 0 h 173"/>
                <a:gd name="T44" fmla="*/ 0 w 120"/>
                <a:gd name="T45" fmla="*/ 0 h 173"/>
                <a:gd name="T46" fmla="*/ 0 w 120"/>
                <a:gd name="T47" fmla="*/ 0 h 173"/>
                <a:gd name="T48" fmla="*/ 0 w 120"/>
                <a:gd name="T49" fmla="*/ 0 h 173"/>
                <a:gd name="T50" fmla="*/ 0 w 120"/>
                <a:gd name="T51" fmla="*/ 0 h 173"/>
                <a:gd name="T52" fmla="*/ 0 w 120"/>
                <a:gd name="T53" fmla="*/ 0 h 173"/>
                <a:gd name="T54" fmla="*/ 0 w 120"/>
                <a:gd name="T55" fmla="*/ 0 h 173"/>
                <a:gd name="T56" fmla="*/ 0 w 120"/>
                <a:gd name="T57" fmla="*/ 0 h 173"/>
                <a:gd name="T58" fmla="*/ 0 w 120"/>
                <a:gd name="T59" fmla="*/ 0 h 173"/>
                <a:gd name="T60" fmla="*/ 0 w 120"/>
                <a:gd name="T61" fmla="*/ 0 h 173"/>
                <a:gd name="T62" fmla="*/ 0 w 120"/>
                <a:gd name="T63" fmla="*/ 0 h 173"/>
                <a:gd name="T64" fmla="*/ 0 w 120"/>
                <a:gd name="T65" fmla="*/ 0 h 173"/>
                <a:gd name="T66" fmla="*/ 0 w 120"/>
                <a:gd name="T67" fmla="*/ 0 h 173"/>
                <a:gd name="T68" fmla="*/ 0 w 120"/>
                <a:gd name="T69" fmla="*/ 0 h 173"/>
                <a:gd name="T70" fmla="*/ 0 w 120"/>
                <a:gd name="T71" fmla="*/ 0 h 173"/>
                <a:gd name="T72" fmla="*/ 0 w 120"/>
                <a:gd name="T73" fmla="*/ 0 h 173"/>
                <a:gd name="T74" fmla="*/ 0 w 120"/>
                <a:gd name="T75" fmla="*/ 0 h 173"/>
                <a:gd name="T76" fmla="*/ 0 w 120"/>
                <a:gd name="T77" fmla="*/ 0 h 173"/>
                <a:gd name="T78" fmla="*/ 0 w 120"/>
                <a:gd name="T79" fmla="*/ 0 h 173"/>
                <a:gd name="T80" fmla="*/ 0 w 120"/>
                <a:gd name="T81" fmla="*/ 0 h 173"/>
                <a:gd name="T82" fmla="*/ 0 w 120"/>
                <a:gd name="T83" fmla="*/ 0 h 173"/>
                <a:gd name="T84" fmla="*/ 0 w 120"/>
                <a:gd name="T85" fmla="*/ 0 h 173"/>
                <a:gd name="T86" fmla="*/ 0 w 120"/>
                <a:gd name="T87" fmla="*/ 0 h 173"/>
                <a:gd name="T88" fmla="*/ 0 w 120"/>
                <a:gd name="T89" fmla="*/ 0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0"/>
                <a:gd name="T136" fmla="*/ 0 h 173"/>
                <a:gd name="T137" fmla="*/ 120 w 120"/>
                <a:gd name="T138" fmla="*/ 173 h 17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08" name="Freeform 795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2833" y="1360"/>
              <a:ext cx="57" cy="37"/>
            </a:xfrm>
            <a:custGeom>
              <a:avLst/>
              <a:gdLst>
                <a:gd name="T0" fmla="*/ 0 w 200"/>
                <a:gd name="T1" fmla="*/ 0 h 98"/>
                <a:gd name="T2" fmla="*/ 0 w 200"/>
                <a:gd name="T3" fmla="*/ 0 h 98"/>
                <a:gd name="T4" fmla="*/ 0 w 200"/>
                <a:gd name="T5" fmla="*/ 0 h 98"/>
                <a:gd name="T6" fmla="*/ 0 w 200"/>
                <a:gd name="T7" fmla="*/ 0 h 98"/>
                <a:gd name="T8" fmla="*/ 0 w 200"/>
                <a:gd name="T9" fmla="*/ 0 h 98"/>
                <a:gd name="T10" fmla="*/ 0 w 200"/>
                <a:gd name="T11" fmla="*/ 0 h 98"/>
                <a:gd name="T12" fmla="*/ 0 w 200"/>
                <a:gd name="T13" fmla="*/ 0 h 98"/>
                <a:gd name="T14" fmla="*/ 0 w 200"/>
                <a:gd name="T15" fmla="*/ 0 h 98"/>
                <a:gd name="T16" fmla="*/ 0 w 200"/>
                <a:gd name="T17" fmla="*/ 0 h 98"/>
                <a:gd name="T18" fmla="*/ 0 w 200"/>
                <a:gd name="T19" fmla="*/ 0 h 98"/>
                <a:gd name="T20" fmla="*/ 0 w 200"/>
                <a:gd name="T21" fmla="*/ 0 h 98"/>
                <a:gd name="T22" fmla="*/ 0 w 200"/>
                <a:gd name="T23" fmla="*/ 0 h 98"/>
                <a:gd name="T24" fmla="*/ 0 w 200"/>
                <a:gd name="T25" fmla="*/ 0 h 98"/>
                <a:gd name="T26" fmla="*/ 0 w 200"/>
                <a:gd name="T27" fmla="*/ 0 h 98"/>
                <a:gd name="T28" fmla="*/ 0 w 200"/>
                <a:gd name="T29" fmla="*/ 0 h 98"/>
                <a:gd name="T30" fmla="*/ 0 w 200"/>
                <a:gd name="T31" fmla="*/ 0 h 98"/>
                <a:gd name="T32" fmla="*/ 0 w 200"/>
                <a:gd name="T33" fmla="*/ 0 h 98"/>
                <a:gd name="T34" fmla="*/ 0 w 200"/>
                <a:gd name="T35" fmla="*/ 0 h 98"/>
                <a:gd name="T36" fmla="*/ 0 w 200"/>
                <a:gd name="T37" fmla="*/ 0 h 98"/>
                <a:gd name="T38" fmla="*/ 0 w 200"/>
                <a:gd name="T39" fmla="*/ 0 h 98"/>
                <a:gd name="T40" fmla="*/ 0 w 200"/>
                <a:gd name="T41" fmla="*/ 0 h 98"/>
                <a:gd name="T42" fmla="*/ 0 w 200"/>
                <a:gd name="T43" fmla="*/ 0 h 98"/>
                <a:gd name="T44" fmla="*/ 0 w 200"/>
                <a:gd name="T45" fmla="*/ 0 h 98"/>
                <a:gd name="T46" fmla="*/ 0 w 200"/>
                <a:gd name="T47" fmla="*/ 0 h 98"/>
                <a:gd name="T48" fmla="*/ 0 w 200"/>
                <a:gd name="T49" fmla="*/ 0 h 98"/>
                <a:gd name="T50" fmla="*/ 0 w 200"/>
                <a:gd name="T51" fmla="*/ 0 h 98"/>
                <a:gd name="T52" fmla="*/ 0 w 200"/>
                <a:gd name="T53" fmla="*/ 0 h 98"/>
                <a:gd name="T54" fmla="*/ 0 w 200"/>
                <a:gd name="T55" fmla="*/ 0 h 98"/>
                <a:gd name="T56" fmla="*/ 0 w 200"/>
                <a:gd name="T57" fmla="*/ 0 h 98"/>
                <a:gd name="T58" fmla="*/ 0 w 200"/>
                <a:gd name="T59" fmla="*/ 0 h 98"/>
                <a:gd name="T60" fmla="*/ 0 w 200"/>
                <a:gd name="T61" fmla="*/ 0 h 98"/>
                <a:gd name="T62" fmla="*/ 0 w 200"/>
                <a:gd name="T63" fmla="*/ 0 h 98"/>
                <a:gd name="T64" fmla="*/ 0 w 200"/>
                <a:gd name="T65" fmla="*/ 0 h 98"/>
                <a:gd name="T66" fmla="*/ 0 w 200"/>
                <a:gd name="T67" fmla="*/ 0 h 98"/>
                <a:gd name="T68" fmla="*/ 0 w 200"/>
                <a:gd name="T69" fmla="*/ 0 h 98"/>
                <a:gd name="T70" fmla="*/ 0 w 200"/>
                <a:gd name="T71" fmla="*/ 0 h 98"/>
                <a:gd name="T72" fmla="*/ 0 w 200"/>
                <a:gd name="T73" fmla="*/ 0 h 98"/>
                <a:gd name="T74" fmla="*/ 0 w 200"/>
                <a:gd name="T75" fmla="*/ 0 h 98"/>
                <a:gd name="T76" fmla="*/ 0 w 200"/>
                <a:gd name="T77" fmla="*/ 0 h 98"/>
                <a:gd name="T78" fmla="*/ 0 w 200"/>
                <a:gd name="T79" fmla="*/ 0 h 98"/>
                <a:gd name="T80" fmla="*/ 0 w 200"/>
                <a:gd name="T81" fmla="*/ 0 h 98"/>
                <a:gd name="T82" fmla="*/ 0 w 200"/>
                <a:gd name="T83" fmla="*/ 0 h 98"/>
                <a:gd name="T84" fmla="*/ 0 w 200"/>
                <a:gd name="T85" fmla="*/ 0 h 98"/>
                <a:gd name="T86" fmla="*/ 0 w 200"/>
                <a:gd name="T87" fmla="*/ 0 h 98"/>
                <a:gd name="T88" fmla="*/ 0 w 200"/>
                <a:gd name="T89" fmla="*/ 0 h 98"/>
                <a:gd name="T90" fmla="*/ 0 w 200"/>
                <a:gd name="T91" fmla="*/ 0 h 98"/>
                <a:gd name="T92" fmla="*/ 0 w 200"/>
                <a:gd name="T93" fmla="*/ 0 h 98"/>
                <a:gd name="T94" fmla="*/ 0 w 200"/>
                <a:gd name="T95" fmla="*/ 0 h 98"/>
                <a:gd name="T96" fmla="*/ 0 w 200"/>
                <a:gd name="T97" fmla="*/ 0 h 98"/>
                <a:gd name="T98" fmla="*/ 0 w 200"/>
                <a:gd name="T99" fmla="*/ 0 h 98"/>
                <a:gd name="T100" fmla="*/ 0 w 200"/>
                <a:gd name="T101" fmla="*/ 0 h 98"/>
                <a:gd name="T102" fmla="*/ 0 w 200"/>
                <a:gd name="T103" fmla="*/ 0 h 98"/>
                <a:gd name="T104" fmla="*/ 0 w 200"/>
                <a:gd name="T105" fmla="*/ 0 h 98"/>
                <a:gd name="T106" fmla="*/ 0 w 200"/>
                <a:gd name="T107" fmla="*/ 0 h 98"/>
                <a:gd name="T108" fmla="*/ 0 w 200"/>
                <a:gd name="T109" fmla="*/ 0 h 98"/>
                <a:gd name="T110" fmla="*/ 0 w 200"/>
                <a:gd name="T111" fmla="*/ 0 h 98"/>
                <a:gd name="T112" fmla="*/ 0 w 200"/>
                <a:gd name="T113" fmla="*/ 0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00"/>
                <a:gd name="T172" fmla="*/ 0 h 98"/>
                <a:gd name="T173" fmla="*/ 200 w 200"/>
                <a:gd name="T174" fmla="*/ 98 h 9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09" name="Freeform 796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2791" y="1246"/>
              <a:ext cx="57" cy="46"/>
            </a:xfrm>
            <a:custGeom>
              <a:avLst/>
              <a:gdLst>
                <a:gd name="T0" fmla="*/ 0 w 186"/>
                <a:gd name="T1" fmla="*/ 0 h 142"/>
                <a:gd name="T2" fmla="*/ 0 w 186"/>
                <a:gd name="T3" fmla="*/ 0 h 142"/>
                <a:gd name="T4" fmla="*/ 0 w 186"/>
                <a:gd name="T5" fmla="*/ 0 h 142"/>
                <a:gd name="T6" fmla="*/ 0 w 186"/>
                <a:gd name="T7" fmla="*/ 0 h 142"/>
                <a:gd name="T8" fmla="*/ 0 w 186"/>
                <a:gd name="T9" fmla="*/ 0 h 142"/>
                <a:gd name="T10" fmla="*/ 0 w 186"/>
                <a:gd name="T11" fmla="*/ 0 h 142"/>
                <a:gd name="T12" fmla="*/ 0 w 186"/>
                <a:gd name="T13" fmla="*/ 0 h 142"/>
                <a:gd name="T14" fmla="*/ 0 w 186"/>
                <a:gd name="T15" fmla="*/ 0 h 142"/>
                <a:gd name="T16" fmla="*/ 0 w 186"/>
                <a:gd name="T17" fmla="*/ 0 h 142"/>
                <a:gd name="T18" fmla="*/ 0 w 186"/>
                <a:gd name="T19" fmla="*/ 0 h 142"/>
                <a:gd name="T20" fmla="*/ 0 w 186"/>
                <a:gd name="T21" fmla="*/ 0 h 142"/>
                <a:gd name="T22" fmla="*/ 0 w 186"/>
                <a:gd name="T23" fmla="*/ 0 h 142"/>
                <a:gd name="T24" fmla="*/ 0 w 186"/>
                <a:gd name="T25" fmla="*/ 0 h 142"/>
                <a:gd name="T26" fmla="*/ 0 w 186"/>
                <a:gd name="T27" fmla="*/ 0 h 142"/>
                <a:gd name="T28" fmla="*/ 0 w 186"/>
                <a:gd name="T29" fmla="*/ 0 h 142"/>
                <a:gd name="T30" fmla="*/ 0 w 186"/>
                <a:gd name="T31" fmla="*/ 0 h 142"/>
                <a:gd name="T32" fmla="*/ 0 w 186"/>
                <a:gd name="T33" fmla="*/ 0 h 142"/>
                <a:gd name="T34" fmla="*/ 0 w 186"/>
                <a:gd name="T35" fmla="*/ 0 h 142"/>
                <a:gd name="T36" fmla="*/ 0 w 186"/>
                <a:gd name="T37" fmla="*/ 0 h 142"/>
                <a:gd name="T38" fmla="*/ 0 w 186"/>
                <a:gd name="T39" fmla="*/ 0 h 142"/>
                <a:gd name="T40" fmla="*/ 0 w 186"/>
                <a:gd name="T41" fmla="*/ 0 h 142"/>
                <a:gd name="T42" fmla="*/ 0 w 186"/>
                <a:gd name="T43" fmla="*/ 0 h 142"/>
                <a:gd name="T44" fmla="*/ 0 w 186"/>
                <a:gd name="T45" fmla="*/ 0 h 142"/>
                <a:gd name="T46" fmla="*/ 0 w 186"/>
                <a:gd name="T47" fmla="*/ 0 h 142"/>
                <a:gd name="T48" fmla="*/ 0 w 186"/>
                <a:gd name="T49" fmla="*/ 0 h 142"/>
                <a:gd name="T50" fmla="*/ 0 w 186"/>
                <a:gd name="T51" fmla="*/ 0 h 142"/>
                <a:gd name="T52" fmla="*/ 0 w 186"/>
                <a:gd name="T53" fmla="*/ 0 h 142"/>
                <a:gd name="T54" fmla="*/ 0 w 186"/>
                <a:gd name="T55" fmla="*/ 0 h 142"/>
                <a:gd name="T56" fmla="*/ 0 w 186"/>
                <a:gd name="T57" fmla="*/ 0 h 142"/>
                <a:gd name="T58" fmla="*/ 0 w 186"/>
                <a:gd name="T59" fmla="*/ 0 h 142"/>
                <a:gd name="T60" fmla="*/ 0 w 186"/>
                <a:gd name="T61" fmla="*/ 0 h 142"/>
                <a:gd name="T62" fmla="*/ 0 w 186"/>
                <a:gd name="T63" fmla="*/ 0 h 142"/>
                <a:gd name="T64" fmla="*/ 0 w 186"/>
                <a:gd name="T65" fmla="*/ 0 h 142"/>
                <a:gd name="T66" fmla="*/ 0 w 186"/>
                <a:gd name="T67" fmla="*/ 0 h 142"/>
                <a:gd name="T68" fmla="*/ 0 w 186"/>
                <a:gd name="T69" fmla="*/ 0 h 142"/>
                <a:gd name="T70" fmla="*/ 0 w 186"/>
                <a:gd name="T71" fmla="*/ 0 h 142"/>
                <a:gd name="T72" fmla="*/ 0 w 186"/>
                <a:gd name="T73" fmla="*/ 0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42"/>
                <a:gd name="T113" fmla="*/ 186 w 186"/>
                <a:gd name="T114" fmla="*/ 142 h 14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10" name="Freeform 797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2778" y="1286"/>
              <a:ext cx="57" cy="36"/>
            </a:xfrm>
            <a:custGeom>
              <a:avLst/>
              <a:gdLst>
                <a:gd name="T0" fmla="*/ 0 w 192"/>
                <a:gd name="T1" fmla="*/ 0 h 105"/>
                <a:gd name="T2" fmla="*/ 0 w 192"/>
                <a:gd name="T3" fmla="*/ 0 h 105"/>
                <a:gd name="T4" fmla="*/ 0 w 192"/>
                <a:gd name="T5" fmla="*/ 0 h 105"/>
                <a:gd name="T6" fmla="*/ 0 w 192"/>
                <a:gd name="T7" fmla="*/ 0 h 105"/>
                <a:gd name="T8" fmla="*/ 0 w 192"/>
                <a:gd name="T9" fmla="*/ 0 h 105"/>
                <a:gd name="T10" fmla="*/ 0 w 192"/>
                <a:gd name="T11" fmla="*/ 0 h 105"/>
                <a:gd name="T12" fmla="*/ 0 w 192"/>
                <a:gd name="T13" fmla="*/ 0 h 105"/>
                <a:gd name="T14" fmla="*/ 0 w 192"/>
                <a:gd name="T15" fmla="*/ 0 h 105"/>
                <a:gd name="T16" fmla="*/ 0 w 192"/>
                <a:gd name="T17" fmla="*/ 0 h 105"/>
                <a:gd name="T18" fmla="*/ 0 w 192"/>
                <a:gd name="T19" fmla="*/ 0 h 105"/>
                <a:gd name="T20" fmla="*/ 0 w 192"/>
                <a:gd name="T21" fmla="*/ 0 h 105"/>
                <a:gd name="T22" fmla="*/ 0 w 192"/>
                <a:gd name="T23" fmla="*/ 0 h 105"/>
                <a:gd name="T24" fmla="*/ 0 w 192"/>
                <a:gd name="T25" fmla="*/ 0 h 105"/>
                <a:gd name="T26" fmla="*/ 0 w 192"/>
                <a:gd name="T27" fmla="*/ 0 h 105"/>
                <a:gd name="T28" fmla="*/ 0 w 192"/>
                <a:gd name="T29" fmla="*/ 0 h 105"/>
                <a:gd name="T30" fmla="*/ 0 w 192"/>
                <a:gd name="T31" fmla="*/ 0 h 105"/>
                <a:gd name="T32" fmla="*/ 0 w 192"/>
                <a:gd name="T33" fmla="*/ 0 h 105"/>
                <a:gd name="T34" fmla="*/ 0 w 192"/>
                <a:gd name="T35" fmla="*/ 0 h 105"/>
                <a:gd name="T36" fmla="*/ 0 w 192"/>
                <a:gd name="T37" fmla="*/ 0 h 105"/>
                <a:gd name="T38" fmla="*/ 0 w 192"/>
                <a:gd name="T39" fmla="*/ 0 h 105"/>
                <a:gd name="T40" fmla="*/ 0 w 192"/>
                <a:gd name="T41" fmla="*/ 0 h 105"/>
                <a:gd name="T42" fmla="*/ 0 w 192"/>
                <a:gd name="T43" fmla="*/ 0 h 105"/>
                <a:gd name="T44" fmla="*/ 0 w 192"/>
                <a:gd name="T45" fmla="*/ 0 h 105"/>
                <a:gd name="T46" fmla="*/ 0 w 192"/>
                <a:gd name="T47" fmla="*/ 0 h 105"/>
                <a:gd name="T48" fmla="*/ 0 w 192"/>
                <a:gd name="T49" fmla="*/ 0 h 105"/>
                <a:gd name="T50" fmla="*/ 0 w 192"/>
                <a:gd name="T51" fmla="*/ 0 h 105"/>
                <a:gd name="T52" fmla="*/ 0 w 192"/>
                <a:gd name="T53" fmla="*/ 0 h 105"/>
                <a:gd name="T54" fmla="*/ 0 w 192"/>
                <a:gd name="T55" fmla="*/ 0 h 105"/>
                <a:gd name="T56" fmla="*/ 0 w 192"/>
                <a:gd name="T57" fmla="*/ 0 h 105"/>
                <a:gd name="T58" fmla="*/ 0 w 192"/>
                <a:gd name="T59" fmla="*/ 0 h 105"/>
                <a:gd name="T60" fmla="*/ 0 w 192"/>
                <a:gd name="T61" fmla="*/ 0 h 105"/>
                <a:gd name="T62" fmla="*/ 0 w 192"/>
                <a:gd name="T63" fmla="*/ 0 h 105"/>
                <a:gd name="T64" fmla="*/ 0 w 192"/>
                <a:gd name="T65" fmla="*/ 0 h 105"/>
                <a:gd name="T66" fmla="*/ 0 w 192"/>
                <a:gd name="T67" fmla="*/ 0 h 105"/>
                <a:gd name="T68" fmla="*/ 0 w 192"/>
                <a:gd name="T69" fmla="*/ 0 h 105"/>
                <a:gd name="T70" fmla="*/ 0 w 192"/>
                <a:gd name="T71" fmla="*/ 0 h 105"/>
                <a:gd name="T72" fmla="*/ 0 w 192"/>
                <a:gd name="T73" fmla="*/ 0 h 105"/>
                <a:gd name="T74" fmla="*/ 0 w 192"/>
                <a:gd name="T75" fmla="*/ 0 h 105"/>
                <a:gd name="T76" fmla="*/ 0 w 192"/>
                <a:gd name="T77" fmla="*/ 0 h 105"/>
                <a:gd name="T78" fmla="*/ 0 w 192"/>
                <a:gd name="T79" fmla="*/ 0 h 105"/>
                <a:gd name="T80" fmla="*/ 0 w 192"/>
                <a:gd name="T81" fmla="*/ 0 h 105"/>
                <a:gd name="T82" fmla="*/ 0 w 192"/>
                <a:gd name="T83" fmla="*/ 0 h 105"/>
                <a:gd name="T84" fmla="*/ 0 w 192"/>
                <a:gd name="T85" fmla="*/ 0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92"/>
                <a:gd name="T130" fmla="*/ 0 h 105"/>
                <a:gd name="T131" fmla="*/ 192 w 192"/>
                <a:gd name="T132" fmla="*/ 105 h 10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11" name="Freeform 798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3297" y="1635"/>
              <a:ext cx="22" cy="83"/>
            </a:xfrm>
            <a:custGeom>
              <a:avLst/>
              <a:gdLst>
                <a:gd name="T0" fmla="*/ 0 w 80"/>
                <a:gd name="T1" fmla="*/ 0 h 254"/>
                <a:gd name="T2" fmla="*/ 0 w 80"/>
                <a:gd name="T3" fmla="*/ 0 h 254"/>
                <a:gd name="T4" fmla="*/ 0 w 80"/>
                <a:gd name="T5" fmla="*/ 0 h 254"/>
                <a:gd name="T6" fmla="*/ 0 w 80"/>
                <a:gd name="T7" fmla="*/ 0 h 254"/>
                <a:gd name="T8" fmla="*/ 0 w 80"/>
                <a:gd name="T9" fmla="*/ 0 h 254"/>
                <a:gd name="T10" fmla="*/ 0 w 80"/>
                <a:gd name="T11" fmla="*/ 0 h 254"/>
                <a:gd name="T12" fmla="*/ 0 w 80"/>
                <a:gd name="T13" fmla="*/ 0 h 254"/>
                <a:gd name="T14" fmla="*/ 0 w 80"/>
                <a:gd name="T15" fmla="*/ 0 h 254"/>
                <a:gd name="T16" fmla="*/ 0 w 80"/>
                <a:gd name="T17" fmla="*/ 0 h 254"/>
                <a:gd name="T18" fmla="*/ 0 w 80"/>
                <a:gd name="T19" fmla="*/ 0 h 254"/>
                <a:gd name="T20" fmla="*/ 0 w 80"/>
                <a:gd name="T21" fmla="*/ 0 h 254"/>
                <a:gd name="T22" fmla="*/ 0 w 80"/>
                <a:gd name="T23" fmla="*/ 0 h 254"/>
                <a:gd name="T24" fmla="*/ 0 w 80"/>
                <a:gd name="T25" fmla="*/ 0 h 254"/>
                <a:gd name="T26" fmla="*/ 0 w 80"/>
                <a:gd name="T27" fmla="*/ 0 h 254"/>
                <a:gd name="T28" fmla="*/ 0 w 80"/>
                <a:gd name="T29" fmla="*/ 0 h 254"/>
                <a:gd name="T30" fmla="*/ 0 w 80"/>
                <a:gd name="T31" fmla="*/ 0 h 254"/>
                <a:gd name="T32" fmla="*/ 0 w 80"/>
                <a:gd name="T33" fmla="*/ 0 h 254"/>
                <a:gd name="T34" fmla="*/ 0 w 80"/>
                <a:gd name="T35" fmla="*/ 0 h 254"/>
                <a:gd name="T36" fmla="*/ 0 w 80"/>
                <a:gd name="T37" fmla="*/ 0 h 254"/>
                <a:gd name="T38" fmla="*/ 0 w 80"/>
                <a:gd name="T39" fmla="*/ 0 h 254"/>
                <a:gd name="T40" fmla="*/ 0 w 80"/>
                <a:gd name="T41" fmla="*/ 0 h 254"/>
                <a:gd name="T42" fmla="*/ 0 w 80"/>
                <a:gd name="T43" fmla="*/ 0 h 254"/>
                <a:gd name="T44" fmla="*/ 0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0"/>
                <a:gd name="T70" fmla="*/ 0 h 254"/>
                <a:gd name="T71" fmla="*/ 80 w 80"/>
                <a:gd name="T72" fmla="*/ 254 h 25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12" name="Freeform 799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3262" y="1668"/>
              <a:ext cx="48" cy="82"/>
            </a:xfrm>
            <a:custGeom>
              <a:avLst/>
              <a:gdLst>
                <a:gd name="T0" fmla="*/ 0 w 167"/>
                <a:gd name="T1" fmla="*/ 0 h 259"/>
                <a:gd name="T2" fmla="*/ 0 w 167"/>
                <a:gd name="T3" fmla="*/ 0 h 259"/>
                <a:gd name="T4" fmla="*/ 0 w 167"/>
                <a:gd name="T5" fmla="*/ 0 h 259"/>
                <a:gd name="T6" fmla="*/ 0 w 167"/>
                <a:gd name="T7" fmla="*/ 0 h 259"/>
                <a:gd name="T8" fmla="*/ 0 w 167"/>
                <a:gd name="T9" fmla="*/ 0 h 259"/>
                <a:gd name="T10" fmla="*/ 0 w 167"/>
                <a:gd name="T11" fmla="*/ 0 h 259"/>
                <a:gd name="T12" fmla="*/ 0 w 167"/>
                <a:gd name="T13" fmla="*/ 0 h 259"/>
                <a:gd name="T14" fmla="*/ 0 w 167"/>
                <a:gd name="T15" fmla="*/ 0 h 259"/>
                <a:gd name="T16" fmla="*/ 0 w 167"/>
                <a:gd name="T17" fmla="*/ 0 h 259"/>
                <a:gd name="T18" fmla="*/ 0 w 167"/>
                <a:gd name="T19" fmla="*/ 0 h 259"/>
                <a:gd name="T20" fmla="*/ 0 w 167"/>
                <a:gd name="T21" fmla="*/ 0 h 259"/>
                <a:gd name="T22" fmla="*/ 0 w 167"/>
                <a:gd name="T23" fmla="*/ 0 h 259"/>
                <a:gd name="T24" fmla="*/ 0 w 167"/>
                <a:gd name="T25" fmla="*/ 0 h 259"/>
                <a:gd name="T26" fmla="*/ 0 w 167"/>
                <a:gd name="T27" fmla="*/ 0 h 259"/>
                <a:gd name="T28" fmla="*/ 0 w 167"/>
                <a:gd name="T29" fmla="*/ 0 h 259"/>
                <a:gd name="T30" fmla="*/ 0 w 167"/>
                <a:gd name="T31" fmla="*/ 0 h 259"/>
                <a:gd name="T32" fmla="*/ 0 w 167"/>
                <a:gd name="T33" fmla="*/ 0 h 259"/>
                <a:gd name="T34" fmla="*/ 0 w 167"/>
                <a:gd name="T35" fmla="*/ 0 h 259"/>
                <a:gd name="T36" fmla="*/ 0 w 167"/>
                <a:gd name="T37" fmla="*/ 0 h 259"/>
                <a:gd name="T38" fmla="*/ 0 w 167"/>
                <a:gd name="T39" fmla="*/ 0 h 259"/>
                <a:gd name="T40" fmla="*/ 0 w 167"/>
                <a:gd name="T41" fmla="*/ 0 h 259"/>
                <a:gd name="T42" fmla="*/ 0 w 167"/>
                <a:gd name="T43" fmla="*/ 0 h 259"/>
                <a:gd name="T44" fmla="*/ 0 w 167"/>
                <a:gd name="T45" fmla="*/ 0 h 259"/>
                <a:gd name="T46" fmla="*/ 0 w 167"/>
                <a:gd name="T47" fmla="*/ 0 h 259"/>
                <a:gd name="T48" fmla="*/ 0 w 167"/>
                <a:gd name="T49" fmla="*/ 0 h 259"/>
                <a:gd name="T50" fmla="*/ 0 w 167"/>
                <a:gd name="T51" fmla="*/ 0 h 259"/>
                <a:gd name="T52" fmla="*/ 0 w 167"/>
                <a:gd name="T53" fmla="*/ 0 h 259"/>
                <a:gd name="T54" fmla="*/ 0 w 167"/>
                <a:gd name="T55" fmla="*/ 0 h 259"/>
                <a:gd name="T56" fmla="*/ 0 w 167"/>
                <a:gd name="T57" fmla="*/ 0 h 259"/>
                <a:gd name="T58" fmla="*/ 0 w 167"/>
                <a:gd name="T59" fmla="*/ 0 h 259"/>
                <a:gd name="T60" fmla="*/ 0 w 167"/>
                <a:gd name="T61" fmla="*/ 0 h 259"/>
                <a:gd name="T62" fmla="*/ 0 w 167"/>
                <a:gd name="T63" fmla="*/ 0 h 259"/>
                <a:gd name="T64" fmla="*/ 0 w 167"/>
                <a:gd name="T65" fmla="*/ 0 h 259"/>
                <a:gd name="T66" fmla="*/ 0 w 167"/>
                <a:gd name="T67" fmla="*/ 0 h 259"/>
                <a:gd name="T68" fmla="*/ 0 w 167"/>
                <a:gd name="T69" fmla="*/ 0 h 259"/>
                <a:gd name="T70" fmla="*/ 0 w 167"/>
                <a:gd name="T71" fmla="*/ 0 h 259"/>
                <a:gd name="T72" fmla="*/ 0 w 167"/>
                <a:gd name="T73" fmla="*/ 0 h 259"/>
                <a:gd name="T74" fmla="*/ 0 w 167"/>
                <a:gd name="T75" fmla="*/ 0 h 259"/>
                <a:gd name="T76" fmla="*/ 0 w 167"/>
                <a:gd name="T77" fmla="*/ 0 h 259"/>
                <a:gd name="T78" fmla="*/ 0 w 167"/>
                <a:gd name="T79" fmla="*/ 0 h 259"/>
                <a:gd name="T80" fmla="*/ 0 w 167"/>
                <a:gd name="T81" fmla="*/ 0 h 259"/>
                <a:gd name="T82" fmla="*/ 0 w 167"/>
                <a:gd name="T83" fmla="*/ 0 h 259"/>
                <a:gd name="T84" fmla="*/ 0 w 167"/>
                <a:gd name="T85" fmla="*/ 0 h 259"/>
                <a:gd name="T86" fmla="*/ 0 w 167"/>
                <a:gd name="T87" fmla="*/ 0 h 259"/>
                <a:gd name="T88" fmla="*/ 0 w 167"/>
                <a:gd name="T89" fmla="*/ 0 h 259"/>
                <a:gd name="T90" fmla="*/ 0 w 167"/>
                <a:gd name="T91" fmla="*/ 0 h 259"/>
                <a:gd name="T92" fmla="*/ 0 w 167"/>
                <a:gd name="T93" fmla="*/ 0 h 259"/>
                <a:gd name="T94" fmla="*/ 0 w 167"/>
                <a:gd name="T95" fmla="*/ 0 h 259"/>
                <a:gd name="T96" fmla="*/ 0 w 167"/>
                <a:gd name="T97" fmla="*/ 0 h 259"/>
                <a:gd name="T98" fmla="*/ 0 w 167"/>
                <a:gd name="T99" fmla="*/ 0 h 259"/>
                <a:gd name="T100" fmla="*/ 0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7"/>
                <a:gd name="T154" fmla="*/ 0 h 259"/>
                <a:gd name="T155" fmla="*/ 167 w 167"/>
                <a:gd name="T156" fmla="*/ 259 h 2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13" name="Freeform 800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2581" y="1198"/>
              <a:ext cx="66" cy="91"/>
            </a:xfrm>
            <a:custGeom>
              <a:avLst/>
              <a:gdLst>
                <a:gd name="T0" fmla="*/ 0 w 225"/>
                <a:gd name="T1" fmla="*/ 0 h 273"/>
                <a:gd name="T2" fmla="*/ 0 w 225"/>
                <a:gd name="T3" fmla="*/ 0 h 273"/>
                <a:gd name="T4" fmla="*/ 0 w 225"/>
                <a:gd name="T5" fmla="*/ 0 h 273"/>
                <a:gd name="T6" fmla="*/ 0 w 225"/>
                <a:gd name="T7" fmla="*/ 0 h 273"/>
                <a:gd name="T8" fmla="*/ 0 w 225"/>
                <a:gd name="T9" fmla="*/ 0 h 273"/>
                <a:gd name="T10" fmla="*/ 0 w 225"/>
                <a:gd name="T11" fmla="*/ 0 h 273"/>
                <a:gd name="T12" fmla="*/ 0 w 225"/>
                <a:gd name="T13" fmla="*/ 0 h 273"/>
                <a:gd name="T14" fmla="*/ 0 w 225"/>
                <a:gd name="T15" fmla="*/ 0 h 273"/>
                <a:gd name="T16" fmla="*/ 0 w 225"/>
                <a:gd name="T17" fmla="*/ 0 h 273"/>
                <a:gd name="T18" fmla="*/ 0 w 225"/>
                <a:gd name="T19" fmla="*/ 0 h 273"/>
                <a:gd name="T20" fmla="*/ 0 w 225"/>
                <a:gd name="T21" fmla="*/ 0 h 273"/>
                <a:gd name="T22" fmla="*/ 0 w 225"/>
                <a:gd name="T23" fmla="*/ 0 h 273"/>
                <a:gd name="T24" fmla="*/ 0 w 225"/>
                <a:gd name="T25" fmla="*/ 0 h 273"/>
                <a:gd name="T26" fmla="*/ 0 w 225"/>
                <a:gd name="T27" fmla="*/ 0 h 273"/>
                <a:gd name="T28" fmla="*/ 0 w 225"/>
                <a:gd name="T29" fmla="*/ 0 h 273"/>
                <a:gd name="T30" fmla="*/ 0 w 225"/>
                <a:gd name="T31" fmla="*/ 0 h 273"/>
                <a:gd name="T32" fmla="*/ 0 w 225"/>
                <a:gd name="T33" fmla="*/ 0 h 273"/>
                <a:gd name="T34" fmla="*/ 0 w 225"/>
                <a:gd name="T35" fmla="*/ 0 h 273"/>
                <a:gd name="T36" fmla="*/ 0 w 225"/>
                <a:gd name="T37" fmla="*/ 0 h 273"/>
                <a:gd name="T38" fmla="*/ 0 w 225"/>
                <a:gd name="T39" fmla="*/ 0 h 273"/>
                <a:gd name="T40" fmla="*/ 0 w 225"/>
                <a:gd name="T41" fmla="*/ 0 h 273"/>
                <a:gd name="T42" fmla="*/ 0 w 225"/>
                <a:gd name="T43" fmla="*/ 0 h 273"/>
                <a:gd name="T44" fmla="*/ 0 w 225"/>
                <a:gd name="T45" fmla="*/ 0 h 273"/>
                <a:gd name="T46" fmla="*/ 0 w 225"/>
                <a:gd name="T47" fmla="*/ 0 h 273"/>
                <a:gd name="T48" fmla="*/ 0 w 225"/>
                <a:gd name="T49" fmla="*/ 0 h 273"/>
                <a:gd name="T50" fmla="*/ 0 w 225"/>
                <a:gd name="T51" fmla="*/ 0 h 273"/>
                <a:gd name="T52" fmla="*/ 0 w 225"/>
                <a:gd name="T53" fmla="*/ 0 h 273"/>
                <a:gd name="T54" fmla="*/ 0 w 225"/>
                <a:gd name="T55" fmla="*/ 0 h 273"/>
                <a:gd name="T56" fmla="*/ 0 w 225"/>
                <a:gd name="T57" fmla="*/ 0 h 273"/>
                <a:gd name="T58" fmla="*/ 0 w 225"/>
                <a:gd name="T59" fmla="*/ 0 h 273"/>
                <a:gd name="T60" fmla="*/ 0 w 225"/>
                <a:gd name="T61" fmla="*/ 0 h 273"/>
                <a:gd name="T62" fmla="*/ 0 w 225"/>
                <a:gd name="T63" fmla="*/ 0 h 273"/>
                <a:gd name="T64" fmla="*/ 0 w 225"/>
                <a:gd name="T65" fmla="*/ 0 h 273"/>
                <a:gd name="T66" fmla="*/ 0 w 225"/>
                <a:gd name="T67" fmla="*/ 0 h 273"/>
                <a:gd name="T68" fmla="*/ 0 w 225"/>
                <a:gd name="T69" fmla="*/ 0 h 273"/>
                <a:gd name="T70" fmla="*/ 0 w 225"/>
                <a:gd name="T71" fmla="*/ 0 h 273"/>
                <a:gd name="T72" fmla="*/ 0 w 225"/>
                <a:gd name="T73" fmla="*/ 0 h 273"/>
                <a:gd name="T74" fmla="*/ 0 w 225"/>
                <a:gd name="T75" fmla="*/ 0 h 273"/>
                <a:gd name="T76" fmla="*/ 0 w 225"/>
                <a:gd name="T77" fmla="*/ 0 h 273"/>
                <a:gd name="T78" fmla="*/ 0 w 225"/>
                <a:gd name="T79" fmla="*/ 0 h 273"/>
                <a:gd name="T80" fmla="*/ 0 w 225"/>
                <a:gd name="T81" fmla="*/ 0 h 273"/>
                <a:gd name="T82" fmla="*/ 0 w 225"/>
                <a:gd name="T83" fmla="*/ 0 h 273"/>
                <a:gd name="T84" fmla="*/ 0 w 225"/>
                <a:gd name="T85" fmla="*/ 0 h 273"/>
                <a:gd name="T86" fmla="*/ 0 w 225"/>
                <a:gd name="T87" fmla="*/ 0 h 273"/>
                <a:gd name="T88" fmla="*/ 0 w 225"/>
                <a:gd name="T89" fmla="*/ 0 h 273"/>
                <a:gd name="T90" fmla="*/ 0 w 225"/>
                <a:gd name="T91" fmla="*/ 0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25"/>
                <a:gd name="T139" fmla="*/ 0 h 273"/>
                <a:gd name="T140" fmla="*/ 225 w 225"/>
                <a:gd name="T141" fmla="*/ 273 h 27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14" name="Freeform 801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2453" y="1772"/>
              <a:ext cx="209" cy="246"/>
            </a:xfrm>
            <a:custGeom>
              <a:avLst/>
              <a:gdLst>
                <a:gd name="T0" fmla="*/ 12 w 232"/>
                <a:gd name="T1" fmla="*/ 206 h 248"/>
                <a:gd name="T2" fmla="*/ 12 w 232"/>
                <a:gd name="T3" fmla="*/ 203 h 248"/>
                <a:gd name="T4" fmla="*/ 13 w 232"/>
                <a:gd name="T5" fmla="*/ 198 h 248"/>
                <a:gd name="T6" fmla="*/ 13 w 232"/>
                <a:gd name="T7" fmla="*/ 192 h 248"/>
                <a:gd name="T8" fmla="*/ 13 w 232"/>
                <a:gd name="T9" fmla="*/ 191 h 248"/>
                <a:gd name="T10" fmla="*/ 13 w 232"/>
                <a:gd name="T11" fmla="*/ 198 h 248"/>
                <a:gd name="T12" fmla="*/ 13 w 232"/>
                <a:gd name="T13" fmla="*/ 201 h 248"/>
                <a:gd name="T14" fmla="*/ 13 w 232"/>
                <a:gd name="T15" fmla="*/ 202 h 248"/>
                <a:gd name="T16" fmla="*/ 14 w 232"/>
                <a:gd name="T17" fmla="*/ 202 h 248"/>
                <a:gd name="T18" fmla="*/ 14 w 232"/>
                <a:gd name="T19" fmla="*/ 201 h 248"/>
                <a:gd name="T20" fmla="*/ 14 w 232"/>
                <a:gd name="T21" fmla="*/ 198 h 248"/>
                <a:gd name="T22" fmla="*/ 27 w 232"/>
                <a:gd name="T23" fmla="*/ 194 h 248"/>
                <a:gd name="T24" fmla="*/ 27 w 232"/>
                <a:gd name="T25" fmla="*/ 175 h 248"/>
                <a:gd name="T26" fmla="*/ 26 w 232"/>
                <a:gd name="T27" fmla="*/ 118 h 248"/>
                <a:gd name="T28" fmla="*/ 24 w 232"/>
                <a:gd name="T29" fmla="*/ 62 h 248"/>
                <a:gd name="T30" fmla="*/ 24 w 232"/>
                <a:gd name="T31" fmla="*/ 43 h 248"/>
                <a:gd name="T32" fmla="*/ 27 w 232"/>
                <a:gd name="T33" fmla="*/ 44 h 248"/>
                <a:gd name="T34" fmla="*/ 29 w 232"/>
                <a:gd name="T35" fmla="*/ 46 h 248"/>
                <a:gd name="T36" fmla="*/ 20 w 232"/>
                <a:gd name="T37" fmla="*/ 2 h 248"/>
                <a:gd name="T38" fmla="*/ 20 w 232"/>
                <a:gd name="T39" fmla="*/ 8 h 248"/>
                <a:gd name="T40" fmla="*/ 20 w 232"/>
                <a:gd name="T41" fmla="*/ 18 h 248"/>
                <a:gd name="T42" fmla="*/ 13 w 232"/>
                <a:gd name="T43" fmla="*/ 24 h 248"/>
                <a:gd name="T44" fmla="*/ 13 w 232"/>
                <a:gd name="T45" fmla="*/ 62 h 248"/>
                <a:gd name="T46" fmla="*/ 12 w 232"/>
                <a:gd name="T47" fmla="*/ 62 h 248"/>
                <a:gd name="T48" fmla="*/ 11 w 232"/>
                <a:gd name="T49" fmla="*/ 62 h 248"/>
                <a:gd name="T50" fmla="*/ 10 w 232"/>
                <a:gd name="T51" fmla="*/ 62 h 248"/>
                <a:gd name="T52" fmla="*/ 10 w 232"/>
                <a:gd name="T53" fmla="*/ 68 h 248"/>
                <a:gd name="T54" fmla="*/ 10 w 232"/>
                <a:gd name="T55" fmla="*/ 76 h 248"/>
                <a:gd name="T56" fmla="*/ 11 w 232"/>
                <a:gd name="T57" fmla="*/ 85 h 248"/>
                <a:gd name="T58" fmla="*/ 11 w 232"/>
                <a:gd name="T59" fmla="*/ 95 h 248"/>
                <a:gd name="T60" fmla="*/ 5 w 232"/>
                <a:gd name="T61" fmla="*/ 99 h 248"/>
                <a:gd name="T62" fmla="*/ 5 w 232"/>
                <a:gd name="T63" fmla="*/ 110 h 248"/>
                <a:gd name="T64" fmla="*/ 5 w 232"/>
                <a:gd name="T65" fmla="*/ 123 h 248"/>
                <a:gd name="T66" fmla="*/ 5 w 232"/>
                <a:gd name="T67" fmla="*/ 135 h 248"/>
                <a:gd name="T68" fmla="*/ 5 w 232"/>
                <a:gd name="T69" fmla="*/ 148 h 248"/>
                <a:gd name="T70" fmla="*/ 5 w 232"/>
                <a:gd name="T71" fmla="*/ 162 h 248"/>
                <a:gd name="T72" fmla="*/ 5 w 232"/>
                <a:gd name="T73" fmla="*/ 170 h 248"/>
                <a:gd name="T74" fmla="*/ 5 w 232"/>
                <a:gd name="T75" fmla="*/ 176 h 248"/>
                <a:gd name="T76" fmla="*/ 2 w 232"/>
                <a:gd name="T77" fmla="*/ 181 h 248"/>
                <a:gd name="T78" fmla="*/ 2 w 232"/>
                <a:gd name="T79" fmla="*/ 182 h 248"/>
                <a:gd name="T80" fmla="*/ 3 w 232"/>
                <a:gd name="T81" fmla="*/ 183 h 248"/>
                <a:gd name="T82" fmla="*/ 3 w 232"/>
                <a:gd name="T83" fmla="*/ 184 h 248"/>
                <a:gd name="T84" fmla="*/ 5 w 232"/>
                <a:gd name="T85" fmla="*/ 181 h 248"/>
                <a:gd name="T86" fmla="*/ 5 w 232"/>
                <a:gd name="T87" fmla="*/ 179 h 248"/>
                <a:gd name="T88" fmla="*/ 5 w 232"/>
                <a:gd name="T89" fmla="*/ 176 h 248"/>
                <a:gd name="T90" fmla="*/ 5 w 232"/>
                <a:gd name="T91" fmla="*/ 177 h 248"/>
                <a:gd name="T92" fmla="*/ 6 w 232"/>
                <a:gd name="T93" fmla="*/ 179 h 248"/>
                <a:gd name="T94" fmla="*/ 7 w 232"/>
                <a:gd name="T95" fmla="*/ 180 h 248"/>
                <a:gd name="T96" fmla="*/ 8 w 232"/>
                <a:gd name="T97" fmla="*/ 180 h 248"/>
                <a:gd name="T98" fmla="*/ 9 w 232"/>
                <a:gd name="T99" fmla="*/ 182 h 248"/>
                <a:gd name="T100" fmla="*/ 9 w 232"/>
                <a:gd name="T101" fmla="*/ 185 h 248"/>
                <a:gd name="T102" fmla="*/ 9 w 232"/>
                <a:gd name="T103" fmla="*/ 191 h 248"/>
                <a:gd name="T104" fmla="*/ 10 w 232"/>
                <a:gd name="T105" fmla="*/ 195 h 248"/>
                <a:gd name="T106" fmla="*/ 11 w 232"/>
                <a:gd name="T107" fmla="*/ 203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2"/>
                <a:gd name="T163" fmla="*/ 0 h 248"/>
                <a:gd name="T164" fmla="*/ 232 w 232"/>
                <a:gd name="T165" fmla="*/ 248 h 2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15" name="Freeform 802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2532" y="1810"/>
              <a:ext cx="283" cy="295"/>
            </a:xfrm>
            <a:custGeom>
              <a:avLst/>
              <a:gdLst>
                <a:gd name="T0" fmla="*/ 0 w 948"/>
                <a:gd name="T1" fmla="*/ 0 h 893"/>
                <a:gd name="T2" fmla="*/ 0 w 948"/>
                <a:gd name="T3" fmla="*/ 0 h 893"/>
                <a:gd name="T4" fmla="*/ 0 w 948"/>
                <a:gd name="T5" fmla="*/ 0 h 893"/>
                <a:gd name="T6" fmla="*/ 0 w 948"/>
                <a:gd name="T7" fmla="*/ 0 h 893"/>
                <a:gd name="T8" fmla="*/ 0 w 948"/>
                <a:gd name="T9" fmla="*/ 0 h 893"/>
                <a:gd name="T10" fmla="*/ 0 w 948"/>
                <a:gd name="T11" fmla="*/ 0 h 893"/>
                <a:gd name="T12" fmla="*/ 0 w 948"/>
                <a:gd name="T13" fmla="*/ 0 h 893"/>
                <a:gd name="T14" fmla="*/ 0 w 948"/>
                <a:gd name="T15" fmla="*/ 0 h 893"/>
                <a:gd name="T16" fmla="*/ 0 w 948"/>
                <a:gd name="T17" fmla="*/ 0 h 893"/>
                <a:gd name="T18" fmla="*/ 0 w 948"/>
                <a:gd name="T19" fmla="*/ 0 h 893"/>
                <a:gd name="T20" fmla="*/ 0 w 948"/>
                <a:gd name="T21" fmla="*/ 0 h 893"/>
                <a:gd name="T22" fmla="*/ 0 w 948"/>
                <a:gd name="T23" fmla="*/ 0 h 893"/>
                <a:gd name="T24" fmla="*/ 0 w 948"/>
                <a:gd name="T25" fmla="*/ 0 h 893"/>
                <a:gd name="T26" fmla="*/ 0 w 948"/>
                <a:gd name="T27" fmla="*/ 0 h 893"/>
                <a:gd name="T28" fmla="*/ 0 w 948"/>
                <a:gd name="T29" fmla="*/ 0 h 893"/>
                <a:gd name="T30" fmla="*/ 0 w 948"/>
                <a:gd name="T31" fmla="*/ 0 h 893"/>
                <a:gd name="T32" fmla="*/ 0 w 948"/>
                <a:gd name="T33" fmla="*/ 0 h 893"/>
                <a:gd name="T34" fmla="*/ 0 w 948"/>
                <a:gd name="T35" fmla="*/ 0 h 893"/>
                <a:gd name="T36" fmla="*/ 0 w 948"/>
                <a:gd name="T37" fmla="*/ 0 h 893"/>
                <a:gd name="T38" fmla="*/ 0 w 948"/>
                <a:gd name="T39" fmla="*/ 0 h 893"/>
                <a:gd name="T40" fmla="*/ 0 w 948"/>
                <a:gd name="T41" fmla="*/ 0 h 893"/>
                <a:gd name="T42" fmla="*/ 0 w 948"/>
                <a:gd name="T43" fmla="*/ 0 h 893"/>
                <a:gd name="T44" fmla="*/ 0 w 948"/>
                <a:gd name="T45" fmla="*/ 0 h 893"/>
                <a:gd name="T46" fmla="*/ 0 w 948"/>
                <a:gd name="T47" fmla="*/ 0 h 893"/>
                <a:gd name="T48" fmla="*/ 0 w 948"/>
                <a:gd name="T49" fmla="*/ 0 h 893"/>
                <a:gd name="T50" fmla="*/ 0 w 948"/>
                <a:gd name="T51" fmla="*/ 0 h 893"/>
                <a:gd name="T52" fmla="*/ 0 w 948"/>
                <a:gd name="T53" fmla="*/ 0 h 893"/>
                <a:gd name="T54" fmla="*/ 0 w 948"/>
                <a:gd name="T55" fmla="*/ 0 h 893"/>
                <a:gd name="T56" fmla="*/ 0 w 948"/>
                <a:gd name="T57" fmla="*/ 0 h 893"/>
                <a:gd name="T58" fmla="*/ 0 w 948"/>
                <a:gd name="T59" fmla="*/ 0 h 893"/>
                <a:gd name="T60" fmla="*/ 0 w 948"/>
                <a:gd name="T61" fmla="*/ 0 h 893"/>
                <a:gd name="T62" fmla="*/ 0 w 948"/>
                <a:gd name="T63" fmla="*/ 0 h 893"/>
                <a:gd name="T64" fmla="*/ 0 w 948"/>
                <a:gd name="T65" fmla="*/ 0 h 893"/>
                <a:gd name="T66" fmla="*/ 0 w 948"/>
                <a:gd name="T67" fmla="*/ 0 h 893"/>
                <a:gd name="T68" fmla="*/ 0 w 948"/>
                <a:gd name="T69" fmla="*/ 0 h 893"/>
                <a:gd name="T70" fmla="*/ 0 w 948"/>
                <a:gd name="T71" fmla="*/ 0 h 893"/>
                <a:gd name="T72" fmla="*/ 0 w 948"/>
                <a:gd name="T73" fmla="*/ 0 h 893"/>
                <a:gd name="T74" fmla="*/ 0 w 948"/>
                <a:gd name="T75" fmla="*/ 0 h 893"/>
                <a:gd name="T76" fmla="*/ 0 w 948"/>
                <a:gd name="T77" fmla="*/ 0 h 893"/>
                <a:gd name="T78" fmla="*/ 0 w 948"/>
                <a:gd name="T79" fmla="*/ 0 h 893"/>
                <a:gd name="T80" fmla="*/ 0 w 948"/>
                <a:gd name="T81" fmla="*/ 0 h 893"/>
                <a:gd name="T82" fmla="*/ 0 w 948"/>
                <a:gd name="T83" fmla="*/ 0 h 893"/>
                <a:gd name="T84" fmla="*/ 0 w 948"/>
                <a:gd name="T85" fmla="*/ 0 h 893"/>
                <a:gd name="T86" fmla="*/ 0 w 948"/>
                <a:gd name="T87" fmla="*/ 0 h 893"/>
                <a:gd name="T88" fmla="*/ 0 w 948"/>
                <a:gd name="T89" fmla="*/ 0 h 893"/>
                <a:gd name="T90" fmla="*/ 0 w 948"/>
                <a:gd name="T91" fmla="*/ 0 h 893"/>
                <a:gd name="T92" fmla="*/ 0 w 948"/>
                <a:gd name="T93" fmla="*/ 0 h 893"/>
                <a:gd name="T94" fmla="*/ 0 w 948"/>
                <a:gd name="T95" fmla="*/ 0 h 893"/>
                <a:gd name="T96" fmla="*/ 0 w 948"/>
                <a:gd name="T97" fmla="*/ 0 h 893"/>
                <a:gd name="T98" fmla="*/ 0 w 948"/>
                <a:gd name="T99" fmla="*/ 0 h 893"/>
                <a:gd name="T100" fmla="*/ 0 w 948"/>
                <a:gd name="T101" fmla="*/ 0 h 893"/>
                <a:gd name="T102" fmla="*/ 0 w 948"/>
                <a:gd name="T103" fmla="*/ 0 h 893"/>
                <a:gd name="T104" fmla="*/ 0 w 948"/>
                <a:gd name="T105" fmla="*/ 0 h 893"/>
                <a:gd name="T106" fmla="*/ 0 w 948"/>
                <a:gd name="T107" fmla="*/ 0 h 893"/>
                <a:gd name="T108" fmla="*/ 0 w 948"/>
                <a:gd name="T109" fmla="*/ 0 h 893"/>
                <a:gd name="T110" fmla="*/ 0 w 948"/>
                <a:gd name="T111" fmla="*/ 0 h 893"/>
                <a:gd name="T112" fmla="*/ 0 w 948"/>
                <a:gd name="T113" fmla="*/ 0 h 893"/>
                <a:gd name="T114" fmla="*/ 0 w 948"/>
                <a:gd name="T115" fmla="*/ 0 h 893"/>
                <a:gd name="T116" fmla="*/ 0 w 948"/>
                <a:gd name="T117" fmla="*/ 0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48"/>
                <a:gd name="T178" fmla="*/ 0 h 893"/>
                <a:gd name="T179" fmla="*/ 948 w 948"/>
                <a:gd name="T180" fmla="*/ 893 h 89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16" name="Freeform 803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2599" y="1562"/>
              <a:ext cx="337" cy="365"/>
            </a:xfrm>
            <a:custGeom>
              <a:avLst/>
              <a:gdLst>
                <a:gd name="T0" fmla="*/ 31 w 373"/>
                <a:gd name="T1" fmla="*/ 280 h 370"/>
                <a:gd name="T2" fmla="*/ 32 w 373"/>
                <a:gd name="T3" fmla="*/ 278 h 370"/>
                <a:gd name="T4" fmla="*/ 34 w 373"/>
                <a:gd name="T5" fmla="*/ 281 h 370"/>
                <a:gd name="T6" fmla="*/ 48 w 373"/>
                <a:gd name="T7" fmla="*/ 212 h 370"/>
                <a:gd name="T8" fmla="*/ 48 w 373"/>
                <a:gd name="T9" fmla="*/ 207 h 370"/>
                <a:gd name="T10" fmla="*/ 48 w 373"/>
                <a:gd name="T11" fmla="*/ 202 h 370"/>
                <a:gd name="T12" fmla="*/ 46 w 373"/>
                <a:gd name="T13" fmla="*/ 199 h 370"/>
                <a:gd name="T14" fmla="*/ 43 w 373"/>
                <a:gd name="T15" fmla="*/ 194 h 370"/>
                <a:gd name="T16" fmla="*/ 43 w 373"/>
                <a:gd name="T17" fmla="*/ 187 h 370"/>
                <a:gd name="T18" fmla="*/ 43 w 373"/>
                <a:gd name="T19" fmla="*/ 173 h 370"/>
                <a:gd name="T20" fmla="*/ 43 w 373"/>
                <a:gd name="T21" fmla="*/ 152 h 370"/>
                <a:gd name="T22" fmla="*/ 43 w 373"/>
                <a:gd name="T23" fmla="*/ 128 h 370"/>
                <a:gd name="T24" fmla="*/ 43 w 373"/>
                <a:gd name="T25" fmla="*/ 115 h 370"/>
                <a:gd name="T26" fmla="*/ 42 w 373"/>
                <a:gd name="T27" fmla="*/ 106 h 370"/>
                <a:gd name="T28" fmla="*/ 42 w 373"/>
                <a:gd name="T29" fmla="*/ 89 h 370"/>
                <a:gd name="T30" fmla="*/ 39 w 373"/>
                <a:gd name="T31" fmla="*/ 70 h 370"/>
                <a:gd name="T32" fmla="*/ 39 w 373"/>
                <a:gd name="T33" fmla="*/ 58 h 370"/>
                <a:gd name="T34" fmla="*/ 39 w 373"/>
                <a:gd name="T35" fmla="*/ 43 h 370"/>
                <a:gd name="T36" fmla="*/ 39 w 373"/>
                <a:gd name="T37" fmla="*/ 37 h 370"/>
                <a:gd name="T38" fmla="*/ 39 w 373"/>
                <a:gd name="T39" fmla="*/ 23 h 370"/>
                <a:gd name="T40" fmla="*/ 41 w 373"/>
                <a:gd name="T41" fmla="*/ 7 h 370"/>
                <a:gd name="T42" fmla="*/ 39 w 373"/>
                <a:gd name="T43" fmla="*/ 6 h 370"/>
                <a:gd name="T44" fmla="*/ 36 w 373"/>
                <a:gd name="T45" fmla="*/ 12 h 370"/>
                <a:gd name="T46" fmla="*/ 32 w 373"/>
                <a:gd name="T47" fmla="*/ 12 h 370"/>
                <a:gd name="T48" fmla="*/ 27 w 373"/>
                <a:gd name="T49" fmla="*/ 14 h 370"/>
                <a:gd name="T50" fmla="*/ 22 w 373"/>
                <a:gd name="T51" fmla="*/ 24 h 370"/>
                <a:gd name="T52" fmla="*/ 19 w 373"/>
                <a:gd name="T53" fmla="*/ 32 h 370"/>
                <a:gd name="T54" fmla="*/ 16 w 373"/>
                <a:gd name="T55" fmla="*/ 37 h 370"/>
                <a:gd name="T56" fmla="*/ 16 w 373"/>
                <a:gd name="T57" fmla="*/ 37 h 370"/>
                <a:gd name="T58" fmla="*/ 17 w 373"/>
                <a:gd name="T59" fmla="*/ 69 h 370"/>
                <a:gd name="T60" fmla="*/ 17 w 373"/>
                <a:gd name="T61" fmla="*/ 73 h 370"/>
                <a:gd name="T62" fmla="*/ 19 w 373"/>
                <a:gd name="T63" fmla="*/ 78 h 370"/>
                <a:gd name="T64" fmla="*/ 19 w 373"/>
                <a:gd name="T65" fmla="*/ 82 h 370"/>
                <a:gd name="T66" fmla="*/ 19 w 373"/>
                <a:gd name="T67" fmla="*/ 87 h 370"/>
                <a:gd name="T68" fmla="*/ 17 w 373"/>
                <a:gd name="T69" fmla="*/ 87 h 370"/>
                <a:gd name="T70" fmla="*/ 14 w 373"/>
                <a:gd name="T71" fmla="*/ 91 h 370"/>
                <a:gd name="T72" fmla="*/ 13 w 373"/>
                <a:gd name="T73" fmla="*/ 96 h 370"/>
                <a:gd name="T74" fmla="*/ 12 w 373"/>
                <a:gd name="T75" fmla="*/ 100 h 370"/>
                <a:gd name="T76" fmla="*/ 11 w 373"/>
                <a:gd name="T77" fmla="*/ 103 h 370"/>
                <a:gd name="T78" fmla="*/ 9 w 373"/>
                <a:gd name="T79" fmla="*/ 110 h 370"/>
                <a:gd name="T80" fmla="*/ 7 w 373"/>
                <a:gd name="T81" fmla="*/ 118 h 370"/>
                <a:gd name="T82" fmla="*/ 5 w 373"/>
                <a:gd name="T83" fmla="*/ 120 h 370"/>
                <a:gd name="T84" fmla="*/ 5 w 373"/>
                <a:gd name="T85" fmla="*/ 124 h 370"/>
                <a:gd name="T86" fmla="*/ 5 w 373"/>
                <a:gd name="T87" fmla="*/ 134 h 370"/>
                <a:gd name="T88" fmla="*/ 0 w 373"/>
                <a:gd name="T89" fmla="*/ 155 h 370"/>
                <a:gd name="T90" fmla="*/ 23 w 373"/>
                <a:gd name="T91" fmla="*/ 253 h 370"/>
                <a:gd name="T92" fmla="*/ 26 w 373"/>
                <a:gd name="T93" fmla="*/ 268 h 370"/>
                <a:gd name="T94" fmla="*/ 30 w 373"/>
                <a:gd name="T95" fmla="*/ 281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3"/>
                <a:gd name="T145" fmla="*/ 0 h 370"/>
                <a:gd name="T146" fmla="*/ 373 w 373"/>
                <a:gd name="T147" fmla="*/ 370 h 3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17" name="Freeform 804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2897" y="1647"/>
              <a:ext cx="262" cy="275"/>
            </a:xfrm>
            <a:custGeom>
              <a:avLst/>
              <a:gdLst>
                <a:gd name="T0" fmla="*/ 0 w 877"/>
                <a:gd name="T1" fmla="*/ 0 h 826"/>
                <a:gd name="T2" fmla="*/ 0 w 877"/>
                <a:gd name="T3" fmla="*/ 0 h 826"/>
                <a:gd name="T4" fmla="*/ 0 w 877"/>
                <a:gd name="T5" fmla="*/ 0 h 826"/>
                <a:gd name="T6" fmla="*/ 0 w 877"/>
                <a:gd name="T7" fmla="*/ 0 h 826"/>
                <a:gd name="T8" fmla="*/ 0 w 877"/>
                <a:gd name="T9" fmla="*/ 0 h 826"/>
                <a:gd name="T10" fmla="*/ 0 w 877"/>
                <a:gd name="T11" fmla="*/ 0 h 826"/>
                <a:gd name="T12" fmla="*/ 0 w 877"/>
                <a:gd name="T13" fmla="*/ 0 h 826"/>
                <a:gd name="T14" fmla="*/ 0 w 877"/>
                <a:gd name="T15" fmla="*/ 0 h 826"/>
                <a:gd name="T16" fmla="*/ 0 w 877"/>
                <a:gd name="T17" fmla="*/ 0 h 826"/>
                <a:gd name="T18" fmla="*/ 0 w 877"/>
                <a:gd name="T19" fmla="*/ 0 h 826"/>
                <a:gd name="T20" fmla="*/ 0 w 877"/>
                <a:gd name="T21" fmla="*/ 0 h 826"/>
                <a:gd name="T22" fmla="*/ 0 w 877"/>
                <a:gd name="T23" fmla="*/ 0 h 826"/>
                <a:gd name="T24" fmla="*/ 0 w 877"/>
                <a:gd name="T25" fmla="*/ 0 h 826"/>
                <a:gd name="T26" fmla="*/ 0 w 877"/>
                <a:gd name="T27" fmla="*/ 0 h 826"/>
                <a:gd name="T28" fmla="*/ 0 w 877"/>
                <a:gd name="T29" fmla="*/ 0 h 826"/>
                <a:gd name="T30" fmla="*/ 0 w 877"/>
                <a:gd name="T31" fmla="*/ 0 h 826"/>
                <a:gd name="T32" fmla="*/ 0 w 877"/>
                <a:gd name="T33" fmla="*/ 0 h 826"/>
                <a:gd name="T34" fmla="*/ 0 w 877"/>
                <a:gd name="T35" fmla="*/ 0 h 826"/>
                <a:gd name="T36" fmla="*/ 0 w 877"/>
                <a:gd name="T37" fmla="*/ 0 h 826"/>
                <a:gd name="T38" fmla="*/ 0 w 877"/>
                <a:gd name="T39" fmla="*/ 0 h 826"/>
                <a:gd name="T40" fmla="*/ 0 w 877"/>
                <a:gd name="T41" fmla="*/ 0 h 826"/>
                <a:gd name="T42" fmla="*/ 0 w 877"/>
                <a:gd name="T43" fmla="*/ 0 h 826"/>
                <a:gd name="T44" fmla="*/ 0 w 877"/>
                <a:gd name="T45" fmla="*/ 0 h 826"/>
                <a:gd name="T46" fmla="*/ 0 w 877"/>
                <a:gd name="T47" fmla="*/ 0 h 826"/>
                <a:gd name="T48" fmla="*/ 0 w 877"/>
                <a:gd name="T49" fmla="*/ 0 h 826"/>
                <a:gd name="T50" fmla="*/ 0 w 877"/>
                <a:gd name="T51" fmla="*/ 0 h 826"/>
                <a:gd name="T52" fmla="*/ 0 w 877"/>
                <a:gd name="T53" fmla="*/ 0 h 826"/>
                <a:gd name="T54" fmla="*/ 0 w 877"/>
                <a:gd name="T55" fmla="*/ 0 h 826"/>
                <a:gd name="T56" fmla="*/ 0 w 877"/>
                <a:gd name="T57" fmla="*/ 0 h 826"/>
                <a:gd name="T58" fmla="*/ 0 w 877"/>
                <a:gd name="T59" fmla="*/ 0 h 826"/>
                <a:gd name="T60" fmla="*/ 0 w 877"/>
                <a:gd name="T61" fmla="*/ 0 h 826"/>
                <a:gd name="T62" fmla="*/ 0 w 877"/>
                <a:gd name="T63" fmla="*/ 0 h 826"/>
                <a:gd name="T64" fmla="*/ 0 w 877"/>
                <a:gd name="T65" fmla="*/ 0 h 826"/>
                <a:gd name="T66" fmla="*/ 0 w 877"/>
                <a:gd name="T67" fmla="*/ 0 h 826"/>
                <a:gd name="T68" fmla="*/ 0 w 877"/>
                <a:gd name="T69" fmla="*/ 0 h 826"/>
                <a:gd name="T70" fmla="*/ 0 w 877"/>
                <a:gd name="T71" fmla="*/ 0 h 826"/>
                <a:gd name="T72" fmla="*/ 0 w 877"/>
                <a:gd name="T73" fmla="*/ 0 h 826"/>
                <a:gd name="T74" fmla="*/ 0 w 877"/>
                <a:gd name="T75" fmla="*/ 0 h 826"/>
                <a:gd name="T76" fmla="*/ 0 w 877"/>
                <a:gd name="T77" fmla="*/ 0 h 826"/>
                <a:gd name="T78" fmla="*/ 0 w 877"/>
                <a:gd name="T79" fmla="*/ 0 h 826"/>
                <a:gd name="T80" fmla="*/ 0 w 877"/>
                <a:gd name="T81" fmla="*/ 0 h 826"/>
                <a:gd name="T82" fmla="*/ 0 w 877"/>
                <a:gd name="T83" fmla="*/ 0 h 826"/>
                <a:gd name="T84" fmla="*/ 0 w 877"/>
                <a:gd name="T85" fmla="*/ 0 h 826"/>
                <a:gd name="T86" fmla="*/ 0 w 877"/>
                <a:gd name="T87" fmla="*/ 0 h 826"/>
                <a:gd name="T88" fmla="*/ 0 w 877"/>
                <a:gd name="T89" fmla="*/ 0 h 826"/>
                <a:gd name="T90" fmla="*/ 0 w 877"/>
                <a:gd name="T91" fmla="*/ 0 h 826"/>
                <a:gd name="T92" fmla="*/ 0 w 877"/>
                <a:gd name="T93" fmla="*/ 0 h 826"/>
                <a:gd name="T94" fmla="*/ 0 w 877"/>
                <a:gd name="T95" fmla="*/ 0 h 826"/>
                <a:gd name="T96" fmla="*/ 0 w 877"/>
                <a:gd name="T97" fmla="*/ 0 h 826"/>
                <a:gd name="T98" fmla="*/ 0 w 877"/>
                <a:gd name="T99" fmla="*/ 0 h 826"/>
                <a:gd name="T100" fmla="*/ 0 w 877"/>
                <a:gd name="T101" fmla="*/ 0 h 826"/>
                <a:gd name="T102" fmla="*/ 0 w 877"/>
                <a:gd name="T103" fmla="*/ 0 h 826"/>
                <a:gd name="T104" fmla="*/ 0 w 877"/>
                <a:gd name="T105" fmla="*/ 0 h 826"/>
                <a:gd name="T106" fmla="*/ 0 w 877"/>
                <a:gd name="T107" fmla="*/ 0 h 826"/>
                <a:gd name="T108" fmla="*/ 0 w 877"/>
                <a:gd name="T109" fmla="*/ 0 h 826"/>
                <a:gd name="T110" fmla="*/ 0 w 877"/>
                <a:gd name="T111" fmla="*/ 0 h 826"/>
                <a:gd name="T112" fmla="*/ 0 w 877"/>
                <a:gd name="T113" fmla="*/ 0 h 826"/>
                <a:gd name="T114" fmla="*/ 0 w 877"/>
                <a:gd name="T115" fmla="*/ 0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77"/>
                <a:gd name="T175" fmla="*/ 0 h 826"/>
                <a:gd name="T176" fmla="*/ 877 w 877"/>
                <a:gd name="T177" fmla="*/ 826 h 8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18" name="Freeform 805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2864" y="1562"/>
              <a:ext cx="64" cy="149"/>
            </a:xfrm>
            <a:custGeom>
              <a:avLst/>
              <a:gdLst>
                <a:gd name="T0" fmla="*/ 0 w 206"/>
                <a:gd name="T1" fmla="*/ 0 h 455"/>
                <a:gd name="T2" fmla="*/ 0 w 206"/>
                <a:gd name="T3" fmla="*/ 0 h 455"/>
                <a:gd name="T4" fmla="*/ 0 w 206"/>
                <a:gd name="T5" fmla="*/ 0 h 455"/>
                <a:gd name="T6" fmla="*/ 0 w 206"/>
                <a:gd name="T7" fmla="*/ 0 h 455"/>
                <a:gd name="T8" fmla="*/ 0 w 206"/>
                <a:gd name="T9" fmla="*/ 0 h 455"/>
                <a:gd name="T10" fmla="*/ 0 w 206"/>
                <a:gd name="T11" fmla="*/ 0 h 455"/>
                <a:gd name="T12" fmla="*/ 0 w 206"/>
                <a:gd name="T13" fmla="*/ 0 h 455"/>
                <a:gd name="T14" fmla="*/ 0 w 206"/>
                <a:gd name="T15" fmla="*/ 0 h 455"/>
                <a:gd name="T16" fmla="*/ 0 w 206"/>
                <a:gd name="T17" fmla="*/ 0 h 455"/>
                <a:gd name="T18" fmla="*/ 0 w 206"/>
                <a:gd name="T19" fmla="*/ 0 h 455"/>
                <a:gd name="T20" fmla="*/ 0 w 206"/>
                <a:gd name="T21" fmla="*/ 0 h 455"/>
                <a:gd name="T22" fmla="*/ 0 w 206"/>
                <a:gd name="T23" fmla="*/ 0 h 455"/>
                <a:gd name="T24" fmla="*/ 0 w 206"/>
                <a:gd name="T25" fmla="*/ 0 h 455"/>
                <a:gd name="T26" fmla="*/ 0 w 206"/>
                <a:gd name="T27" fmla="*/ 0 h 455"/>
                <a:gd name="T28" fmla="*/ 0 w 206"/>
                <a:gd name="T29" fmla="*/ 0 h 455"/>
                <a:gd name="T30" fmla="*/ 0 w 206"/>
                <a:gd name="T31" fmla="*/ 0 h 455"/>
                <a:gd name="T32" fmla="*/ 0 w 206"/>
                <a:gd name="T33" fmla="*/ 0 h 455"/>
                <a:gd name="T34" fmla="*/ 0 w 206"/>
                <a:gd name="T35" fmla="*/ 0 h 455"/>
                <a:gd name="T36" fmla="*/ 0 w 206"/>
                <a:gd name="T37" fmla="*/ 0 h 455"/>
                <a:gd name="T38" fmla="*/ 0 w 206"/>
                <a:gd name="T39" fmla="*/ 0 h 455"/>
                <a:gd name="T40" fmla="*/ 0 w 206"/>
                <a:gd name="T41" fmla="*/ 0 h 455"/>
                <a:gd name="T42" fmla="*/ 0 w 206"/>
                <a:gd name="T43" fmla="*/ 0 h 455"/>
                <a:gd name="T44" fmla="*/ 0 w 206"/>
                <a:gd name="T45" fmla="*/ 0 h 455"/>
                <a:gd name="T46" fmla="*/ 0 w 206"/>
                <a:gd name="T47" fmla="*/ 0 h 455"/>
                <a:gd name="T48" fmla="*/ 0 w 206"/>
                <a:gd name="T49" fmla="*/ 0 h 455"/>
                <a:gd name="T50" fmla="*/ 0 w 206"/>
                <a:gd name="T51" fmla="*/ 0 h 455"/>
                <a:gd name="T52" fmla="*/ 0 w 206"/>
                <a:gd name="T53" fmla="*/ 0 h 455"/>
                <a:gd name="T54" fmla="*/ 0 w 206"/>
                <a:gd name="T55" fmla="*/ 0 h 455"/>
                <a:gd name="T56" fmla="*/ 0 w 206"/>
                <a:gd name="T57" fmla="*/ 0 h 455"/>
                <a:gd name="T58" fmla="*/ 0 w 206"/>
                <a:gd name="T59" fmla="*/ 0 h 455"/>
                <a:gd name="T60" fmla="*/ 0 w 206"/>
                <a:gd name="T61" fmla="*/ 0 h 455"/>
                <a:gd name="T62" fmla="*/ 0 w 206"/>
                <a:gd name="T63" fmla="*/ 0 h 455"/>
                <a:gd name="T64" fmla="*/ 0 w 206"/>
                <a:gd name="T65" fmla="*/ 0 h 455"/>
                <a:gd name="T66" fmla="*/ 0 w 206"/>
                <a:gd name="T67" fmla="*/ 0 h 455"/>
                <a:gd name="T68" fmla="*/ 0 w 206"/>
                <a:gd name="T69" fmla="*/ 0 h 455"/>
                <a:gd name="T70" fmla="*/ 0 w 206"/>
                <a:gd name="T71" fmla="*/ 0 h 455"/>
                <a:gd name="T72" fmla="*/ 0 w 206"/>
                <a:gd name="T73" fmla="*/ 0 h 455"/>
                <a:gd name="T74" fmla="*/ 0 w 206"/>
                <a:gd name="T75" fmla="*/ 0 h 455"/>
                <a:gd name="T76" fmla="*/ 0 w 206"/>
                <a:gd name="T77" fmla="*/ 0 h 455"/>
                <a:gd name="T78" fmla="*/ 0 w 206"/>
                <a:gd name="T79" fmla="*/ 0 h 455"/>
                <a:gd name="T80" fmla="*/ 0 w 206"/>
                <a:gd name="T81" fmla="*/ 0 h 455"/>
                <a:gd name="T82" fmla="*/ 0 w 206"/>
                <a:gd name="T83" fmla="*/ 0 h 455"/>
                <a:gd name="T84" fmla="*/ 0 w 206"/>
                <a:gd name="T85" fmla="*/ 0 h 455"/>
                <a:gd name="T86" fmla="*/ 0 w 206"/>
                <a:gd name="T87" fmla="*/ 0 h 455"/>
                <a:gd name="T88" fmla="*/ 0 w 206"/>
                <a:gd name="T89" fmla="*/ 0 h 455"/>
                <a:gd name="T90" fmla="*/ 0 w 206"/>
                <a:gd name="T91" fmla="*/ 0 h 455"/>
                <a:gd name="T92" fmla="*/ 0 w 206"/>
                <a:gd name="T93" fmla="*/ 0 h 455"/>
                <a:gd name="T94" fmla="*/ 0 w 206"/>
                <a:gd name="T95" fmla="*/ 0 h 455"/>
                <a:gd name="T96" fmla="*/ 0 w 206"/>
                <a:gd name="T97" fmla="*/ 0 h 455"/>
                <a:gd name="T98" fmla="*/ 0 w 206"/>
                <a:gd name="T99" fmla="*/ 0 h 455"/>
                <a:gd name="T100" fmla="*/ 0 w 206"/>
                <a:gd name="T101" fmla="*/ 0 h 455"/>
                <a:gd name="T102" fmla="*/ 0 w 206"/>
                <a:gd name="T103" fmla="*/ 0 h 455"/>
                <a:gd name="T104" fmla="*/ 0 w 206"/>
                <a:gd name="T105" fmla="*/ 0 h 455"/>
                <a:gd name="T106" fmla="*/ 0 w 206"/>
                <a:gd name="T107" fmla="*/ 0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6"/>
                <a:gd name="T163" fmla="*/ 0 h 455"/>
                <a:gd name="T164" fmla="*/ 206 w 206"/>
                <a:gd name="T165" fmla="*/ 455 h 45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19" name="Freeform 806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2443" y="1758"/>
              <a:ext cx="158" cy="136"/>
            </a:xfrm>
            <a:custGeom>
              <a:avLst/>
              <a:gdLst>
                <a:gd name="T0" fmla="*/ 0 w 518"/>
                <a:gd name="T1" fmla="*/ 0 h 406"/>
                <a:gd name="T2" fmla="*/ 0 w 518"/>
                <a:gd name="T3" fmla="*/ 0 h 406"/>
                <a:gd name="T4" fmla="*/ 0 w 518"/>
                <a:gd name="T5" fmla="*/ 0 h 406"/>
                <a:gd name="T6" fmla="*/ 0 w 518"/>
                <a:gd name="T7" fmla="*/ 0 h 406"/>
                <a:gd name="T8" fmla="*/ 0 w 518"/>
                <a:gd name="T9" fmla="*/ 0 h 406"/>
                <a:gd name="T10" fmla="*/ 0 w 518"/>
                <a:gd name="T11" fmla="*/ 0 h 406"/>
                <a:gd name="T12" fmla="*/ 0 w 518"/>
                <a:gd name="T13" fmla="*/ 0 h 406"/>
                <a:gd name="T14" fmla="*/ 0 w 518"/>
                <a:gd name="T15" fmla="*/ 0 h 406"/>
                <a:gd name="T16" fmla="*/ 0 w 518"/>
                <a:gd name="T17" fmla="*/ 0 h 406"/>
                <a:gd name="T18" fmla="*/ 0 w 518"/>
                <a:gd name="T19" fmla="*/ 0 h 406"/>
                <a:gd name="T20" fmla="*/ 0 w 518"/>
                <a:gd name="T21" fmla="*/ 0 h 406"/>
                <a:gd name="T22" fmla="*/ 0 w 518"/>
                <a:gd name="T23" fmla="*/ 0 h 406"/>
                <a:gd name="T24" fmla="*/ 0 w 518"/>
                <a:gd name="T25" fmla="*/ 0 h 406"/>
                <a:gd name="T26" fmla="*/ 0 w 518"/>
                <a:gd name="T27" fmla="*/ 0 h 406"/>
                <a:gd name="T28" fmla="*/ 0 w 518"/>
                <a:gd name="T29" fmla="*/ 0 h 406"/>
                <a:gd name="T30" fmla="*/ 0 w 518"/>
                <a:gd name="T31" fmla="*/ 0 h 406"/>
                <a:gd name="T32" fmla="*/ 0 w 518"/>
                <a:gd name="T33" fmla="*/ 0 h 406"/>
                <a:gd name="T34" fmla="*/ 0 w 518"/>
                <a:gd name="T35" fmla="*/ 0 h 406"/>
                <a:gd name="T36" fmla="*/ 0 w 518"/>
                <a:gd name="T37" fmla="*/ 0 h 406"/>
                <a:gd name="T38" fmla="*/ 0 w 518"/>
                <a:gd name="T39" fmla="*/ 0 h 406"/>
                <a:gd name="T40" fmla="*/ 0 w 518"/>
                <a:gd name="T41" fmla="*/ 0 h 406"/>
                <a:gd name="T42" fmla="*/ 0 w 518"/>
                <a:gd name="T43" fmla="*/ 0 h 406"/>
                <a:gd name="T44" fmla="*/ 0 w 518"/>
                <a:gd name="T45" fmla="*/ 0 h 406"/>
                <a:gd name="T46" fmla="*/ 0 w 518"/>
                <a:gd name="T47" fmla="*/ 0 h 406"/>
                <a:gd name="T48" fmla="*/ 0 w 518"/>
                <a:gd name="T49" fmla="*/ 0 h 406"/>
                <a:gd name="T50" fmla="*/ 0 w 518"/>
                <a:gd name="T51" fmla="*/ 0 h 406"/>
                <a:gd name="T52" fmla="*/ 0 w 518"/>
                <a:gd name="T53" fmla="*/ 0 h 406"/>
                <a:gd name="T54" fmla="*/ 0 w 518"/>
                <a:gd name="T55" fmla="*/ 0 h 406"/>
                <a:gd name="T56" fmla="*/ 0 w 518"/>
                <a:gd name="T57" fmla="*/ 0 h 406"/>
                <a:gd name="T58" fmla="*/ 0 w 518"/>
                <a:gd name="T59" fmla="*/ 0 h 406"/>
                <a:gd name="T60" fmla="*/ 0 w 518"/>
                <a:gd name="T61" fmla="*/ 0 h 406"/>
                <a:gd name="T62" fmla="*/ 0 w 518"/>
                <a:gd name="T63" fmla="*/ 0 h 406"/>
                <a:gd name="T64" fmla="*/ 0 w 518"/>
                <a:gd name="T65" fmla="*/ 0 h 406"/>
                <a:gd name="T66" fmla="*/ 0 w 518"/>
                <a:gd name="T67" fmla="*/ 0 h 406"/>
                <a:gd name="T68" fmla="*/ 0 w 518"/>
                <a:gd name="T69" fmla="*/ 0 h 406"/>
                <a:gd name="T70" fmla="*/ 0 w 518"/>
                <a:gd name="T71" fmla="*/ 0 h 406"/>
                <a:gd name="T72" fmla="*/ 0 w 518"/>
                <a:gd name="T73" fmla="*/ 0 h 406"/>
                <a:gd name="T74" fmla="*/ 0 w 518"/>
                <a:gd name="T75" fmla="*/ 0 h 406"/>
                <a:gd name="T76" fmla="*/ 0 w 518"/>
                <a:gd name="T77" fmla="*/ 0 h 406"/>
                <a:gd name="T78" fmla="*/ 0 w 518"/>
                <a:gd name="T79" fmla="*/ 0 h 406"/>
                <a:gd name="T80" fmla="*/ 0 w 518"/>
                <a:gd name="T81" fmla="*/ 0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18"/>
                <a:gd name="T124" fmla="*/ 0 h 406"/>
                <a:gd name="T125" fmla="*/ 518 w 518"/>
                <a:gd name="T126" fmla="*/ 406 h 40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20" name="Freeform 807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2421" y="1007"/>
              <a:ext cx="130" cy="59"/>
            </a:xfrm>
            <a:custGeom>
              <a:avLst/>
              <a:gdLst>
                <a:gd name="T0" fmla="*/ 0 w 446"/>
                <a:gd name="T1" fmla="*/ 0 h 178"/>
                <a:gd name="T2" fmla="*/ 0 w 446"/>
                <a:gd name="T3" fmla="*/ 0 h 178"/>
                <a:gd name="T4" fmla="*/ 0 w 446"/>
                <a:gd name="T5" fmla="*/ 0 h 178"/>
                <a:gd name="T6" fmla="*/ 0 w 446"/>
                <a:gd name="T7" fmla="*/ 0 h 178"/>
                <a:gd name="T8" fmla="*/ 0 w 446"/>
                <a:gd name="T9" fmla="*/ 0 h 178"/>
                <a:gd name="T10" fmla="*/ 0 w 446"/>
                <a:gd name="T11" fmla="*/ 0 h 178"/>
                <a:gd name="T12" fmla="*/ 0 w 446"/>
                <a:gd name="T13" fmla="*/ 0 h 178"/>
                <a:gd name="T14" fmla="*/ 0 w 446"/>
                <a:gd name="T15" fmla="*/ 0 h 178"/>
                <a:gd name="T16" fmla="*/ 0 w 446"/>
                <a:gd name="T17" fmla="*/ 0 h 178"/>
                <a:gd name="T18" fmla="*/ 0 w 446"/>
                <a:gd name="T19" fmla="*/ 0 h 178"/>
                <a:gd name="T20" fmla="*/ 0 w 446"/>
                <a:gd name="T21" fmla="*/ 0 h 178"/>
                <a:gd name="T22" fmla="*/ 0 w 446"/>
                <a:gd name="T23" fmla="*/ 0 h 178"/>
                <a:gd name="T24" fmla="*/ 0 w 446"/>
                <a:gd name="T25" fmla="*/ 0 h 178"/>
                <a:gd name="T26" fmla="*/ 0 w 446"/>
                <a:gd name="T27" fmla="*/ 0 h 178"/>
                <a:gd name="T28" fmla="*/ 0 w 446"/>
                <a:gd name="T29" fmla="*/ 0 h 178"/>
                <a:gd name="T30" fmla="*/ 0 w 446"/>
                <a:gd name="T31" fmla="*/ 0 h 178"/>
                <a:gd name="T32" fmla="*/ 0 w 446"/>
                <a:gd name="T33" fmla="*/ 0 h 178"/>
                <a:gd name="T34" fmla="*/ 0 w 446"/>
                <a:gd name="T35" fmla="*/ 0 h 178"/>
                <a:gd name="T36" fmla="*/ 0 w 446"/>
                <a:gd name="T37" fmla="*/ 0 h 178"/>
                <a:gd name="T38" fmla="*/ 0 w 446"/>
                <a:gd name="T39" fmla="*/ 0 h 178"/>
                <a:gd name="T40" fmla="*/ 0 w 446"/>
                <a:gd name="T41" fmla="*/ 0 h 178"/>
                <a:gd name="T42" fmla="*/ 0 w 446"/>
                <a:gd name="T43" fmla="*/ 0 h 178"/>
                <a:gd name="T44" fmla="*/ 0 w 446"/>
                <a:gd name="T45" fmla="*/ 0 h 178"/>
                <a:gd name="T46" fmla="*/ 0 w 446"/>
                <a:gd name="T47" fmla="*/ 0 h 178"/>
                <a:gd name="T48" fmla="*/ 0 w 446"/>
                <a:gd name="T49" fmla="*/ 0 h 178"/>
                <a:gd name="T50" fmla="*/ 0 w 446"/>
                <a:gd name="T51" fmla="*/ 0 h 178"/>
                <a:gd name="T52" fmla="*/ 0 w 446"/>
                <a:gd name="T53" fmla="*/ 0 h 178"/>
                <a:gd name="T54" fmla="*/ 0 w 446"/>
                <a:gd name="T55" fmla="*/ 0 h 178"/>
                <a:gd name="T56" fmla="*/ 0 w 446"/>
                <a:gd name="T57" fmla="*/ 0 h 178"/>
                <a:gd name="T58" fmla="*/ 0 w 446"/>
                <a:gd name="T59" fmla="*/ 0 h 178"/>
                <a:gd name="T60" fmla="*/ 0 w 446"/>
                <a:gd name="T61" fmla="*/ 0 h 178"/>
                <a:gd name="T62" fmla="*/ 0 w 446"/>
                <a:gd name="T63" fmla="*/ 0 h 178"/>
                <a:gd name="T64" fmla="*/ 0 w 446"/>
                <a:gd name="T65" fmla="*/ 0 h 178"/>
                <a:gd name="T66" fmla="*/ 0 w 446"/>
                <a:gd name="T67" fmla="*/ 0 h 178"/>
                <a:gd name="T68" fmla="*/ 0 w 446"/>
                <a:gd name="T69" fmla="*/ 0 h 178"/>
                <a:gd name="T70" fmla="*/ 0 w 446"/>
                <a:gd name="T71" fmla="*/ 0 h 178"/>
                <a:gd name="T72" fmla="*/ 0 w 446"/>
                <a:gd name="T73" fmla="*/ 0 h 178"/>
                <a:gd name="T74" fmla="*/ 0 w 446"/>
                <a:gd name="T75" fmla="*/ 0 h 178"/>
                <a:gd name="T76" fmla="*/ 0 w 446"/>
                <a:gd name="T77" fmla="*/ 0 h 178"/>
                <a:gd name="T78" fmla="*/ 0 w 446"/>
                <a:gd name="T79" fmla="*/ 0 h 178"/>
                <a:gd name="T80" fmla="*/ 0 w 446"/>
                <a:gd name="T81" fmla="*/ 0 h 178"/>
                <a:gd name="T82" fmla="*/ 0 w 446"/>
                <a:gd name="T83" fmla="*/ 0 h 178"/>
                <a:gd name="T84" fmla="*/ 0 w 446"/>
                <a:gd name="T85" fmla="*/ 0 h 178"/>
                <a:gd name="T86" fmla="*/ 0 w 446"/>
                <a:gd name="T87" fmla="*/ 0 h 178"/>
                <a:gd name="T88" fmla="*/ 0 w 446"/>
                <a:gd name="T89" fmla="*/ 0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46"/>
                <a:gd name="T136" fmla="*/ 0 h 178"/>
                <a:gd name="T137" fmla="*/ 446 w 446"/>
                <a:gd name="T138" fmla="*/ 178 h 17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21" name="Freeform 808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2962" y="1173"/>
              <a:ext cx="10" cy="36"/>
            </a:xfrm>
            <a:custGeom>
              <a:avLst/>
              <a:gdLst>
                <a:gd name="T0" fmla="*/ 0 w 28"/>
                <a:gd name="T1" fmla="*/ 0 h 73"/>
                <a:gd name="T2" fmla="*/ 0 w 28"/>
                <a:gd name="T3" fmla="*/ 0 h 73"/>
                <a:gd name="T4" fmla="*/ 0 w 28"/>
                <a:gd name="T5" fmla="*/ 0 h 73"/>
                <a:gd name="T6" fmla="*/ 0 w 28"/>
                <a:gd name="T7" fmla="*/ 0 h 73"/>
                <a:gd name="T8" fmla="*/ 0 w 28"/>
                <a:gd name="T9" fmla="*/ 0 h 73"/>
                <a:gd name="T10" fmla="*/ 0 w 28"/>
                <a:gd name="T11" fmla="*/ 0 h 73"/>
                <a:gd name="T12" fmla="*/ 0 w 28"/>
                <a:gd name="T13" fmla="*/ 0 h 73"/>
                <a:gd name="T14" fmla="*/ 0 w 28"/>
                <a:gd name="T15" fmla="*/ 0 h 73"/>
                <a:gd name="T16" fmla="*/ 0 w 28"/>
                <a:gd name="T17" fmla="*/ 0 h 73"/>
                <a:gd name="T18" fmla="*/ 0 w 28"/>
                <a:gd name="T19" fmla="*/ 0 h 73"/>
                <a:gd name="T20" fmla="*/ 0 w 28"/>
                <a:gd name="T21" fmla="*/ 0 h 73"/>
                <a:gd name="T22" fmla="*/ 0 w 28"/>
                <a:gd name="T23" fmla="*/ 0 h 73"/>
                <a:gd name="T24" fmla="*/ 0 w 28"/>
                <a:gd name="T25" fmla="*/ 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8"/>
                <a:gd name="T40" fmla="*/ 0 h 73"/>
                <a:gd name="T41" fmla="*/ 28 w 28"/>
                <a:gd name="T42" fmla="*/ 73 h 7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22" name="Freeform 809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2885" y="961"/>
              <a:ext cx="160" cy="249"/>
            </a:xfrm>
            <a:custGeom>
              <a:avLst/>
              <a:gdLst>
                <a:gd name="T0" fmla="*/ 0 w 531"/>
                <a:gd name="T1" fmla="*/ 0 h 757"/>
                <a:gd name="T2" fmla="*/ 0 w 531"/>
                <a:gd name="T3" fmla="*/ 0 h 757"/>
                <a:gd name="T4" fmla="*/ 0 w 531"/>
                <a:gd name="T5" fmla="*/ 0 h 757"/>
                <a:gd name="T6" fmla="*/ 0 w 531"/>
                <a:gd name="T7" fmla="*/ 0 h 757"/>
                <a:gd name="T8" fmla="*/ 0 w 531"/>
                <a:gd name="T9" fmla="*/ 0 h 757"/>
                <a:gd name="T10" fmla="*/ 0 w 531"/>
                <a:gd name="T11" fmla="*/ 0 h 757"/>
                <a:gd name="T12" fmla="*/ 0 w 531"/>
                <a:gd name="T13" fmla="*/ 0 h 757"/>
                <a:gd name="T14" fmla="*/ 0 w 531"/>
                <a:gd name="T15" fmla="*/ 0 h 757"/>
                <a:gd name="T16" fmla="*/ 0 w 531"/>
                <a:gd name="T17" fmla="*/ 0 h 757"/>
                <a:gd name="T18" fmla="*/ 0 w 531"/>
                <a:gd name="T19" fmla="*/ 0 h 757"/>
                <a:gd name="T20" fmla="*/ 0 w 531"/>
                <a:gd name="T21" fmla="*/ 0 h 757"/>
                <a:gd name="T22" fmla="*/ 0 w 531"/>
                <a:gd name="T23" fmla="*/ 0 h 757"/>
                <a:gd name="T24" fmla="*/ 0 w 531"/>
                <a:gd name="T25" fmla="*/ 0 h 757"/>
                <a:gd name="T26" fmla="*/ 0 w 531"/>
                <a:gd name="T27" fmla="*/ 0 h 757"/>
                <a:gd name="T28" fmla="*/ 0 w 531"/>
                <a:gd name="T29" fmla="*/ 0 h 757"/>
                <a:gd name="T30" fmla="*/ 0 w 531"/>
                <a:gd name="T31" fmla="*/ 0 h 757"/>
                <a:gd name="T32" fmla="*/ 0 w 531"/>
                <a:gd name="T33" fmla="*/ 0 h 757"/>
                <a:gd name="T34" fmla="*/ 0 w 531"/>
                <a:gd name="T35" fmla="*/ 0 h 757"/>
                <a:gd name="T36" fmla="*/ 0 w 531"/>
                <a:gd name="T37" fmla="*/ 0 h 757"/>
                <a:gd name="T38" fmla="*/ 0 w 531"/>
                <a:gd name="T39" fmla="*/ 0 h 757"/>
                <a:gd name="T40" fmla="*/ 0 w 531"/>
                <a:gd name="T41" fmla="*/ 0 h 757"/>
                <a:gd name="T42" fmla="*/ 0 w 531"/>
                <a:gd name="T43" fmla="*/ 0 h 757"/>
                <a:gd name="T44" fmla="*/ 0 w 531"/>
                <a:gd name="T45" fmla="*/ 0 h 757"/>
                <a:gd name="T46" fmla="*/ 0 w 531"/>
                <a:gd name="T47" fmla="*/ 0 h 757"/>
                <a:gd name="T48" fmla="*/ 0 w 531"/>
                <a:gd name="T49" fmla="*/ 0 h 757"/>
                <a:gd name="T50" fmla="*/ 0 w 531"/>
                <a:gd name="T51" fmla="*/ 0 h 757"/>
                <a:gd name="T52" fmla="*/ 0 w 531"/>
                <a:gd name="T53" fmla="*/ 0 h 757"/>
                <a:gd name="T54" fmla="*/ 0 w 531"/>
                <a:gd name="T55" fmla="*/ 0 h 757"/>
                <a:gd name="T56" fmla="*/ 0 w 531"/>
                <a:gd name="T57" fmla="*/ 0 h 757"/>
                <a:gd name="T58" fmla="*/ 0 w 531"/>
                <a:gd name="T59" fmla="*/ 0 h 757"/>
                <a:gd name="T60" fmla="*/ 0 w 531"/>
                <a:gd name="T61" fmla="*/ 0 h 757"/>
                <a:gd name="T62" fmla="*/ 0 w 531"/>
                <a:gd name="T63" fmla="*/ 0 h 757"/>
                <a:gd name="T64" fmla="*/ 0 w 531"/>
                <a:gd name="T65" fmla="*/ 0 h 757"/>
                <a:gd name="T66" fmla="*/ 0 w 531"/>
                <a:gd name="T67" fmla="*/ 0 h 757"/>
                <a:gd name="T68" fmla="*/ 0 w 531"/>
                <a:gd name="T69" fmla="*/ 0 h 757"/>
                <a:gd name="T70" fmla="*/ 0 w 531"/>
                <a:gd name="T71" fmla="*/ 0 h 757"/>
                <a:gd name="T72" fmla="*/ 0 w 531"/>
                <a:gd name="T73" fmla="*/ 0 h 757"/>
                <a:gd name="T74" fmla="*/ 0 w 531"/>
                <a:gd name="T75" fmla="*/ 0 h 757"/>
                <a:gd name="T76" fmla="*/ 0 w 531"/>
                <a:gd name="T77" fmla="*/ 0 h 757"/>
                <a:gd name="T78" fmla="*/ 0 w 531"/>
                <a:gd name="T79" fmla="*/ 0 h 757"/>
                <a:gd name="T80" fmla="*/ 0 w 531"/>
                <a:gd name="T81" fmla="*/ 0 h 757"/>
                <a:gd name="T82" fmla="*/ 0 w 531"/>
                <a:gd name="T83" fmla="*/ 0 h 757"/>
                <a:gd name="T84" fmla="*/ 0 w 531"/>
                <a:gd name="T85" fmla="*/ 0 h 757"/>
                <a:gd name="T86" fmla="*/ 0 w 531"/>
                <a:gd name="T87" fmla="*/ 0 h 757"/>
                <a:gd name="T88" fmla="*/ 0 w 531"/>
                <a:gd name="T89" fmla="*/ 0 h 757"/>
                <a:gd name="T90" fmla="*/ 0 w 531"/>
                <a:gd name="T91" fmla="*/ 0 h 757"/>
                <a:gd name="T92" fmla="*/ 0 w 531"/>
                <a:gd name="T93" fmla="*/ 0 h 757"/>
                <a:gd name="T94" fmla="*/ 0 w 531"/>
                <a:gd name="T95" fmla="*/ 0 h 757"/>
                <a:gd name="T96" fmla="*/ 0 w 531"/>
                <a:gd name="T97" fmla="*/ 0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31"/>
                <a:gd name="T148" fmla="*/ 0 h 757"/>
                <a:gd name="T149" fmla="*/ 531 w 531"/>
                <a:gd name="T150" fmla="*/ 757 h 75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23" name="Freeform 810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2979" y="1159"/>
              <a:ext cx="19" cy="36"/>
            </a:xfrm>
            <a:custGeom>
              <a:avLst/>
              <a:gdLst>
                <a:gd name="T0" fmla="*/ 0 w 60"/>
                <a:gd name="T1" fmla="*/ 1 h 51"/>
                <a:gd name="T2" fmla="*/ 0 w 60"/>
                <a:gd name="T3" fmla="*/ 1 h 51"/>
                <a:gd name="T4" fmla="*/ 0 w 60"/>
                <a:gd name="T5" fmla="*/ 1 h 51"/>
                <a:gd name="T6" fmla="*/ 0 w 60"/>
                <a:gd name="T7" fmla="*/ 1 h 51"/>
                <a:gd name="T8" fmla="*/ 0 w 60"/>
                <a:gd name="T9" fmla="*/ 1 h 51"/>
                <a:gd name="T10" fmla="*/ 0 w 60"/>
                <a:gd name="T11" fmla="*/ 1 h 51"/>
                <a:gd name="T12" fmla="*/ 0 w 60"/>
                <a:gd name="T13" fmla="*/ 0 h 51"/>
                <a:gd name="T14" fmla="*/ 0 w 60"/>
                <a:gd name="T15" fmla="*/ 1 h 51"/>
                <a:gd name="T16" fmla="*/ 0 w 60"/>
                <a:gd name="T17" fmla="*/ 1 h 51"/>
                <a:gd name="T18" fmla="*/ 0 w 60"/>
                <a:gd name="T19" fmla="*/ 1 h 51"/>
                <a:gd name="T20" fmla="*/ 0 w 60"/>
                <a:gd name="T21" fmla="*/ 1 h 51"/>
                <a:gd name="T22" fmla="*/ 0 w 60"/>
                <a:gd name="T23" fmla="*/ 1 h 51"/>
                <a:gd name="T24" fmla="*/ 0 w 60"/>
                <a:gd name="T25" fmla="*/ 1 h 51"/>
                <a:gd name="T26" fmla="*/ 0 w 60"/>
                <a:gd name="T27" fmla="*/ 1 h 51"/>
                <a:gd name="T28" fmla="*/ 0 w 60"/>
                <a:gd name="T29" fmla="*/ 1 h 51"/>
                <a:gd name="T30" fmla="*/ 0 w 60"/>
                <a:gd name="T31" fmla="*/ 1 h 51"/>
                <a:gd name="T32" fmla="*/ 0 w 60"/>
                <a:gd name="T33" fmla="*/ 1 h 51"/>
                <a:gd name="T34" fmla="*/ 0 w 60"/>
                <a:gd name="T35" fmla="*/ 1 h 51"/>
                <a:gd name="T36" fmla="*/ 0 w 60"/>
                <a:gd name="T37" fmla="*/ 1 h 51"/>
                <a:gd name="T38" fmla="*/ 0 w 60"/>
                <a:gd name="T39" fmla="*/ 1 h 51"/>
                <a:gd name="T40" fmla="*/ 0 w 60"/>
                <a:gd name="T41" fmla="*/ 1 h 51"/>
                <a:gd name="T42" fmla="*/ 0 w 60"/>
                <a:gd name="T43" fmla="*/ 1 h 51"/>
                <a:gd name="T44" fmla="*/ 0 w 60"/>
                <a:gd name="T45" fmla="*/ 1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0"/>
                <a:gd name="T70" fmla="*/ 0 h 51"/>
                <a:gd name="T71" fmla="*/ 60 w 60"/>
                <a:gd name="T72" fmla="*/ 51 h 5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24" name="Freeform 811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2600" y="1261"/>
              <a:ext cx="20" cy="36"/>
            </a:xfrm>
            <a:custGeom>
              <a:avLst/>
              <a:gdLst>
                <a:gd name="T0" fmla="*/ 0 w 66"/>
                <a:gd name="T1" fmla="*/ 1 h 51"/>
                <a:gd name="T2" fmla="*/ 0 w 66"/>
                <a:gd name="T3" fmla="*/ 1 h 51"/>
                <a:gd name="T4" fmla="*/ 0 w 66"/>
                <a:gd name="T5" fmla="*/ 1 h 51"/>
                <a:gd name="T6" fmla="*/ 0 w 66"/>
                <a:gd name="T7" fmla="*/ 1 h 51"/>
                <a:gd name="T8" fmla="*/ 0 w 66"/>
                <a:gd name="T9" fmla="*/ 1 h 51"/>
                <a:gd name="T10" fmla="*/ 0 w 66"/>
                <a:gd name="T11" fmla="*/ 1 h 51"/>
                <a:gd name="T12" fmla="*/ 0 w 66"/>
                <a:gd name="T13" fmla="*/ 1 h 51"/>
                <a:gd name="T14" fmla="*/ 0 w 66"/>
                <a:gd name="T15" fmla="*/ 1 h 51"/>
                <a:gd name="T16" fmla="*/ 0 w 66"/>
                <a:gd name="T17" fmla="*/ 1 h 51"/>
                <a:gd name="T18" fmla="*/ 0 w 66"/>
                <a:gd name="T19" fmla="*/ 1 h 51"/>
                <a:gd name="T20" fmla="*/ 0 w 66"/>
                <a:gd name="T21" fmla="*/ 1 h 51"/>
                <a:gd name="T22" fmla="*/ 0 w 66"/>
                <a:gd name="T23" fmla="*/ 1 h 51"/>
                <a:gd name="T24" fmla="*/ 0 w 66"/>
                <a:gd name="T25" fmla="*/ 1 h 51"/>
                <a:gd name="T26" fmla="*/ 0 w 66"/>
                <a:gd name="T27" fmla="*/ 1 h 51"/>
                <a:gd name="T28" fmla="*/ 0 w 66"/>
                <a:gd name="T29" fmla="*/ 1 h 51"/>
                <a:gd name="T30" fmla="*/ 0 w 66"/>
                <a:gd name="T31" fmla="*/ 1 h 51"/>
                <a:gd name="T32" fmla="*/ 0 w 66"/>
                <a:gd name="T33" fmla="*/ 0 h 51"/>
                <a:gd name="T34" fmla="*/ 0 w 66"/>
                <a:gd name="T35" fmla="*/ 1 h 51"/>
                <a:gd name="T36" fmla="*/ 0 w 66"/>
                <a:gd name="T37" fmla="*/ 1 h 51"/>
                <a:gd name="T38" fmla="*/ 0 w 66"/>
                <a:gd name="T39" fmla="*/ 1 h 51"/>
                <a:gd name="T40" fmla="*/ 0 w 66"/>
                <a:gd name="T41" fmla="*/ 0 h 51"/>
                <a:gd name="T42" fmla="*/ 0 w 66"/>
                <a:gd name="T43" fmla="*/ 1 h 51"/>
                <a:gd name="T44" fmla="*/ 0 w 66"/>
                <a:gd name="T45" fmla="*/ 1 h 51"/>
                <a:gd name="T46" fmla="*/ 0 w 66"/>
                <a:gd name="T47" fmla="*/ 1 h 51"/>
                <a:gd name="T48" fmla="*/ 0 w 66"/>
                <a:gd name="T49" fmla="*/ 1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6"/>
                <a:gd name="T76" fmla="*/ 0 h 51"/>
                <a:gd name="T77" fmla="*/ 66 w 66"/>
                <a:gd name="T78" fmla="*/ 51 h 5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25" name="Freeform 812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3250" y="1594"/>
              <a:ext cx="35" cy="36"/>
            </a:xfrm>
            <a:custGeom>
              <a:avLst/>
              <a:gdLst>
                <a:gd name="T0" fmla="*/ 0 w 113"/>
                <a:gd name="T1" fmla="*/ 0 h 74"/>
                <a:gd name="T2" fmla="*/ 0 w 113"/>
                <a:gd name="T3" fmla="*/ 0 h 74"/>
                <a:gd name="T4" fmla="*/ 0 w 113"/>
                <a:gd name="T5" fmla="*/ 0 h 74"/>
                <a:gd name="T6" fmla="*/ 0 w 113"/>
                <a:gd name="T7" fmla="*/ 0 h 74"/>
                <a:gd name="T8" fmla="*/ 0 w 113"/>
                <a:gd name="T9" fmla="*/ 0 h 74"/>
                <a:gd name="T10" fmla="*/ 0 w 113"/>
                <a:gd name="T11" fmla="*/ 0 h 74"/>
                <a:gd name="T12" fmla="*/ 0 w 113"/>
                <a:gd name="T13" fmla="*/ 0 h 74"/>
                <a:gd name="T14" fmla="*/ 0 w 113"/>
                <a:gd name="T15" fmla="*/ 0 h 74"/>
                <a:gd name="T16" fmla="*/ 0 w 113"/>
                <a:gd name="T17" fmla="*/ 0 h 74"/>
                <a:gd name="T18" fmla="*/ 0 w 113"/>
                <a:gd name="T19" fmla="*/ 0 h 74"/>
                <a:gd name="T20" fmla="*/ 0 w 113"/>
                <a:gd name="T21" fmla="*/ 0 h 74"/>
                <a:gd name="T22" fmla="*/ 0 w 113"/>
                <a:gd name="T23" fmla="*/ 0 h 74"/>
                <a:gd name="T24" fmla="*/ 0 w 113"/>
                <a:gd name="T25" fmla="*/ 0 h 74"/>
                <a:gd name="T26" fmla="*/ 0 w 113"/>
                <a:gd name="T27" fmla="*/ 0 h 74"/>
                <a:gd name="T28" fmla="*/ 0 w 113"/>
                <a:gd name="T29" fmla="*/ 0 h 74"/>
                <a:gd name="T30" fmla="*/ 0 w 113"/>
                <a:gd name="T31" fmla="*/ 0 h 74"/>
                <a:gd name="T32" fmla="*/ 0 w 113"/>
                <a:gd name="T33" fmla="*/ 0 h 74"/>
                <a:gd name="T34" fmla="*/ 0 w 113"/>
                <a:gd name="T35" fmla="*/ 0 h 74"/>
                <a:gd name="T36" fmla="*/ 0 w 113"/>
                <a:gd name="T37" fmla="*/ 0 h 74"/>
                <a:gd name="T38" fmla="*/ 0 w 113"/>
                <a:gd name="T39" fmla="*/ 0 h 74"/>
                <a:gd name="T40" fmla="*/ 0 w 113"/>
                <a:gd name="T41" fmla="*/ 0 h 74"/>
                <a:gd name="T42" fmla="*/ 0 w 113"/>
                <a:gd name="T43" fmla="*/ 0 h 74"/>
                <a:gd name="T44" fmla="*/ 0 w 113"/>
                <a:gd name="T45" fmla="*/ 0 h 74"/>
                <a:gd name="T46" fmla="*/ 0 w 113"/>
                <a:gd name="T47" fmla="*/ 0 h 74"/>
                <a:gd name="T48" fmla="*/ 0 w 113"/>
                <a:gd name="T49" fmla="*/ 0 h 74"/>
                <a:gd name="T50" fmla="*/ 0 w 113"/>
                <a:gd name="T51" fmla="*/ 0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3"/>
                <a:gd name="T79" fmla="*/ 0 h 74"/>
                <a:gd name="T80" fmla="*/ 113 w 113"/>
                <a:gd name="T81" fmla="*/ 74 h 7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26" name="Freeform 813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2982" y="2093"/>
              <a:ext cx="223" cy="154"/>
            </a:xfrm>
            <a:custGeom>
              <a:avLst/>
              <a:gdLst>
                <a:gd name="T0" fmla="*/ 0 w 746"/>
                <a:gd name="T1" fmla="*/ 0 h 469"/>
                <a:gd name="T2" fmla="*/ 0 w 746"/>
                <a:gd name="T3" fmla="*/ 0 h 469"/>
                <a:gd name="T4" fmla="*/ 0 w 746"/>
                <a:gd name="T5" fmla="*/ 0 h 469"/>
                <a:gd name="T6" fmla="*/ 0 w 746"/>
                <a:gd name="T7" fmla="*/ 0 h 469"/>
                <a:gd name="T8" fmla="*/ 0 w 746"/>
                <a:gd name="T9" fmla="*/ 0 h 469"/>
                <a:gd name="T10" fmla="*/ 0 w 746"/>
                <a:gd name="T11" fmla="*/ 0 h 469"/>
                <a:gd name="T12" fmla="*/ 0 w 746"/>
                <a:gd name="T13" fmla="*/ 0 h 469"/>
                <a:gd name="T14" fmla="*/ 0 w 746"/>
                <a:gd name="T15" fmla="*/ 0 h 469"/>
                <a:gd name="T16" fmla="*/ 0 w 746"/>
                <a:gd name="T17" fmla="*/ 0 h 469"/>
                <a:gd name="T18" fmla="*/ 0 w 746"/>
                <a:gd name="T19" fmla="*/ 0 h 469"/>
                <a:gd name="T20" fmla="*/ 0 w 746"/>
                <a:gd name="T21" fmla="*/ 0 h 469"/>
                <a:gd name="T22" fmla="*/ 0 w 746"/>
                <a:gd name="T23" fmla="*/ 0 h 469"/>
                <a:gd name="T24" fmla="*/ 0 w 746"/>
                <a:gd name="T25" fmla="*/ 0 h 469"/>
                <a:gd name="T26" fmla="*/ 0 w 746"/>
                <a:gd name="T27" fmla="*/ 0 h 469"/>
                <a:gd name="T28" fmla="*/ 0 w 746"/>
                <a:gd name="T29" fmla="*/ 0 h 469"/>
                <a:gd name="T30" fmla="*/ 0 w 746"/>
                <a:gd name="T31" fmla="*/ 0 h 469"/>
                <a:gd name="T32" fmla="*/ 0 w 746"/>
                <a:gd name="T33" fmla="*/ 0 h 469"/>
                <a:gd name="T34" fmla="*/ 0 w 746"/>
                <a:gd name="T35" fmla="*/ 0 h 469"/>
                <a:gd name="T36" fmla="*/ 0 w 746"/>
                <a:gd name="T37" fmla="*/ 0 h 469"/>
                <a:gd name="T38" fmla="*/ 0 w 746"/>
                <a:gd name="T39" fmla="*/ 0 h 469"/>
                <a:gd name="T40" fmla="*/ 0 w 746"/>
                <a:gd name="T41" fmla="*/ 0 h 469"/>
                <a:gd name="T42" fmla="*/ 0 w 746"/>
                <a:gd name="T43" fmla="*/ 0 h 469"/>
                <a:gd name="T44" fmla="*/ 0 w 746"/>
                <a:gd name="T45" fmla="*/ 0 h 469"/>
                <a:gd name="T46" fmla="*/ 0 w 746"/>
                <a:gd name="T47" fmla="*/ 0 h 469"/>
                <a:gd name="T48" fmla="*/ 0 w 746"/>
                <a:gd name="T49" fmla="*/ 0 h 469"/>
                <a:gd name="T50" fmla="*/ 0 w 746"/>
                <a:gd name="T51" fmla="*/ 0 h 469"/>
                <a:gd name="T52" fmla="*/ 0 w 746"/>
                <a:gd name="T53" fmla="*/ 0 h 469"/>
                <a:gd name="T54" fmla="*/ 0 w 746"/>
                <a:gd name="T55" fmla="*/ 0 h 469"/>
                <a:gd name="T56" fmla="*/ 0 w 746"/>
                <a:gd name="T57" fmla="*/ 0 h 469"/>
                <a:gd name="T58" fmla="*/ 0 w 746"/>
                <a:gd name="T59" fmla="*/ 0 h 469"/>
                <a:gd name="T60" fmla="*/ 0 w 746"/>
                <a:gd name="T61" fmla="*/ 0 h 469"/>
                <a:gd name="T62" fmla="*/ 0 w 746"/>
                <a:gd name="T63" fmla="*/ 0 h 469"/>
                <a:gd name="T64" fmla="*/ 0 w 746"/>
                <a:gd name="T65" fmla="*/ 0 h 469"/>
                <a:gd name="T66" fmla="*/ 0 w 746"/>
                <a:gd name="T67" fmla="*/ 0 h 469"/>
                <a:gd name="T68" fmla="*/ 0 w 746"/>
                <a:gd name="T69" fmla="*/ 0 h 469"/>
                <a:gd name="T70" fmla="*/ 0 w 746"/>
                <a:gd name="T71" fmla="*/ 0 h 469"/>
                <a:gd name="T72" fmla="*/ 0 w 746"/>
                <a:gd name="T73" fmla="*/ 0 h 469"/>
                <a:gd name="T74" fmla="*/ 0 w 746"/>
                <a:gd name="T75" fmla="*/ 0 h 469"/>
                <a:gd name="T76" fmla="*/ 0 w 746"/>
                <a:gd name="T77" fmla="*/ 0 h 469"/>
                <a:gd name="T78" fmla="*/ 0 w 746"/>
                <a:gd name="T79" fmla="*/ 0 h 469"/>
                <a:gd name="T80" fmla="*/ 0 w 746"/>
                <a:gd name="T81" fmla="*/ 0 h 469"/>
                <a:gd name="T82" fmla="*/ 0 w 746"/>
                <a:gd name="T83" fmla="*/ 0 h 469"/>
                <a:gd name="T84" fmla="*/ 0 w 746"/>
                <a:gd name="T85" fmla="*/ 0 h 469"/>
                <a:gd name="T86" fmla="*/ 0 w 746"/>
                <a:gd name="T87" fmla="*/ 0 h 469"/>
                <a:gd name="T88" fmla="*/ 0 w 746"/>
                <a:gd name="T89" fmla="*/ 0 h 469"/>
                <a:gd name="T90" fmla="*/ 0 w 746"/>
                <a:gd name="T91" fmla="*/ 0 h 469"/>
                <a:gd name="T92" fmla="*/ 0 w 746"/>
                <a:gd name="T93" fmla="*/ 0 h 469"/>
                <a:gd name="T94" fmla="*/ 0 w 746"/>
                <a:gd name="T95" fmla="*/ 0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46"/>
                <a:gd name="T145" fmla="*/ 0 h 469"/>
                <a:gd name="T146" fmla="*/ 746 w 746"/>
                <a:gd name="T147" fmla="*/ 469 h 46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27" name="Freeform 814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2939" y="2199"/>
              <a:ext cx="341" cy="348"/>
            </a:xfrm>
            <a:custGeom>
              <a:avLst/>
              <a:gdLst>
                <a:gd name="T0" fmla="*/ 0 w 1145"/>
                <a:gd name="T1" fmla="*/ 0 h 1053"/>
                <a:gd name="T2" fmla="*/ 0 w 1145"/>
                <a:gd name="T3" fmla="*/ 0 h 1053"/>
                <a:gd name="T4" fmla="*/ 0 w 1145"/>
                <a:gd name="T5" fmla="*/ 0 h 1053"/>
                <a:gd name="T6" fmla="*/ 0 w 1145"/>
                <a:gd name="T7" fmla="*/ 0 h 1053"/>
                <a:gd name="T8" fmla="*/ 0 w 1145"/>
                <a:gd name="T9" fmla="*/ 0 h 1053"/>
                <a:gd name="T10" fmla="*/ 0 w 1145"/>
                <a:gd name="T11" fmla="*/ 0 h 1053"/>
                <a:gd name="T12" fmla="*/ 0 w 1145"/>
                <a:gd name="T13" fmla="*/ 0 h 1053"/>
                <a:gd name="T14" fmla="*/ 0 w 1145"/>
                <a:gd name="T15" fmla="*/ 0 h 1053"/>
                <a:gd name="T16" fmla="*/ 0 w 1145"/>
                <a:gd name="T17" fmla="*/ 0 h 1053"/>
                <a:gd name="T18" fmla="*/ 0 w 1145"/>
                <a:gd name="T19" fmla="*/ 0 h 1053"/>
                <a:gd name="T20" fmla="*/ 0 w 1145"/>
                <a:gd name="T21" fmla="*/ 0 h 1053"/>
                <a:gd name="T22" fmla="*/ 0 w 1145"/>
                <a:gd name="T23" fmla="*/ 0 h 1053"/>
                <a:gd name="T24" fmla="*/ 0 w 1145"/>
                <a:gd name="T25" fmla="*/ 0 h 1053"/>
                <a:gd name="T26" fmla="*/ 0 w 1145"/>
                <a:gd name="T27" fmla="*/ 0 h 1053"/>
                <a:gd name="T28" fmla="*/ 0 w 1145"/>
                <a:gd name="T29" fmla="*/ 0 h 1053"/>
                <a:gd name="T30" fmla="*/ 0 w 1145"/>
                <a:gd name="T31" fmla="*/ 0 h 1053"/>
                <a:gd name="T32" fmla="*/ 0 w 1145"/>
                <a:gd name="T33" fmla="*/ 0 h 1053"/>
                <a:gd name="T34" fmla="*/ 0 w 1145"/>
                <a:gd name="T35" fmla="*/ 0 h 1053"/>
                <a:gd name="T36" fmla="*/ 0 w 1145"/>
                <a:gd name="T37" fmla="*/ 0 h 1053"/>
                <a:gd name="T38" fmla="*/ 0 w 1145"/>
                <a:gd name="T39" fmla="*/ 0 h 1053"/>
                <a:gd name="T40" fmla="*/ 0 w 1145"/>
                <a:gd name="T41" fmla="*/ 0 h 1053"/>
                <a:gd name="T42" fmla="*/ 0 w 1145"/>
                <a:gd name="T43" fmla="*/ 0 h 1053"/>
                <a:gd name="T44" fmla="*/ 0 w 1145"/>
                <a:gd name="T45" fmla="*/ 0 h 1053"/>
                <a:gd name="T46" fmla="*/ 0 w 1145"/>
                <a:gd name="T47" fmla="*/ 0 h 1053"/>
                <a:gd name="T48" fmla="*/ 0 w 1145"/>
                <a:gd name="T49" fmla="*/ 0 h 1053"/>
                <a:gd name="T50" fmla="*/ 0 w 1145"/>
                <a:gd name="T51" fmla="*/ 0 h 1053"/>
                <a:gd name="T52" fmla="*/ 0 w 1145"/>
                <a:gd name="T53" fmla="*/ 0 h 1053"/>
                <a:gd name="T54" fmla="*/ 0 w 1145"/>
                <a:gd name="T55" fmla="*/ 0 h 1053"/>
                <a:gd name="T56" fmla="*/ 0 w 1145"/>
                <a:gd name="T57" fmla="*/ 0 h 1053"/>
                <a:gd name="T58" fmla="*/ 0 w 1145"/>
                <a:gd name="T59" fmla="*/ 0 h 1053"/>
                <a:gd name="T60" fmla="*/ 0 w 1145"/>
                <a:gd name="T61" fmla="*/ 0 h 1053"/>
                <a:gd name="T62" fmla="*/ 0 w 1145"/>
                <a:gd name="T63" fmla="*/ 0 h 1053"/>
                <a:gd name="T64" fmla="*/ 0 w 1145"/>
                <a:gd name="T65" fmla="*/ 0 h 1053"/>
                <a:gd name="T66" fmla="*/ 0 w 1145"/>
                <a:gd name="T67" fmla="*/ 0 h 1053"/>
                <a:gd name="T68" fmla="*/ 0 w 1145"/>
                <a:gd name="T69" fmla="*/ 0 h 1053"/>
                <a:gd name="T70" fmla="*/ 0 w 1145"/>
                <a:gd name="T71" fmla="*/ 0 h 1053"/>
                <a:gd name="T72" fmla="*/ 0 w 1145"/>
                <a:gd name="T73" fmla="*/ 0 h 1053"/>
                <a:gd name="T74" fmla="*/ 0 w 1145"/>
                <a:gd name="T75" fmla="*/ 0 h 1053"/>
                <a:gd name="T76" fmla="*/ 0 w 1145"/>
                <a:gd name="T77" fmla="*/ 0 h 1053"/>
                <a:gd name="T78" fmla="*/ 0 w 1145"/>
                <a:gd name="T79" fmla="*/ 0 h 1053"/>
                <a:gd name="T80" fmla="*/ 0 w 1145"/>
                <a:gd name="T81" fmla="*/ 0 h 1053"/>
                <a:gd name="T82" fmla="*/ 0 w 1145"/>
                <a:gd name="T83" fmla="*/ 0 h 1053"/>
                <a:gd name="T84" fmla="*/ 0 w 1145"/>
                <a:gd name="T85" fmla="*/ 0 h 1053"/>
                <a:gd name="T86" fmla="*/ 0 w 1145"/>
                <a:gd name="T87" fmla="*/ 0 h 1053"/>
                <a:gd name="T88" fmla="*/ 0 w 1145"/>
                <a:gd name="T89" fmla="*/ 0 h 1053"/>
                <a:gd name="T90" fmla="*/ 0 w 1145"/>
                <a:gd name="T91" fmla="*/ 0 h 1053"/>
                <a:gd name="T92" fmla="*/ 0 w 1145"/>
                <a:gd name="T93" fmla="*/ 0 h 1053"/>
                <a:gd name="T94" fmla="*/ 0 w 1145"/>
                <a:gd name="T95" fmla="*/ 0 h 1053"/>
                <a:gd name="T96" fmla="*/ 0 w 1145"/>
                <a:gd name="T97" fmla="*/ 0 h 1053"/>
                <a:gd name="T98" fmla="*/ 0 w 1145"/>
                <a:gd name="T99" fmla="*/ 0 h 1053"/>
                <a:gd name="T100" fmla="*/ 0 w 1145"/>
                <a:gd name="T101" fmla="*/ 0 h 1053"/>
                <a:gd name="T102" fmla="*/ 0 w 1145"/>
                <a:gd name="T103" fmla="*/ 0 h 1053"/>
                <a:gd name="T104" fmla="*/ 0 w 1145"/>
                <a:gd name="T105" fmla="*/ 0 h 1053"/>
                <a:gd name="T106" fmla="*/ 0 w 1145"/>
                <a:gd name="T107" fmla="*/ 0 h 1053"/>
                <a:gd name="T108" fmla="*/ 0 w 1145"/>
                <a:gd name="T109" fmla="*/ 0 h 1053"/>
                <a:gd name="T110" fmla="*/ 0 w 1145"/>
                <a:gd name="T111" fmla="*/ 0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45"/>
                <a:gd name="T169" fmla="*/ 0 h 1053"/>
                <a:gd name="T170" fmla="*/ 1145 w 1145"/>
                <a:gd name="T171" fmla="*/ 1053 h 10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28" name="Freeform 815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2896" y="2262"/>
              <a:ext cx="38" cy="35"/>
            </a:xfrm>
            <a:custGeom>
              <a:avLst/>
              <a:gdLst>
                <a:gd name="T0" fmla="*/ 0 w 125"/>
                <a:gd name="T1" fmla="*/ 0 h 81"/>
                <a:gd name="T2" fmla="*/ 0 w 125"/>
                <a:gd name="T3" fmla="*/ 0 h 81"/>
                <a:gd name="T4" fmla="*/ 0 w 125"/>
                <a:gd name="T5" fmla="*/ 0 h 81"/>
                <a:gd name="T6" fmla="*/ 0 w 125"/>
                <a:gd name="T7" fmla="*/ 0 h 81"/>
                <a:gd name="T8" fmla="*/ 0 w 125"/>
                <a:gd name="T9" fmla="*/ 0 h 81"/>
                <a:gd name="T10" fmla="*/ 0 w 125"/>
                <a:gd name="T11" fmla="*/ 0 h 81"/>
                <a:gd name="T12" fmla="*/ 0 w 125"/>
                <a:gd name="T13" fmla="*/ 0 h 81"/>
                <a:gd name="T14" fmla="*/ 0 w 125"/>
                <a:gd name="T15" fmla="*/ 0 h 81"/>
                <a:gd name="T16" fmla="*/ 0 w 125"/>
                <a:gd name="T17" fmla="*/ 0 h 81"/>
                <a:gd name="T18" fmla="*/ 0 w 125"/>
                <a:gd name="T19" fmla="*/ 0 h 81"/>
                <a:gd name="T20" fmla="*/ 0 w 125"/>
                <a:gd name="T21" fmla="*/ 0 h 81"/>
                <a:gd name="T22" fmla="*/ 0 w 125"/>
                <a:gd name="T23" fmla="*/ 0 h 81"/>
                <a:gd name="T24" fmla="*/ 0 w 125"/>
                <a:gd name="T25" fmla="*/ 0 h 81"/>
                <a:gd name="T26" fmla="*/ 0 w 125"/>
                <a:gd name="T27" fmla="*/ 0 h 81"/>
                <a:gd name="T28" fmla="*/ 0 w 125"/>
                <a:gd name="T29" fmla="*/ 0 h 81"/>
                <a:gd name="T30" fmla="*/ 0 w 125"/>
                <a:gd name="T31" fmla="*/ 0 h 81"/>
                <a:gd name="T32" fmla="*/ 0 w 125"/>
                <a:gd name="T33" fmla="*/ 0 h 81"/>
                <a:gd name="T34" fmla="*/ 0 w 125"/>
                <a:gd name="T35" fmla="*/ 0 h 81"/>
                <a:gd name="T36" fmla="*/ 0 w 125"/>
                <a:gd name="T37" fmla="*/ 0 h 81"/>
                <a:gd name="T38" fmla="*/ 0 w 125"/>
                <a:gd name="T39" fmla="*/ 0 h 81"/>
                <a:gd name="T40" fmla="*/ 0 w 125"/>
                <a:gd name="T41" fmla="*/ 0 h 81"/>
                <a:gd name="T42" fmla="*/ 0 w 125"/>
                <a:gd name="T43" fmla="*/ 0 h 81"/>
                <a:gd name="T44" fmla="*/ 0 w 125"/>
                <a:gd name="T45" fmla="*/ 0 h 81"/>
                <a:gd name="T46" fmla="*/ 0 w 125"/>
                <a:gd name="T47" fmla="*/ 0 h 81"/>
                <a:gd name="T48" fmla="*/ 0 w 125"/>
                <a:gd name="T49" fmla="*/ 0 h 81"/>
                <a:gd name="T50" fmla="*/ 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5"/>
                <a:gd name="T79" fmla="*/ 0 h 81"/>
                <a:gd name="T80" fmla="*/ 125 w 125"/>
                <a:gd name="T81" fmla="*/ 81 h 8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29" name="Freeform 816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2884" y="2262"/>
              <a:ext cx="104" cy="127"/>
            </a:xfrm>
            <a:custGeom>
              <a:avLst/>
              <a:gdLst>
                <a:gd name="T0" fmla="*/ 0 w 355"/>
                <a:gd name="T1" fmla="*/ 0 h 388"/>
                <a:gd name="T2" fmla="*/ 0 w 355"/>
                <a:gd name="T3" fmla="*/ 0 h 388"/>
                <a:gd name="T4" fmla="*/ 0 w 355"/>
                <a:gd name="T5" fmla="*/ 0 h 388"/>
                <a:gd name="T6" fmla="*/ 0 w 355"/>
                <a:gd name="T7" fmla="*/ 0 h 388"/>
                <a:gd name="T8" fmla="*/ 0 w 355"/>
                <a:gd name="T9" fmla="*/ 0 h 388"/>
                <a:gd name="T10" fmla="*/ 0 w 355"/>
                <a:gd name="T11" fmla="*/ 0 h 388"/>
                <a:gd name="T12" fmla="*/ 0 w 355"/>
                <a:gd name="T13" fmla="*/ 0 h 388"/>
                <a:gd name="T14" fmla="*/ 0 w 355"/>
                <a:gd name="T15" fmla="*/ 0 h 388"/>
                <a:gd name="T16" fmla="*/ 0 w 355"/>
                <a:gd name="T17" fmla="*/ 0 h 388"/>
                <a:gd name="T18" fmla="*/ 0 w 355"/>
                <a:gd name="T19" fmla="*/ 0 h 388"/>
                <a:gd name="T20" fmla="*/ 0 w 355"/>
                <a:gd name="T21" fmla="*/ 0 h 388"/>
                <a:gd name="T22" fmla="*/ 0 w 355"/>
                <a:gd name="T23" fmla="*/ 0 h 388"/>
                <a:gd name="T24" fmla="*/ 0 w 355"/>
                <a:gd name="T25" fmla="*/ 0 h 388"/>
                <a:gd name="T26" fmla="*/ 0 w 355"/>
                <a:gd name="T27" fmla="*/ 0 h 388"/>
                <a:gd name="T28" fmla="*/ 0 w 355"/>
                <a:gd name="T29" fmla="*/ 0 h 388"/>
                <a:gd name="T30" fmla="*/ 0 w 355"/>
                <a:gd name="T31" fmla="*/ 0 h 388"/>
                <a:gd name="T32" fmla="*/ 0 w 355"/>
                <a:gd name="T33" fmla="*/ 0 h 388"/>
                <a:gd name="T34" fmla="*/ 0 w 355"/>
                <a:gd name="T35" fmla="*/ 0 h 388"/>
                <a:gd name="T36" fmla="*/ 0 w 355"/>
                <a:gd name="T37" fmla="*/ 0 h 388"/>
                <a:gd name="T38" fmla="*/ 0 w 355"/>
                <a:gd name="T39" fmla="*/ 0 h 388"/>
                <a:gd name="T40" fmla="*/ 0 w 355"/>
                <a:gd name="T41" fmla="*/ 0 h 388"/>
                <a:gd name="T42" fmla="*/ 0 w 355"/>
                <a:gd name="T43" fmla="*/ 0 h 388"/>
                <a:gd name="T44" fmla="*/ 0 w 355"/>
                <a:gd name="T45" fmla="*/ 0 h 388"/>
                <a:gd name="T46" fmla="*/ 0 w 355"/>
                <a:gd name="T47" fmla="*/ 0 h 388"/>
                <a:gd name="T48" fmla="*/ 0 w 355"/>
                <a:gd name="T49" fmla="*/ 0 h 388"/>
                <a:gd name="T50" fmla="*/ 0 w 355"/>
                <a:gd name="T51" fmla="*/ 0 h 388"/>
                <a:gd name="T52" fmla="*/ 0 w 355"/>
                <a:gd name="T53" fmla="*/ 0 h 388"/>
                <a:gd name="T54" fmla="*/ 0 w 355"/>
                <a:gd name="T55" fmla="*/ 0 h 388"/>
                <a:gd name="T56" fmla="*/ 0 w 355"/>
                <a:gd name="T57" fmla="*/ 0 h 388"/>
                <a:gd name="T58" fmla="*/ 0 w 355"/>
                <a:gd name="T59" fmla="*/ 0 h 388"/>
                <a:gd name="T60" fmla="*/ 0 w 355"/>
                <a:gd name="T61" fmla="*/ 0 h 388"/>
                <a:gd name="T62" fmla="*/ 0 w 355"/>
                <a:gd name="T63" fmla="*/ 0 h 388"/>
                <a:gd name="T64" fmla="*/ 0 w 355"/>
                <a:gd name="T65" fmla="*/ 0 h 388"/>
                <a:gd name="T66" fmla="*/ 0 w 355"/>
                <a:gd name="T67" fmla="*/ 0 h 388"/>
                <a:gd name="T68" fmla="*/ 0 w 355"/>
                <a:gd name="T69" fmla="*/ 0 h 388"/>
                <a:gd name="T70" fmla="*/ 0 w 355"/>
                <a:gd name="T71" fmla="*/ 0 h 388"/>
                <a:gd name="T72" fmla="*/ 0 w 355"/>
                <a:gd name="T73" fmla="*/ 0 h 388"/>
                <a:gd name="T74" fmla="*/ 0 w 355"/>
                <a:gd name="T75" fmla="*/ 0 h 388"/>
                <a:gd name="T76" fmla="*/ 0 w 355"/>
                <a:gd name="T77" fmla="*/ 0 h 388"/>
                <a:gd name="T78" fmla="*/ 0 w 355"/>
                <a:gd name="T79" fmla="*/ 0 h 388"/>
                <a:gd name="T80" fmla="*/ 0 w 355"/>
                <a:gd name="T81" fmla="*/ 0 h 388"/>
                <a:gd name="T82" fmla="*/ 0 w 355"/>
                <a:gd name="T83" fmla="*/ 0 h 388"/>
                <a:gd name="T84" fmla="*/ 0 w 355"/>
                <a:gd name="T85" fmla="*/ 0 h 388"/>
                <a:gd name="T86" fmla="*/ 0 w 355"/>
                <a:gd name="T87" fmla="*/ 0 h 388"/>
                <a:gd name="T88" fmla="*/ 0 w 355"/>
                <a:gd name="T89" fmla="*/ 0 h 388"/>
                <a:gd name="T90" fmla="*/ 0 w 355"/>
                <a:gd name="T91" fmla="*/ 0 h 388"/>
                <a:gd name="T92" fmla="*/ 0 w 355"/>
                <a:gd name="T93" fmla="*/ 0 h 388"/>
                <a:gd name="T94" fmla="*/ 0 w 355"/>
                <a:gd name="T95" fmla="*/ 0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5"/>
                <a:gd name="T145" fmla="*/ 0 h 388"/>
                <a:gd name="T146" fmla="*/ 355 w 355"/>
                <a:gd name="T147" fmla="*/ 388 h 3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30" name="Freeform 817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3248" y="2517"/>
              <a:ext cx="178" cy="328"/>
            </a:xfrm>
            <a:custGeom>
              <a:avLst/>
              <a:gdLst>
                <a:gd name="T0" fmla="*/ 0 w 599"/>
                <a:gd name="T1" fmla="*/ 0 h 993"/>
                <a:gd name="T2" fmla="*/ 0 w 599"/>
                <a:gd name="T3" fmla="*/ 0 h 993"/>
                <a:gd name="T4" fmla="*/ 0 w 599"/>
                <a:gd name="T5" fmla="*/ 0 h 993"/>
                <a:gd name="T6" fmla="*/ 0 w 599"/>
                <a:gd name="T7" fmla="*/ 0 h 993"/>
                <a:gd name="T8" fmla="*/ 0 w 599"/>
                <a:gd name="T9" fmla="*/ 0 h 993"/>
                <a:gd name="T10" fmla="*/ 0 w 599"/>
                <a:gd name="T11" fmla="*/ 0 h 993"/>
                <a:gd name="T12" fmla="*/ 0 w 599"/>
                <a:gd name="T13" fmla="*/ 0 h 993"/>
                <a:gd name="T14" fmla="*/ 0 w 599"/>
                <a:gd name="T15" fmla="*/ 0 h 993"/>
                <a:gd name="T16" fmla="*/ 0 w 599"/>
                <a:gd name="T17" fmla="*/ 0 h 993"/>
                <a:gd name="T18" fmla="*/ 0 w 599"/>
                <a:gd name="T19" fmla="*/ 0 h 993"/>
                <a:gd name="T20" fmla="*/ 0 w 599"/>
                <a:gd name="T21" fmla="*/ 0 h 993"/>
                <a:gd name="T22" fmla="*/ 0 w 599"/>
                <a:gd name="T23" fmla="*/ 0 h 993"/>
                <a:gd name="T24" fmla="*/ 0 w 599"/>
                <a:gd name="T25" fmla="*/ 0 h 993"/>
                <a:gd name="T26" fmla="*/ 0 w 599"/>
                <a:gd name="T27" fmla="*/ 0 h 993"/>
                <a:gd name="T28" fmla="*/ 0 w 599"/>
                <a:gd name="T29" fmla="*/ 0 h 993"/>
                <a:gd name="T30" fmla="*/ 0 w 599"/>
                <a:gd name="T31" fmla="*/ 0 h 993"/>
                <a:gd name="T32" fmla="*/ 0 w 599"/>
                <a:gd name="T33" fmla="*/ 0 h 993"/>
                <a:gd name="T34" fmla="*/ 0 w 599"/>
                <a:gd name="T35" fmla="*/ 0 h 993"/>
                <a:gd name="T36" fmla="*/ 0 w 599"/>
                <a:gd name="T37" fmla="*/ 0 h 993"/>
                <a:gd name="T38" fmla="*/ 0 w 599"/>
                <a:gd name="T39" fmla="*/ 0 h 993"/>
                <a:gd name="T40" fmla="*/ 0 w 599"/>
                <a:gd name="T41" fmla="*/ 0 h 993"/>
                <a:gd name="T42" fmla="*/ 0 w 599"/>
                <a:gd name="T43" fmla="*/ 0 h 993"/>
                <a:gd name="T44" fmla="*/ 0 w 599"/>
                <a:gd name="T45" fmla="*/ 0 h 993"/>
                <a:gd name="T46" fmla="*/ 0 w 599"/>
                <a:gd name="T47" fmla="*/ 0 h 993"/>
                <a:gd name="T48" fmla="*/ 0 w 599"/>
                <a:gd name="T49" fmla="*/ 0 h 993"/>
                <a:gd name="T50" fmla="*/ 0 w 599"/>
                <a:gd name="T51" fmla="*/ 0 h 993"/>
                <a:gd name="T52" fmla="*/ 0 w 599"/>
                <a:gd name="T53" fmla="*/ 0 h 993"/>
                <a:gd name="T54" fmla="*/ 0 w 599"/>
                <a:gd name="T55" fmla="*/ 0 h 993"/>
                <a:gd name="T56" fmla="*/ 0 w 599"/>
                <a:gd name="T57" fmla="*/ 0 h 993"/>
                <a:gd name="T58" fmla="*/ 0 w 599"/>
                <a:gd name="T59" fmla="*/ 0 h 993"/>
                <a:gd name="T60" fmla="*/ 0 w 599"/>
                <a:gd name="T61" fmla="*/ 0 h 993"/>
                <a:gd name="T62" fmla="*/ 0 w 599"/>
                <a:gd name="T63" fmla="*/ 0 h 993"/>
                <a:gd name="T64" fmla="*/ 0 w 599"/>
                <a:gd name="T65" fmla="*/ 0 h 993"/>
                <a:gd name="T66" fmla="*/ 0 w 599"/>
                <a:gd name="T67" fmla="*/ 0 h 993"/>
                <a:gd name="T68" fmla="*/ 0 w 599"/>
                <a:gd name="T69" fmla="*/ 0 h 993"/>
                <a:gd name="T70" fmla="*/ 0 w 599"/>
                <a:gd name="T71" fmla="*/ 0 h 993"/>
                <a:gd name="T72" fmla="*/ 0 w 599"/>
                <a:gd name="T73" fmla="*/ 0 h 993"/>
                <a:gd name="T74" fmla="*/ 0 w 599"/>
                <a:gd name="T75" fmla="*/ 0 h 993"/>
                <a:gd name="T76" fmla="*/ 0 w 599"/>
                <a:gd name="T77" fmla="*/ 0 h 993"/>
                <a:gd name="T78" fmla="*/ 0 w 599"/>
                <a:gd name="T79" fmla="*/ 0 h 993"/>
                <a:gd name="T80" fmla="*/ 0 w 599"/>
                <a:gd name="T81" fmla="*/ 0 h 993"/>
                <a:gd name="T82" fmla="*/ 0 w 599"/>
                <a:gd name="T83" fmla="*/ 0 h 993"/>
                <a:gd name="T84" fmla="*/ 0 w 599"/>
                <a:gd name="T85" fmla="*/ 0 h 993"/>
                <a:gd name="T86" fmla="*/ 0 w 599"/>
                <a:gd name="T87" fmla="*/ 0 h 993"/>
                <a:gd name="T88" fmla="*/ 0 w 599"/>
                <a:gd name="T89" fmla="*/ 0 h 993"/>
                <a:gd name="T90" fmla="*/ 0 w 599"/>
                <a:gd name="T91" fmla="*/ 0 h 993"/>
                <a:gd name="T92" fmla="*/ 0 w 599"/>
                <a:gd name="T93" fmla="*/ 0 h 993"/>
                <a:gd name="T94" fmla="*/ 0 w 599"/>
                <a:gd name="T95" fmla="*/ 0 h 993"/>
                <a:gd name="T96" fmla="*/ 0 w 599"/>
                <a:gd name="T97" fmla="*/ 0 h 993"/>
                <a:gd name="T98" fmla="*/ 0 w 599"/>
                <a:gd name="T99" fmla="*/ 0 h 993"/>
                <a:gd name="T100" fmla="*/ 0 w 599"/>
                <a:gd name="T101" fmla="*/ 0 h 993"/>
                <a:gd name="T102" fmla="*/ 0 w 599"/>
                <a:gd name="T103" fmla="*/ 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9"/>
                <a:gd name="T157" fmla="*/ 0 h 993"/>
                <a:gd name="T158" fmla="*/ 599 w 599"/>
                <a:gd name="T159" fmla="*/ 993 h 99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31" name="Freeform 818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3067" y="2668"/>
              <a:ext cx="162" cy="181"/>
            </a:xfrm>
            <a:custGeom>
              <a:avLst/>
              <a:gdLst>
                <a:gd name="T0" fmla="*/ 0 w 545"/>
                <a:gd name="T1" fmla="*/ 0 h 549"/>
                <a:gd name="T2" fmla="*/ 0 w 545"/>
                <a:gd name="T3" fmla="*/ 0 h 549"/>
                <a:gd name="T4" fmla="*/ 0 w 545"/>
                <a:gd name="T5" fmla="*/ 0 h 549"/>
                <a:gd name="T6" fmla="*/ 0 w 545"/>
                <a:gd name="T7" fmla="*/ 0 h 549"/>
                <a:gd name="T8" fmla="*/ 0 w 545"/>
                <a:gd name="T9" fmla="*/ 0 h 549"/>
                <a:gd name="T10" fmla="*/ 0 w 545"/>
                <a:gd name="T11" fmla="*/ 0 h 549"/>
                <a:gd name="T12" fmla="*/ 0 w 545"/>
                <a:gd name="T13" fmla="*/ 0 h 549"/>
                <a:gd name="T14" fmla="*/ 0 w 545"/>
                <a:gd name="T15" fmla="*/ 0 h 549"/>
                <a:gd name="T16" fmla="*/ 0 w 545"/>
                <a:gd name="T17" fmla="*/ 0 h 549"/>
                <a:gd name="T18" fmla="*/ 0 w 545"/>
                <a:gd name="T19" fmla="*/ 0 h 549"/>
                <a:gd name="T20" fmla="*/ 0 w 545"/>
                <a:gd name="T21" fmla="*/ 0 h 549"/>
                <a:gd name="T22" fmla="*/ 0 w 545"/>
                <a:gd name="T23" fmla="*/ 0 h 549"/>
                <a:gd name="T24" fmla="*/ 0 w 545"/>
                <a:gd name="T25" fmla="*/ 0 h 549"/>
                <a:gd name="T26" fmla="*/ 0 w 545"/>
                <a:gd name="T27" fmla="*/ 0 h 549"/>
                <a:gd name="T28" fmla="*/ 0 w 545"/>
                <a:gd name="T29" fmla="*/ 0 h 549"/>
                <a:gd name="T30" fmla="*/ 0 w 545"/>
                <a:gd name="T31" fmla="*/ 0 h 549"/>
                <a:gd name="T32" fmla="*/ 0 w 545"/>
                <a:gd name="T33" fmla="*/ 0 h 549"/>
                <a:gd name="T34" fmla="*/ 0 w 545"/>
                <a:gd name="T35" fmla="*/ 0 h 549"/>
                <a:gd name="T36" fmla="*/ 0 w 545"/>
                <a:gd name="T37" fmla="*/ 0 h 549"/>
                <a:gd name="T38" fmla="*/ 0 w 545"/>
                <a:gd name="T39" fmla="*/ 0 h 549"/>
                <a:gd name="T40" fmla="*/ 0 w 545"/>
                <a:gd name="T41" fmla="*/ 0 h 549"/>
                <a:gd name="T42" fmla="*/ 0 w 545"/>
                <a:gd name="T43" fmla="*/ 0 h 549"/>
                <a:gd name="T44" fmla="*/ 0 w 545"/>
                <a:gd name="T45" fmla="*/ 0 h 549"/>
                <a:gd name="T46" fmla="*/ 0 w 545"/>
                <a:gd name="T47" fmla="*/ 0 h 549"/>
                <a:gd name="T48" fmla="*/ 0 w 545"/>
                <a:gd name="T49" fmla="*/ 0 h 549"/>
                <a:gd name="T50" fmla="*/ 0 w 545"/>
                <a:gd name="T51" fmla="*/ 0 h 549"/>
                <a:gd name="T52" fmla="*/ 0 w 545"/>
                <a:gd name="T53" fmla="*/ 0 h 549"/>
                <a:gd name="T54" fmla="*/ 0 w 545"/>
                <a:gd name="T55" fmla="*/ 0 h 549"/>
                <a:gd name="T56" fmla="*/ 0 w 545"/>
                <a:gd name="T57" fmla="*/ 0 h 549"/>
                <a:gd name="T58" fmla="*/ 0 w 545"/>
                <a:gd name="T59" fmla="*/ 0 h 549"/>
                <a:gd name="T60" fmla="*/ 0 w 545"/>
                <a:gd name="T61" fmla="*/ 0 h 549"/>
                <a:gd name="T62" fmla="*/ 0 w 545"/>
                <a:gd name="T63" fmla="*/ 0 h 549"/>
                <a:gd name="T64" fmla="*/ 0 w 545"/>
                <a:gd name="T65" fmla="*/ 0 h 549"/>
                <a:gd name="T66" fmla="*/ 0 w 545"/>
                <a:gd name="T67" fmla="*/ 0 h 549"/>
                <a:gd name="T68" fmla="*/ 0 w 545"/>
                <a:gd name="T69" fmla="*/ 0 h 549"/>
                <a:gd name="T70" fmla="*/ 0 w 545"/>
                <a:gd name="T71" fmla="*/ 0 h 549"/>
                <a:gd name="T72" fmla="*/ 0 w 545"/>
                <a:gd name="T73" fmla="*/ 0 h 549"/>
                <a:gd name="T74" fmla="*/ 0 w 545"/>
                <a:gd name="T75" fmla="*/ 0 h 549"/>
                <a:gd name="T76" fmla="*/ 0 w 545"/>
                <a:gd name="T77" fmla="*/ 0 h 549"/>
                <a:gd name="T78" fmla="*/ 0 w 545"/>
                <a:gd name="T79" fmla="*/ 0 h 549"/>
                <a:gd name="T80" fmla="*/ 0 w 545"/>
                <a:gd name="T81" fmla="*/ 0 h 549"/>
                <a:gd name="T82" fmla="*/ 0 w 545"/>
                <a:gd name="T83" fmla="*/ 0 h 549"/>
                <a:gd name="T84" fmla="*/ 0 w 545"/>
                <a:gd name="T85" fmla="*/ 0 h 549"/>
                <a:gd name="T86" fmla="*/ 0 w 545"/>
                <a:gd name="T87" fmla="*/ 0 h 549"/>
                <a:gd name="T88" fmla="*/ 0 w 545"/>
                <a:gd name="T89" fmla="*/ 0 h 549"/>
                <a:gd name="T90" fmla="*/ 0 w 545"/>
                <a:gd name="T91" fmla="*/ 0 h 549"/>
                <a:gd name="T92" fmla="*/ 0 w 545"/>
                <a:gd name="T93" fmla="*/ 0 h 549"/>
                <a:gd name="T94" fmla="*/ 0 w 545"/>
                <a:gd name="T95" fmla="*/ 0 h 549"/>
                <a:gd name="T96" fmla="*/ 0 w 545"/>
                <a:gd name="T97" fmla="*/ 0 h 549"/>
                <a:gd name="T98" fmla="*/ 0 w 545"/>
                <a:gd name="T99" fmla="*/ 0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45"/>
                <a:gd name="T151" fmla="*/ 0 h 549"/>
                <a:gd name="T152" fmla="*/ 545 w 545"/>
                <a:gd name="T153" fmla="*/ 549 h 549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32" name="Freeform 819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3458" y="2543"/>
              <a:ext cx="134" cy="274"/>
            </a:xfrm>
            <a:custGeom>
              <a:avLst/>
              <a:gdLst>
                <a:gd name="T0" fmla="*/ 0 w 452"/>
                <a:gd name="T1" fmla="*/ 0 h 832"/>
                <a:gd name="T2" fmla="*/ 0 w 452"/>
                <a:gd name="T3" fmla="*/ 0 h 832"/>
                <a:gd name="T4" fmla="*/ 0 w 452"/>
                <a:gd name="T5" fmla="*/ 0 h 832"/>
                <a:gd name="T6" fmla="*/ 0 w 452"/>
                <a:gd name="T7" fmla="*/ 0 h 832"/>
                <a:gd name="T8" fmla="*/ 0 w 452"/>
                <a:gd name="T9" fmla="*/ 0 h 832"/>
                <a:gd name="T10" fmla="*/ 0 w 452"/>
                <a:gd name="T11" fmla="*/ 0 h 832"/>
                <a:gd name="T12" fmla="*/ 0 w 452"/>
                <a:gd name="T13" fmla="*/ 0 h 832"/>
                <a:gd name="T14" fmla="*/ 0 w 452"/>
                <a:gd name="T15" fmla="*/ 0 h 832"/>
                <a:gd name="T16" fmla="*/ 0 w 452"/>
                <a:gd name="T17" fmla="*/ 0 h 832"/>
                <a:gd name="T18" fmla="*/ 0 w 452"/>
                <a:gd name="T19" fmla="*/ 0 h 832"/>
                <a:gd name="T20" fmla="*/ 0 w 452"/>
                <a:gd name="T21" fmla="*/ 0 h 832"/>
                <a:gd name="T22" fmla="*/ 0 w 452"/>
                <a:gd name="T23" fmla="*/ 0 h 832"/>
                <a:gd name="T24" fmla="*/ 0 w 452"/>
                <a:gd name="T25" fmla="*/ 0 h 832"/>
                <a:gd name="T26" fmla="*/ 0 w 452"/>
                <a:gd name="T27" fmla="*/ 0 h 832"/>
                <a:gd name="T28" fmla="*/ 0 w 452"/>
                <a:gd name="T29" fmla="*/ 0 h 832"/>
                <a:gd name="T30" fmla="*/ 0 w 452"/>
                <a:gd name="T31" fmla="*/ 0 h 832"/>
                <a:gd name="T32" fmla="*/ 0 w 452"/>
                <a:gd name="T33" fmla="*/ 0 h 832"/>
                <a:gd name="T34" fmla="*/ 0 w 452"/>
                <a:gd name="T35" fmla="*/ 0 h 832"/>
                <a:gd name="T36" fmla="*/ 0 w 452"/>
                <a:gd name="T37" fmla="*/ 0 h 832"/>
                <a:gd name="T38" fmla="*/ 0 w 452"/>
                <a:gd name="T39" fmla="*/ 0 h 832"/>
                <a:gd name="T40" fmla="*/ 0 w 452"/>
                <a:gd name="T41" fmla="*/ 0 h 832"/>
                <a:gd name="T42" fmla="*/ 0 w 452"/>
                <a:gd name="T43" fmla="*/ 0 h 832"/>
                <a:gd name="T44" fmla="*/ 0 w 452"/>
                <a:gd name="T45" fmla="*/ 0 h 832"/>
                <a:gd name="T46" fmla="*/ 0 w 452"/>
                <a:gd name="T47" fmla="*/ 0 h 832"/>
                <a:gd name="T48" fmla="*/ 0 w 452"/>
                <a:gd name="T49" fmla="*/ 0 h 832"/>
                <a:gd name="T50" fmla="*/ 0 w 452"/>
                <a:gd name="T51" fmla="*/ 0 h 832"/>
                <a:gd name="T52" fmla="*/ 0 w 452"/>
                <a:gd name="T53" fmla="*/ 0 h 832"/>
                <a:gd name="T54" fmla="*/ 0 w 452"/>
                <a:gd name="T55" fmla="*/ 0 h 832"/>
                <a:gd name="T56" fmla="*/ 0 w 452"/>
                <a:gd name="T57" fmla="*/ 0 h 832"/>
                <a:gd name="T58" fmla="*/ 0 w 452"/>
                <a:gd name="T59" fmla="*/ 0 h 832"/>
                <a:gd name="T60" fmla="*/ 0 w 452"/>
                <a:gd name="T61" fmla="*/ 0 h 832"/>
                <a:gd name="T62" fmla="*/ 0 w 452"/>
                <a:gd name="T63" fmla="*/ 0 h 832"/>
                <a:gd name="T64" fmla="*/ 0 w 452"/>
                <a:gd name="T65" fmla="*/ 0 h 832"/>
                <a:gd name="T66" fmla="*/ 0 w 452"/>
                <a:gd name="T67" fmla="*/ 0 h 832"/>
                <a:gd name="T68" fmla="*/ 0 w 452"/>
                <a:gd name="T69" fmla="*/ 0 h 832"/>
                <a:gd name="T70" fmla="*/ 0 w 452"/>
                <a:gd name="T71" fmla="*/ 0 h 832"/>
                <a:gd name="T72" fmla="*/ 0 w 452"/>
                <a:gd name="T73" fmla="*/ 0 h 832"/>
                <a:gd name="T74" fmla="*/ 0 w 452"/>
                <a:gd name="T75" fmla="*/ 0 h 832"/>
                <a:gd name="T76" fmla="*/ 0 w 452"/>
                <a:gd name="T77" fmla="*/ 0 h 832"/>
                <a:gd name="T78" fmla="*/ 0 w 452"/>
                <a:gd name="T79" fmla="*/ 0 h 832"/>
                <a:gd name="T80" fmla="*/ 0 w 452"/>
                <a:gd name="T81" fmla="*/ 0 h 832"/>
                <a:gd name="T82" fmla="*/ 0 w 452"/>
                <a:gd name="T83" fmla="*/ 0 h 832"/>
                <a:gd name="T84" fmla="*/ 0 w 452"/>
                <a:gd name="T85" fmla="*/ 0 h 832"/>
                <a:gd name="T86" fmla="*/ 0 w 452"/>
                <a:gd name="T87" fmla="*/ 0 h 832"/>
                <a:gd name="T88" fmla="*/ 0 w 452"/>
                <a:gd name="T89" fmla="*/ 0 h 832"/>
                <a:gd name="T90" fmla="*/ 0 w 452"/>
                <a:gd name="T91" fmla="*/ 0 h 832"/>
                <a:gd name="T92" fmla="*/ 0 w 452"/>
                <a:gd name="T93" fmla="*/ 0 h 832"/>
                <a:gd name="T94" fmla="*/ 0 w 452"/>
                <a:gd name="T95" fmla="*/ 0 h 832"/>
                <a:gd name="T96" fmla="*/ 0 w 452"/>
                <a:gd name="T97" fmla="*/ 0 h 832"/>
                <a:gd name="T98" fmla="*/ 0 w 452"/>
                <a:gd name="T99" fmla="*/ 0 h 832"/>
                <a:gd name="T100" fmla="*/ 0 w 452"/>
                <a:gd name="T101" fmla="*/ 0 h 832"/>
                <a:gd name="T102" fmla="*/ 0 w 452"/>
                <a:gd name="T103" fmla="*/ 0 h 832"/>
                <a:gd name="T104" fmla="*/ 0 w 452"/>
                <a:gd name="T105" fmla="*/ 0 h 832"/>
                <a:gd name="T106" fmla="*/ 0 w 452"/>
                <a:gd name="T107" fmla="*/ 0 h 832"/>
                <a:gd name="T108" fmla="*/ 0 w 452"/>
                <a:gd name="T109" fmla="*/ 0 h 832"/>
                <a:gd name="T110" fmla="*/ 0 w 452"/>
                <a:gd name="T111" fmla="*/ 0 h 832"/>
                <a:gd name="T112" fmla="*/ 0 w 452"/>
                <a:gd name="T113" fmla="*/ 0 h 832"/>
                <a:gd name="T114" fmla="*/ 0 w 452"/>
                <a:gd name="T115" fmla="*/ 0 h 832"/>
                <a:gd name="T116" fmla="*/ 0 w 452"/>
                <a:gd name="T117" fmla="*/ 0 h 832"/>
                <a:gd name="T118" fmla="*/ 0 w 452"/>
                <a:gd name="T119" fmla="*/ 0 h 832"/>
                <a:gd name="T120" fmla="*/ 0 w 452"/>
                <a:gd name="T121" fmla="*/ 0 h 832"/>
                <a:gd name="T122" fmla="*/ 0 w 452"/>
                <a:gd name="T123" fmla="*/ 0 h 832"/>
                <a:gd name="T124" fmla="*/ 0 w 452"/>
                <a:gd name="T125" fmla="*/ 0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52"/>
                <a:gd name="T190" fmla="*/ 0 h 832"/>
                <a:gd name="T191" fmla="*/ 452 w 452"/>
                <a:gd name="T192" fmla="*/ 832 h 8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33" name="Freeform 820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3237" y="2353"/>
              <a:ext cx="25" cy="42"/>
            </a:xfrm>
            <a:custGeom>
              <a:avLst/>
              <a:gdLst>
                <a:gd name="T0" fmla="*/ 0 w 80"/>
                <a:gd name="T1" fmla="*/ 0 h 126"/>
                <a:gd name="T2" fmla="*/ 0 w 80"/>
                <a:gd name="T3" fmla="*/ 0 h 126"/>
                <a:gd name="T4" fmla="*/ 0 w 80"/>
                <a:gd name="T5" fmla="*/ 0 h 126"/>
                <a:gd name="T6" fmla="*/ 0 w 80"/>
                <a:gd name="T7" fmla="*/ 0 h 126"/>
                <a:gd name="T8" fmla="*/ 0 w 80"/>
                <a:gd name="T9" fmla="*/ 0 h 126"/>
                <a:gd name="T10" fmla="*/ 0 w 80"/>
                <a:gd name="T11" fmla="*/ 0 h 126"/>
                <a:gd name="T12" fmla="*/ 0 w 80"/>
                <a:gd name="T13" fmla="*/ 0 h 126"/>
                <a:gd name="T14" fmla="*/ 0 w 80"/>
                <a:gd name="T15" fmla="*/ 0 h 126"/>
                <a:gd name="T16" fmla="*/ 0 w 80"/>
                <a:gd name="T17" fmla="*/ 0 h 126"/>
                <a:gd name="T18" fmla="*/ 0 w 80"/>
                <a:gd name="T19" fmla="*/ 0 h 126"/>
                <a:gd name="T20" fmla="*/ 0 w 80"/>
                <a:gd name="T21" fmla="*/ 0 h 126"/>
                <a:gd name="T22" fmla="*/ 0 w 80"/>
                <a:gd name="T23" fmla="*/ 0 h 126"/>
                <a:gd name="T24" fmla="*/ 0 w 80"/>
                <a:gd name="T25" fmla="*/ 0 h 126"/>
                <a:gd name="T26" fmla="*/ 0 w 80"/>
                <a:gd name="T27" fmla="*/ 0 h 126"/>
                <a:gd name="T28" fmla="*/ 0 w 80"/>
                <a:gd name="T29" fmla="*/ 0 h 126"/>
                <a:gd name="T30" fmla="*/ 0 w 80"/>
                <a:gd name="T31" fmla="*/ 0 h 126"/>
                <a:gd name="T32" fmla="*/ 0 w 80"/>
                <a:gd name="T33" fmla="*/ 0 h 126"/>
                <a:gd name="T34" fmla="*/ 0 w 80"/>
                <a:gd name="T35" fmla="*/ 0 h 126"/>
                <a:gd name="T36" fmla="*/ 0 w 80"/>
                <a:gd name="T37" fmla="*/ 0 h 126"/>
                <a:gd name="T38" fmla="*/ 0 w 80"/>
                <a:gd name="T39" fmla="*/ 0 h 126"/>
                <a:gd name="T40" fmla="*/ 0 w 80"/>
                <a:gd name="T41" fmla="*/ 0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0"/>
                <a:gd name="T64" fmla="*/ 0 h 126"/>
                <a:gd name="T65" fmla="*/ 80 w 80"/>
                <a:gd name="T66" fmla="*/ 126 h 12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34" name="Freeform 821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3229" y="2328"/>
              <a:ext cx="38" cy="38"/>
            </a:xfrm>
            <a:custGeom>
              <a:avLst/>
              <a:gdLst>
                <a:gd name="T0" fmla="*/ 0 w 124"/>
                <a:gd name="T1" fmla="*/ 0 h 117"/>
                <a:gd name="T2" fmla="*/ 0 w 124"/>
                <a:gd name="T3" fmla="*/ 0 h 117"/>
                <a:gd name="T4" fmla="*/ 0 w 124"/>
                <a:gd name="T5" fmla="*/ 0 h 117"/>
                <a:gd name="T6" fmla="*/ 0 w 124"/>
                <a:gd name="T7" fmla="*/ 0 h 117"/>
                <a:gd name="T8" fmla="*/ 0 w 124"/>
                <a:gd name="T9" fmla="*/ 0 h 117"/>
                <a:gd name="T10" fmla="*/ 0 w 124"/>
                <a:gd name="T11" fmla="*/ 0 h 117"/>
                <a:gd name="T12" fmla="*/ 0 w 124"/>
                <a:gd name="T13" fmla="*/ 0 h 117"/>
                <a:gd name="T14" fmla="*/ 0 w 124"/>
                <a:gd name="T15" fmla="*/ 0 h 117"/>
                <a:gd name="T16" fmla="*/ 0 w 124"/>
                <a:gd name="T17" fmla="*/ 0 h 117"/>
                <a:gd name="T18" fmla="*/ 0 w 124"/>
                <a:gd name="T19" fmla="*/ 0 h 117"/>
                <a:gd name="T20" fmla="*/ 0 w 124"/>
                <a:gd name="T21" fmla="*/ 0 h 117"/>
                <a:gd name="T22" fmla="*/ 0 w 124"/>
                <a:gd name="T23" fmla="*/ 0 h 117"/>
                <a:gd name="T24" fmla="*/ 0 w 124"/>
                <a:gd name="T25" fmla="*/ 0 h 117"/>
                <a:gd name="T26" fmla="*/ 0 w 124"/>
                <a:gd name="T27" fmla="*/ 0 h 117"/>
                <a:gd name="T28" fmla="*/ 0 w 124"/>
                <a:gd name="T29" fmla="*/ 0 h 117"/>
                <a:gd name="T30" fmla="*/ 0 w 124"/>
                <a:gd name="T31" fmla="*/ 0 h 117"/>
                <a:gd name="T32" fmla="*/ 0 w 124"/>
                <a:gd name="T33" fmla="*/ 0 h 117"/>
                <a:gd name="T34" fmla="*/ 0 w 124"/>
                <a:gd name="T35" fmla="*/ 0 h 117"/>
                <a:gd name="T36" fmla="*/ 0 w 124"/>
                <a:gd name="T37" fmla="*/ 0 h 117"/>
                <a:gd name="T38" fmla="*/ 0 w 124"/>
                <a:gd name="T39" fmla="*/ 0 h 117"/>
                <a:gd name="T40" fmla="*/ 0 w 124"/>
                <a:gd name="T41" fmla="*/ 0 h 117"/>
                <a:gd name="T42" fmla="*/ 0 w 124"/>
                <a:gd name="T43" fmla="*/ 0 h 117"/>
                <a:gd name="T44" fmla="*/ 0 w 124"/>
                <a:gd name="T45" fmla="*/ 0 h 117"/>
                <a:gd name="T46" fmla="*/ 0 w 124"/>
                <a:gd name="T47" fmla="*/ 0 h 117"/>
                <a:gd name="T48" fmla="*/ 0 w 124"/>
                <a:gd name="T49" fmla="*/ 0 h 117"/>
                <a:gd name="T50" fmla="*/ 0 w 124"/>
                <a:gd name="T51" fmla="*/ 0 h 117"/>
                <a:gd name="T52" fmla="*/ 0 w 124"/>
                <a:gd name="T53" fmla="*/ 0 h 117"/>
                <a:gd name="T54" fmla="*/ 0 w 124"/>
                <a:gd name="T55" fmla="*/ 0 h 117"/>
                <a:gd name="T56" fmla="*/ 0 w 124"/>
                <a:gd name="T57" fmla="*/ 0 h 117"/>
                <a:gd name="T58" fmla="*/ 0 w 124"/>
                <a:gd name="T59" fmla="*/ 0 h 117"/>
                <a:gd name="T60" fmla="*/ 0 w 124"/>
                <a:gd name="T61" fmla="*/ 0 h 117"/>
                <a:gd name="T62" fmla="*/ 0 w 124"/>
                <a:gd name="T63" fmla="*/ 0 h 117"/>
                <a:gd name="T64" fmla="*/ 0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4"/>
                <a:gd name="T100" fmla="*/ 0 h 117"/>
                <a:gd name="T101" fmla="*/ 124 w 124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35" name="Freeform 822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3441" y="1509"/>
              <a:ext cx="343" cy="298"/>
            </a:xfrm>
            <a:custGeom>
              <a:avLst/>
              <a:gdLst>
                <a:gd name="T0" fmla="*/ 0 w 1156"/>
                <a:gd name="T1" fmla="*/ 0 h 900"/>
                <a:gd name="T2" fmla="*/ 0 w 1156"/>
                <a:gd name="T3" fmla="*/ 0 h 900"/>
                <a:gd name="T4" fmla="*/ 0 w 1156"/>
                <a:gd name="T5" fmla="*/ 0 h 900"/>
                <a:gd name="T6" fmla="*/ 0 w 1156"/>
                <a:gd name="T7" fmla="*/ 0 h 900"/>
                <a:gd name="T8" fmla="*/ 0 w 1156"/>
                <a:gd name="T9" fmla="*/ 0 h 900"/>
                <a:gd name="T10" fmla="*/ 0 w 1156"/>
                <a:gd name="T11" fmla="*/ 0 h 900"/>
                <a:gd name="T12" fmla="*/ 0 w 1156"/>
                <a:gd name="T13" fmla="*/ 0 h 900"/>
                <a:gd name="T14" fmla="*/ 0 w 1156"/>
                <a:gd name="T15" fmla="*/ 0 h 900"/>
                <a:gd name="T16" fmla="*/ 0 w 1156"/>
                <a:gd name="T17" fmla="*/ 0 h 900"/>
                <a:gd name="T18" fmla="*/ 0 w 1156"/>
                <a:gd name="T19" fmla="*/ 0 h 900"/>
                <a:gd name="T20" fmla="*/ 0 w 1156"/>
                <a:gd name="T21" fmla="*/ 0 h 900"/>
                <a:gd name="T22" fmla="*/ 0 w 1156"/>
                <a:gd name="T23" fmla="*/ 0 h 900"/>
                <a:gd name="T24" fmla="*/ 0 w 1156"/>
                <a:gd name="T25" fmla="*/ 0 h 900"/>
                <a:gd name="T26" fmla="*/ 0 w 1156"/>
                <a:gd name="T27" fmla="*/ 0 h 900"/>
                <a:gd name="T28" fmla="*/ 0 w 1156"/>
                <a:gd name="T29" fmla="*/ 0 h 900"/>
                <a:gd name="T30" fmla="*/ 0 w 1156"/>
                <a:gd name="T31" fmla="*/ 0 h 900"/>
                <a:gd name="T32" fmla="*/ 0 w 1156"/>
                <a:gd name="T33" fmla="*/ 0 h 900"/>
                <a:gd name="T34" fmla="*/ 0 w 1156"/>
                <a:gd name="T35" fmla="*/ 0 h 900"/>
                <a:gd name="T36" fmla="*/ 0 w 1156"/>
                <a:gd name="T37" fmla="*/ 0 h 900"/>
                <a:gd name="T38" fmla="*/ 0 w 1156"/>
                <a:gd name="T39" fmla="*/ 0 h 900"/>
                <a:gd name="T40" fmla="*/ 0 w 1156"/>
                <a:gd name="T41" fmla="*/ 0 h 900"/>
                <a:gd name="T42" fmla="*/ 0 w 1156"/>
                <a:gd name="T43" fmla="*/ 0 h 900"/>
                <a:gd name="T44" fmla="*/ 0 w 1156"/>
                <a:gd name="T45" fmla="*/ 0 h 900"/>
                <a:gd name="T46" fmla="*/ 0 w 1156"/>
                <a:gd name="T47" fmla="*/ 0 h 900"/>
                <a:gd name="T48" fmla="*/ 0 w 1156"/>
                <a:gd name="T49" fmla="*/ 0 h 900"/>
                <a:gd name="T50" fmla="*/ 0 w 1156"/>
                <a:gd name="T51" fmla="*/ 0 h 900"/>
                <a:gd name="T52" fmla="*/ 0 w 1156"/>
                <a:gd name="T53" fmla="*/ 0 h 900"/>
                <a:gd name="T54" fmla="*/ 0 w 1156"/>
                <a:gd name="T55" fmla="*/ 0 h 900"/>
                <a:gd name="T56" fmla="*/ 0 w 1156"/>
                <a:gd name="T57" fmla="*/ 0 h 900"/>
                <a:gd name="T58" fmla="*/ 0 w 1156"/>
                <a:gd name="T59" fmla="*/ 0 h 900"/>
                <a:gd name="T60" fmla="*/ 0 w 1156"/>
                <a:gd name="T61" fmla="*/ 0 h 900"/>
                <a:gd name="T62" fmla="*/ 0 w 1156"/>
                <a:gd name="T63" fmla="*/ 0 h 900"/>
                <a:gd name="T64" fmla="*/ 0 w 1156"/>
                <a:gd name="T65" fmla="*/ 0 h 900"/>
                <a:gd name="T66" fmla="*/ 0 w 1156"/>
                <a:gd name="T67" fmla="*/ 0 h 900"/>
                <a:gd name="T68" fmla="*/ 0 w 1156"/>
                <a:gd name="T69" fmla="*/ 0 h 900"/>
                <a:gd name="T70" fmla="*/ 0 w 1156"/>
                <a:gd name="T71" fmla="*/ 0 h 900"/>
                <a:gd name="T72" fmla="*/ 0 w 1156"/>
                <a:gd name="T73" fmla="*/ 0 h 900"/>
                <a:gd name="T74" fmla="*/ 0 w 1156"/>
                <a:gd name="T75" fmla="*/ 0 h 900"/>
                <a:gd name="T76" fmla="*/ 0 w 1156"/>
                <a:gd name="T77" fmla="*/ 0 h 900"/>
                <a:gd name="T78" fmla="*/ 0 w 1156"/>
                <a:gd name="T79" fmla="*/ 0 h 900"/>
                <a:gd name="T80" fmla="*/ 0 w 1156"/>
                <a:gd name="T81" fmla="*/ 0 h 900"/>
                <a:gd name="T82" fmla="*/ 0 w 1156"/>
                <a:gd name="T83" fmla="*/ 0 h 900"/>
                <a:gd name="T84" fmla="*/ 0 w 1156"/>
                <a:gd name="T85" fmla="*/ 0 h 900"/>
                <a:gd name="T86" fmla="*/ 0 w 1156"/>
                <a:gd name="T87" fmla="*/ 0 h 900"/>
                <a:gd name="T88" fmla="*/ 0 w 1156"/>
                <a:gd name="T89" fmla="*/ 0 h 900"/>
                <a:gd name="T90" fmla="*/ 0 w 1156"/>
                <a:gd name="T91" fmla="*/ 0 h 900"/>
                <a:gd name="T92" fmla="*/ 0 w 1156"/>
                <a:gd name="T93" fmla="*/ 0 h 900"/>
                <a:gd name="T94" fmla="*/ 0 w 1156"/>
                <a:gd name="T95" fmla="*/ 0 h 900"/>
                <a:gd name="T96" fmla="*/ 0 w 1156"/>
                <a:gd name="T97" fmla="*/ 0 h 900"/>
                <a:gd name="T98" fmla="*/ 0 w 1156"/>
                <a:gd name="T99" fmla="*/ 0 h 900"/>
                <a:gd name="T100" fmla="*/ 0 w 1156"/>
                <a:gd name="T101" fmla="*/ 0 h 900"/>
                <a:gd name="T102" fmla="*/ 0 w 1156"/>
                <a:gd name="T103" fmla="*/ 0 h 900"/>
                <a:gd name="T104" fmla="*/ 0 w 1156"/>
                <a:gd name="T105" fmla="*/ 0 h 900"/>
                <a:gd name="T106" fmla="*/ 0 w 1156"/>
                <a:gd name="T107" fmla="*/ 0 h 900"/>
                <a:gd name="T108" fmla="*/ 0 w 1156"/>
                <a:gd name="T109" fmla="*/ 0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56"/>
                <a:gd name="T166" fmla="*/ 0 h 900"/>
                <a:gd name="T167" fmla="*/ 1156 w 1156"/>
                <a:gd name="T168" fmla="*/ 900 h 9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36" name="Freeform 823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3457" y="1923"/>
              <a:ext cx="169" cy="144"/>
            </a:xfrm>
            <a:custGeom>
              <a:avLst/>
              <a:gdLst>
                <a:gd name="T0" fmla="*/ 0 w 571"/>
                <a:gd name="T1" fmla="*/ 0 h 443"/>
                <a:gd name="T2" fmla="*/ 0 w 571"/>
                <a:gd name="T3" fmla="*/ 0 h 443"/>
                <a:gd name="T4" fmla="*/ 0 w 571"/>
                <a:gd name="T5" fmla="*/ 0 h 443"/>
                <a:gd name="T6" fmla="*/ 0 w 571"/>
                <a:gd name="T7" fmla="*/ 0 h 443"/>
                <a:gd name="T8" fmla="*/ 0 w 571"/>
                <a:gd name="T9" fmla="*/ 0 h 443"/>
                <a:gd name="T10" fmla="*/ 0 w 571"/>
                <a:gd name="T11" fmla="*/ 0 h 443"/>
                <a:gd name="T12" fmla="*/ 0 w 571"/>
                <a:gd name="T13" fmla="*/ 0 h 443"/>
                <a:gd name="T14" fmla="*/ 0 w 571"/>
                <a:gd name="T15" fmla="*/ 0 h 443"/>
                <a:gd name="T16" fmla="*/ 0 w 571"/>
                <a:gd name="T17" fmla="*/ 0 h 443"/>
                <a:gd name="T18" fmla="*/ 0 w 571"/>
                <a:gd name="T19" fmla="*/ 0 h 443"/>
                <a:gd name="T20" fmla="*/ 0 w 571"/>
                <a:gd name="T21" fmla="*/ 0 h 443"/>
                <a:gd name="T22" fmla="*/ 0 w 571"/>
                <a:gd name="T23" fmla="*/ 0 h 443"/>
                <a:gd name="T24" fmla="*/ 0 w 571"/>
                <a:gd name="T25" fmla="*/ 0 h 443"/>
                <a:gd name="T26" fmla="*/ 0 w 571"/>
                <a:gd name="T27" fmla="*/ 0 h 443"/>
                <a:gd name="T28" fmla="*/ 0 w 571"/>
                <a:gd name="T29" fmla="*/ 0 h 443"/>
                <a:gd name="T30" fmla="*/ 0 w 571"/>
                <a:gd name="T31" fmla="*/ 0 h 443"/>
                <a:gd name="T32" fmla="*/ 0 w 571"/>
                <a:gd name="T33" fmla="*/ 0 h 443"/>
                <a:gd name="T34" fmla="*/ 0 w 571"/>
                <a:gd name="T35" fmla="*/ 0 h 443"/>
                <a:gd name="T36" fmla="*/ 0 w 571"/>
                <a:gd name="T37" fmla="*/ 0 h 443"/>
                <a:gd name="T38" fmla="*/ 0 w 571"/>
                <a:gd name="T39" fmla="*/ 0 h 443"/>
                <a:gd name="T40" fmla="*/ 0 w 571"/>
                <a:gd name="T41" fmla="*/ 0 h 443"/>
                <a:gd name="T42" fmla="*/ 0 w 571"/>
                <a:gd name="T43" fmla="*/ 0 h 443"/>
                <a:gd name="T44" fmla="*/ 0 w 571"/>
                <a:gd name="T45" fmla="*/ 0 h 443"/>
                <a:gd name="T46" fmla="*/ 0 w 571"/>
                <a:gd name="T47" fmla="*/ 0 h 443"/>
                <a:gd name="T48" fmla="*/ 0 w 571"/>
                <a:gd name="T49" fmla="*/ 0 h 443"/>
                <a:gd name="T50" fmla="*/ 0 w 571"/>
                <a:gd name="T51" fmla="*/ 0 h 443"/>
                <a:gd name="T52" fmla="*/ 0 w 571"/>
                <a:gd name="T53" fmla="*/ 0 h 443"/>
                <a:gd name="T54" fmla="*/ 0 w 571"/>
                <a:gd name="T55" fmla="*/ 0 h 443"/>
                <a:gd name="T56" fmla="*/ 0 w 571"/>
                <a:gd name="T57" fmla="*/ 0 h 443"/>
                <a:gd name="T58" fmla="*/ 0 w 571"/>
                <a:gd name="T59" fmla="*/ 0 h 443"/>
                <a:gd name="T60" fmla="*/ 0 w 571"/>
                <a:gd name="T61" fmla="*/ 0 h 443"/>
                <a:gd name="T62" fmla="*/ 0 w 571"/>
                <a:gd name="T63" fmla="*/ 0 h 443"/>
                <a:gd name="T64" fmla="*/ 0 w 571"/>
                <a:gd name="T65" fmla="*/ 0 h 443"/>
                <a:gd name="T66" fmla="*/ 0 w 571"/>
                <a:gd name="T67" fmla="*/ 0 h 443"/>
                <a:gd name="T68" fmla="*/ 0 w 571"/>
                <a:gd name="T69" fmla="*/ 0 h 443"/>
                <a:gd name="T70" fmla="*/ 0 w 571"/>
                <a:gd name="T71" fmla="*/ 0 h 443"/>
                <a:gd name="T72" fmla="*/ 0 w 571"/>
                <a:gd name="T73" fmla="*/ 0 h 443"/>
                <a:gd name="T74" fmla="*/ 0 w 571"/>
                <a:gd name="T75" fmla="*/ 0 h 443"/>
                <a:gd name="T76" fmla="*/ 0 w 571"/>
                <a:gd name="T77" fmla="*/ 0 h 443"/>
                <a:gd name="T78" fmla="*/ 0 w 571"/>
                <a:gd name="T79" fmla="*/ 0 h 443"/>
                <a:gd name="T80" fmla="*/ 0 w 571"/>
                <a:gd name="T81" fmla="*/ 0 h 443"/>
                <a:gd name="T82" fmla="*/ 0 w 571"/>
                <a:gd name="T83" fmla="*/ 0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71"/>
                <a:gd name="T127" fmla="*/ 0 h 443"/>
                <a:gd name="T128" fmla="*/ 571 w 571"/>
                <a:gd name="T129" fmla="*/ 443 h 44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37" name="Freeform 824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3590" y="1781"/>
              <a:ext cx="83" cy="76"/>
            </a:xfrm>
            <a:custGeom>
              <a:avLst/>
              <a:gdLst>
                <a:gd name="T0" fmla="*/ 0 w 286"/>
                <a:gd name="T1" fmla="*/ 0 h 228"/>
                <a:gd name="T2" fmla="*/ 0 w 286"/>
                <a:gd name="T3" fmla="*/ 0 h 228"/>
                <a:gd name="T4" fmla="*/ 0 w 286"/>
                <a:gd name="T5" fmla="*/ 0 h 228"/>
                <a:gd name="T6" fmla="*/ 0 w 286"/>
                <a:gd name="T7" fmla="*/ 0 h 228"/>
                <a:gd name="T8" fmla="*/ 0 w 286"/>
                <a:gd name="T9" fmla="*/ 0 h 228"/>
                <a:gd name="T10" fmla="*/ 0 w 286"/>
                <a:gd name="T11" fmla="*/ 0 h 228"/>
                <a:gd name="T12" fmla="*/ 0 w 286"/>
                <a:gd name="T13" fmla="*/ 0 h 228"/>
                <a:gd name="T14" fmla="*/ 0 w 286"/>
                <a:gd name="T15" fmla="*/ 0 h 228"/>
                <a:gd name="T16" fmla="*/ 0 w 286"/>
                <a:gd name="T17" fmla="*/ 0 h 228"/>
                <a:gd name="T18" fmla="*/ 0 w 286"/>
                <a:gd name="T19" fmla="*/ 0 h 228"/>
                <a:gd name="T20" fmla="*/ 0 w 286"/>
                <a:gd name="T21" fmla="*/ 0 h 228"/>
                <a:gd name="T22" fmla="*/ 0 w 286"/>
                <a:gd name="T23" fmla="*/ 0 h 228"/>
                <a:gd name="T24" fmla="*/ 0 w 286"/>
                <a:gd name="T25" fmla="*/ 0 h 228"/>
                <a:gd name="T26" fmla="*/ 0 w 286"/>
                <a:gd name="T27" fmla="*/ 0 h 228"/>
                <a:gd name="T28" fmla="*/ 0 w 286"/>
                <a:gd name="T29" fmla="*/ 0 h 228"/>
                <a:gd name="T30" fmla="*/ 0 w 286"/>
                <a:gd name="T31" fmla="*/ 0 h 228"/>
                <a:gd name="T32" fmla="*/ 0 w 286"/>
                <a:gd name="T33" fmla="*/ 0 h 228"/>
                <a:gd name="T34" fmla="*/ 0 w 286"/>
                <a:gd name="T35" fmla="*/ 0 h 228"/>
                <a:gd name="T36" fmla="*/ 0 w 286"/>
                <a:gd name="T37" fmla="*/ 0 h 228"/>
                <a:gd name="T38" fmla="*/ 0 w 286"/>
                <a:gd name="T39" fmla="*/ 0 h 228"/>
                <a:gd name="T40" fmla="*/ 0 w 286"/>
                <a:gd name="T41" fmla="*/ 0 h 228"/>
                <a:gd name="T42" fmla="*/ 0 w 286"/>
                <a:gd name="T43" fmla="*/ 0 h 228"/>
                <a:gd name="T44" fmla="*/ 0 w 286"/>
                <a:gd name="T45" fmla="*/ 0 h 228"/>
                <a:gd name="T46" fmla="*/ 0 w 286"/>
                <a:gd name="T47" fmla="*/ 0 h 228"/>
                <a:gd name="T48" fmla="*/ 0 w 286"/>
                <a:gd name="T49" fmla="*/ 0 h 228"/>
                <a:gd name="T50" fmla="*/ 0 w 286"/>
                <a:gd name="T51" fmla="*/ 0 h 228"/>
                <a:gd name="T52" fmla="*/ 0 w 286"/>
                <a:gd name="T53" fmla="*/ 0 h 228"/>
                <a:gd name="T54" fmla="*/ 0 w 286"/>
                <a:gd name="T55" fmla="*/ 0 h 228"/>
                <a:gd name="T56" fmla="*/ 0 w 286"/>
                <a:gd name="T57" fmla="*/ 0 h 228"/>
                <a:gd name="T58" fmla="*/ 0 w 286"/>
                <a:gd name="T59" fmla="*/ 0 h 228"/>
                <a:gd name="T60" fmla="*/ 0 w 286"/>
                <a:gd name="T61" fmla="*/ 0 h 228"/>
                <a:gd name="T62" fmla="*/ 0 w 286"/>
                <a:gd name="T63" fmla="*/ 0 h 228"/>
                <a:gd name="T64" fmla="*/ 0 w 286"/>
                <a:gd name="T65" fmla="*/ 0 h 228"/>
                <a:gd name="T66" fmla="*/ 0 w 286"/>
                <a:gd name="T67" fmla="*/ 0 h 228"/>
                <a:gd name="T68" fmla="*/ 0 w 286"/>
                <a:gd name="T69" fmla="*/ 0 h 228"/>
                <a:gd name="T70" fmla="*/ 0 w 286"/>
                <a:gd name="T71" fmla="*/ 0 h 228"/>
                <a:gd name="T72" fmla="*/ 0 w 286"/>
                <a:gd name="T73" fmla="*/ 0 h 228"/>
                <a:gd name="T74" fmla="*/ 0 w 286"/>
                <a:gd name="T75" fmla="*/ 0 h 228"/>
                <a:gd name="T76" fmla="*/ 0 w 286"/>
                <a:gd name="T77" fmla="*/ 0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86"/>
                <a:gd name="T118" fmla="*/ 0 h 228"/>
                <a:gd name="T119" fmla="*/ 286 w 286"/>
                <a:gd name="T120" fmla="*/ 228 h 22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38" name="Freeform 825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3377" y="1562"/>
              <a:ext cx="151" cy="166"/>
            </a:xfrm>
            <a:custGeom>
              <a:avLst/>
              <a:gdLst>
                <a:gd name="T0" fmla="*/ 0 w 524"/>
                <a:gd name="T1" fmla="*/ 0 h 505"/>
                <a:gd name="T2" fmla="*/ 0 w 524"/>
                <a:gd name="T3" fmla="*/ 0 h 505"/>
                <a:gd name="T4" fmla="*/ 0 w 524"/>
                <a:gd name="T5" fmla="*/ 0 h 505"/>
                <a:gd name="T6" fmla="*/ 0 w 524"/>
                <a:gd name="T7" fmla="*/ 0 h 505"/>
                <a:gd name="T8" fmla="*/ 0 w 524"/>
                <a:gd name="T9" fmla="*/ 0 h 505"/>
                <a:gd name="T10" fmla="*/ 0 w 524"/>
                <a:gd name="T11" fmla="*/ 0 h 505"/>
                <a:gd name="T12" fmla="*/ 0 w 524"/>
                <a:gd name="T13" fmla="*/ 0 h 505"/>
                <a:gd name="T14" fmla="*/ 0 w 524"/>
                <a:gd name="T15" fmla="*/ 0 h 505"/>
                <a:gd name="T16" fmla="*/ 0 w 524"/>
                <a:gd name="T17" fmla="*/ 0 h 505"/>
                <a:gd name="T18" fmla="*/ 0 w 524"/>
                <a:gd name="T19" fmla="*/ 0 h 505"/>
                <a:gd name="T20" fmla="*/ 0 w 524"/>
                <a:gd name="T21" fmla="*/ 0 h 505"/>
                <a:gd name="T22" fmla="*/ 0 w 524"/>
                <a:gd name="T23" fmla="*/ 0 h 505"/>
                <a:gd name="T24" fmla="*/ 0 w 524"/>
                <a:gd name="T25" fmla="*/ 0 h 505"/>
                <a:gd name="T26" fmla="*/ 0 w 524"/>
                <a:gd name="T27" fmla="*/ 0 h 505"/>
                <a:gd name="T28" fmla="*/ 0 w 524"/>
                <a:gd name="T29" fmla="*/ 0 h 505"/>
                <a:gd name="T30" fmla="*/ 0 w 524"/>
                <a:gd name="T31" fmla="*/ 0 h 505"/>
                <a:gd name="T32" fmla="*/ 0 w 524"/>
                <a:gd name="T33" fmla="*/ 0 h 505"/>
                <a:gd name="T34" fmla="*/ 0 w 524"/>
                <a:gd name="T35" fmla="*/ 0 h 505"/>
                <a:gd name="T36" fmla="*/ 0 w 524"/>
                <a:gd name="T37" fmla="*/ 0 h 505"/>
                <a:gd name="T38" fmla="*/ 0 w 524"/>
                <a:gd name="T39" fmla="*/ 0 h 505"/>
                <a:gd name="T40" fmla="*/ 0 w 524"/>
                <a:gd name="T41" fmla="*/ 0 h 505"/>
                <a:gd name="T42" fmla="*/ 0 w 524"/>
                <a:gd name="T43" fmla="*/ 0 h 505"/>
                <a:gd name="T44" fmla="*/ 0 w 524"/>
                <a:gd name="T45" fmla="*/ 0 h 505"/>
                <a:gd name="T46" fmla="*/ 0 w 524"/>
                <a:gd name="T47" fmla="*/ 0 h 505"/>
                <a:gd name="T48" fmla="*/ 0 w 524"/>
                <a:gd name="T49" fmla="*/ 0 h 505"/>
                <a:gd name="T50" fmla="*/ 0 w 524"/>
                <a:gd name="T51" fmla="*/ 0 h 505"/>
                <a:gd name="T52" fmla="*/ 0 w 524"/>
                <a:gd name="T53" fmla="*/ 0 h 505"/>
                <a:gd name="T54" fmla="*/ 0 w 524"/>
                <a:gd name="T55" fmla="*/ 0 h 505"/>
                <a:gd name="T56" fmla="*/ 0 w 524"/>
                <a:gd name="T57" fmla="*/ 0 h 505"/>
                <a:gd name="T58" fmla="*/ 0 w 524"/>
                <a:gd name="T59" fmla="*/ 0 h 505"/>
                <a:gd name="T60" fmla="*/ 0 w 524"/>
                <a:gd name="T61" fmla="*/ 0 h 505"/>
                <a:gd name="T62" fmla="*/ 0 w 524"/>
                <a:gd name="T63" fmla="*/ 0 h 505"/>
                <a:gd name="T64" fmla="*/ 0 w 524"/>
                <a:gd name="T65" fmla="*/ 0 h 505"/>
                <a:gd name="T66" fmla="*/ 0 w 524"/>
                <a:gd name="T67" fmla="*/ 0 h 505"/>
                <a:gd name="T68" fmla="*/ 0 w 524"/>
                <a:gd name="T69" fmla="*/ 0 h 505"/>
                <a:gd name="T70" fmla="*/ 0 w 524"/>
                <a:gd name="T71" fmla="*/ 0 h 505"/>
                <a:gd name="T72" fmla="*/ 0 w 524"/>
                <a:gd name="T73" fmla="*/ 0 h 505"/>
                <a:gd name="T74" fmla="*/ 0 w 524"/>
                <a:gd name="T75" fmla="*/ 0 h 505"/>
                <a:gd name="T76" fmla="*/ 0 w 524"/>
                <a:gd name="T77" fmla="*/ 0 h 505"/>
                <a:gd name="T78" fmla="*/ 0 w 524"/>
                <a:gd name="T79" fmla="*/ 0 h 505"/>
                <a:gd name="T80" fmla="*/ 0 w 524"/>
                <a:gd name="T81" fmla="*/ 0 h 505"/>
                <a:gd name="T82" fmla="*/ 0 w 524"/>
                <a:gd name="T83" fmla="*/ 0 h 505"/>
                <a:gd name="T84" fmla="*/ 0 w 524"/>
                <a:gd name="T85" fmla="*/ 0 h 505"/>
                <a:gd name="T86" fmla="*/ 0 w 524"/>
                <a:gd name="T87" fmla="*/ 0 h 505"/>
                <a:gd name="T88" fmla="*/ 0 w 524"/>
                <a:gd name="T89" fmla="*/ 0 h 505"/>
                <a:gd name="T90" fmla="*/ 0 w 524"/>
                <a:gd name="T91" fmla="*/ 0 h 505"/>
                <a:gd name="T92" fmla="*/ 0 w 524"/>
                <a:gd name="T93" fmla="*/ 0 h 505"/>
                <a:gd name="T94" fmla="*/ 0 w 524"/>
                <a:gd name="T95" fmla="*/ 0 h 505"/>
                <a:gd name="T96" fmla="*/ 0 w 524"/>
                <a:gd name="T97" fmla="*/ 0 h 505"/>
                <a:gd name="T98" fmla="*/ 0 w 524"/>
                <a:gd name="T99" fmla="*/ 0 h 505"/>
                <a:gd name="T100" fmla="*/ 0 w 524"/>
                <a:gd name="T101" fmla="*/ 0 h 505"/>
                <a:gd name="T102" fmla="*/ 0 w 524"/>
                <a:gd name="T103" fmla="*/ 0 h 505"/>
                <a:gd name="T104" fmla="*/ 0 w 524"/>
                <a:gd name="T105" fmla="*/ 0 h 505"/>
                <a:gd name="T106" fmla="*/ 0 w 524"/>
                <a:gd name="T107" fmla="*/ 0 h 505"/>
                <a:gd name="T108" fmla="*/ 0 w 524"/>
                <a:gd name="T109" fmla="*/ 0 h 505"/>
                <a:gd name="T110" fmla="*/ 0 w 524"/>
                <a:gd name="T111" fmla="*/ 0 h 505"/>
                <a:gd name="T112" fmla="*/ 0 w 524"/>
                <a:gd name="T113" fmla="*/ 0 h 505"/>
                <a:gd name="T114" fmla="*/ 0 w 524"/>
                <a:gd name="T115" fmla="*/ 0 h 505"/>
                <a:gd name="T116" fmla="*/ 0 w 524"/>
                <a:gd name="T117" fmla="*/ 0 h 505"/>
                <a:gd name="T118" fmla="*/ 0 w 524"/>
                <a:gd name="T119" fmla="*/ 0 h 505"/>
                <a:gd name="T120" fmla="*/ 0 w 524"/>
                <a:gd name="T121" fmla="*/ 0 h 505"/>
                <a:gd name="T122" fmla="*/ 0 w 524"/>
                <a:gd name="T123" fmla="*/ 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24"/>
                <a:gd name="T187" fmla="*/ 0 h 505"/>
                <a:gd name="T188" fmla="*/ 524 w 524"/>
                <a:gd name="T189" fmla="*/ 505 h 50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39" name="Freeform 826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3718" y="1537"/>
              <a:ext cx="226" cy="183"/>
            </a:xfrm>
            <a:custGeom>
              <a:avLst/>
              <a:gdLst>
                <a:gd name="T0" fmla="*/ 0 w 764"/>
                <a:gd name="T1" fmla="*/ 0 h 555"/>
                <a:gd name="T2" fmla="*/ 0 w 764"/>
                <a:gd name="T3" fmla="*/ 0 h 555"/>
                <a:gd name="T4" fmla="*/ 0 w 764"/>
                <a:gd name="T5" fmla="*/ 0 h 555"/>
                <a:gd name="T6" fmla="*/ 0 w 764"/>
                <a:gd name="T7" fmla="*/ 0 h 555"/>
                <a:gd name="T8" fmla="*/ 0 w 764"/>
                <a:gd name="T9" fmla="*/ 0 h 555"/>
                <a:gd name="T10" fmla="*/ 0 w 764"/>
                <a:gd name="T11" fmla="*/ 0 h 555"/>
                <a:gd name="T12" fmla="*/ 0 w 764"/>
                <a:gd name="T13" fmla="*/ 0 h 555"/>
                <a:gd name="T14" fmla="*/ 0 w 764"/>
                <a:gd name="T15" fmla="*/ 0 h 555"/>
                <a:gd name="T16" fmla="*/ 0 w 764"/>
                <a:gd name="T17" fmla="*/ 0 h 555"/>
                <a:gd name="T18" fmla="*/ 0 w 764"/>
                <a:gd name="T19" fmla="*/ 0 h 555"/>
                <a:gd name="T20" fmla="*/ 0 w 764"/>
                <a:gd name="T21" fmla="*/ 0 h 555"/>
                <a:gd name="T22" fmla="*/ 0 w 764"/>
                <a:gd name="T23" fmla="*/ 0 h 555"/>
                <a:gd name="T24" fmla="*/ 0 w 764"/>
                <a:gd name="T25" fmla="*/ 0 h 555"/>
                <a:gd name="T26" fmla="*/ 0 w 764"/>
                <a:gd name="T27" fmla="*/ 0 h 555"/>
                <a:gd name="T28" fmla="*/ 0 w 764"/>
                <a:gd name="T29" fmla="*/ 0 h 555"/>
                <a:gd name="T30" fmla="*/ 0 w 764"/>
                <a:gd name="T31" fmla="*/ 0 h 555"/>
                <a:gd name="T32" fmla="*/ 0 w 764"/>
                <a:gd name="T33" fmla="*/ 0 h 555"/>
                <a:gd name="T34" fmla="*/ 0 w 764"/>
                <a:gd name="T35" fmla="*/ 0 h 555"/>
                <a:gd name="T36" fmla="*/ 0 w 764"/>
                <a:gd name="T37" fmla="*/ 0 h 555"/>
                <a:gd name="T38" fmla="*/ 0 w 764"/>
                <a:gd name="T39" fmla="*/ 0 h 555"/>
                <a:gd name="T40" fmla="*/ 0 w 764"/>
                <a:gd name="T41" fmla="*/ 0 h 555"/>
                <a:gd name="T42" fmla="*/ 0 w 764"/>
                <a:gd name="T43" fmla="*/ 0 h 555"/>
                <a:gd name="T44" fmla="*/ 0 w 764"/>
                <a:gd name="T45" fmla="*/ 0 h 555"/>
                <a:gd name="T46" fmla="*/ 0 w 764"/>
                <a:gd name="T47" fmla="*/ 0 h 555"/>
                <a:gd name="T48" fmla="*/ 0 w 764"/>
                <a:gd name="T49" fmla="*/ 0 h 555"/>
                <a:gd name="T50" fmla="*/ 0 w 764"/>
                <a:gd name="T51" fmla="*/ 0 h 555"/>
                <a:gd name="T52" fmla="*/ 0 w 764"/>
                <a:gd name="T53" fmla="*/ 0 h 555"/>
                <a:gd name="T54" fmla="*/ 0 w 764"/>
                <a:gd name="T55" fmla="*/ 0 h 555"/>
                <a:gd name="T56" fmla="*/ 0 w 764"/>
                <a:gd name="T57" fmla="*/ 0 h 555"/>
                <a:gd name="T58" fmla="*/ 0 w 764"/>
                <a:gd name="T59" fmla="*/ 0 h 555"/>
                <a:gd name="T60" fmla="*/ 0 w 764"/>
                <a:gd name="T61" fmla="*/ 0 h 555"/>
                <a:gd name="T62" fmla="*/ 0 w 764"/>
                <a:gd name="T63" fmla="*/ 0 h 555"/>
                <a:gd name="T64" fmla="*/ 0 w 764"/>
                <a:gd name="T65" fmla="*/ 0 h 555"/>
                <a:gd name="T66" fmla="*/ 0 w 764"/>
                <a:gd name="T67" fmla="*/ 0 h 555"/>
                <a:gd name="T68" fmla="*/ 0 w 764"/>
                <a:gd name="T69" fmla="*/ 0 h 555"/>
                <a:gd name="T70" fmla="*/ 0 w 764"/>
                <a:gd name="T71" fmla="*/ 0 h 555"/>
                <a:gd name="T72" fmla="*/ 0 w 764"/>
                <a:gd name="T73" fmla="*/ 0 h 555"/>
                <a:gd name="T74" fmla="*/ 0 w 764"/>
                <a:gd name="T75" fmla="*/ 0 h 555"/>
                <a:gd name="T76" fmla="*/ 0 w 764"/>
                <a:gd name="T77" fmla="*/ 0 h 555"/>
                <a:gd name="T78" fmla="*/ 0 w 764"/>
                <a:gd name="T79" fmla="*/ 0 h 555"/>
                <a:gd name="T80" fmla="*/ 0 w 764"/>
                <a:gd name="T81" fmla="*/ 0 h 555"/>
                <a:gd name="T82" fmla="*/ 0 w 764"/>
                <a:gd name="T83" fmla="*/ 0 h 555"/>
                <a:gd name="T84" fmla="*/ 0 w 764"/>
                <a:gd name="T85" fmla="*/ 0 h 555"/>
                <a:gd name="T86" fmla="*/ 0 w 764"/>
                <a:gd name="T87" fmla="*/ 0 h 555"/>
                <a:gd name="T88" fmla="*/ 0 w 764"/>
                <a:gd name="T89" fmla="*/ 0 h 555"/>
                <a:gd name="T90" fmla="*/ 0 w 764"/>
                <a:gd name="T91" fmla="*/ 0 h 555"/>
                <a:gd name="T92" fmla="*/ 0 w 764"/>
                <a:gd name="T93" fmla="*/ 0 h 555"/>
                <a:gd name="T94" fmla="*/ 0 w 764"/>
                <a:gd name="T95" fmla="*/ 0 h 555"/>
                <a:gd name="T96" fmla="*/ 0 w 764"/>
                <a:gd name="T97" fmla="*/ 0 h 555"/>
                <a:gd name="T98" fmla="*/ 0 w 764"/>
                <a:gd name="T99" fmla="*/ 0 h 555"/>
                <a:gd name="T100" fmla="*/ 0 w 764"/>
                <a:gd name="T101" fmla="*/ 0 h 555"/>
                <a:gd name="T102" fmla="*/ 0 w 764"/>
                <a:gd name="T103" fmla="*/ 0 h 555"/>
                <a:gd name="T104" fmla="*/ 0 w 764"/>
                <a:gd name="T105" fmla="*/ 0 h 555"/>
                <a:gd name="T106" fmla="*/ 0 w 764"/>
                <a:gd name="T107" fmla="*/ 0 h 555"/>
                <a:gd name="T108" fmla="*/ 0 w 764"/>
                <a:gd name="T109" fmla="*/ 0 h 555"/>
                <a:gd name="T110" fmla="*/ 0 w 764"/>
                <a:gd name="T111" fmla="*/ 0 h 555"/>
                <a:gd name="T112" fmla="*/ 0 w 764"/>
                <a:gd name="T113" fmla="*/ 0 h 555"/>
                <a:gd name="T114" fmla="*/ 0 w 764"/>
                <a:gd name="T115" fmla="*/ 0 h 555"/>
                <a:gd name="T116" fmla="*/ 0 w 764"/>
                <a:gd name="T117" fmla="*/ 0 h 555"/>
                <a:gd name="T118" fmla="*/ 0 w 764"/>
                <a:gd name="T119" fmla="*/ 0 h 555"/>
                <a:gd name="T120" fmla="*/ 0 w 764"/>
                <a:gd name="T121" fmla="*/ 0 h 555"/>
                <a:gd name="T122" fmla="*/ 0 w 764"/>
                <a:gd name="T123" fmla="*/ 0 h 555"/>
                <a:gd name="T124" fmla="*/ 0 w 764"/>
                <a:gd name="T125" fmla="*/ 0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64"/>
                <a:gd name="T190" fmla="*/ 0 h 555"/>
                <a:gd name="T191" fmla="*/ 764 w 764"/>
                <a:gd name="T192" fmla="*/ 555 h 55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40" name="Freeform 827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3740" y="1568"/>
              <a:ext cx="249" cy="267"/>
            </a:xfrm>
            <a:custGeom>
              <a:avLst/>
              <a:gdLst>
                <a:gd name="T0" fmla="*/ 0 w 831"/>
                <a:gd name="T1" fmla="*/ 0 h 812"/>
                <a:gd name="T2" fmla="*/ 0 w 831"/>
                <a:gd name="T3" fmla="*/ 0 h 812"/>
                <a:gd name="T4" fmla="*/ 0 w 831"/>
                <a:gd name="T5" fmla="*/ 0 h 812"/>
                <a:gd name="T6" fmla="*/ 0 w 831"/>
                <a:gd name="T7" fmla="*/ 0 h 812"/>
                <a:gd name="T8" fmla="*/ 0 w 831"/>
                <a:gd name="T9" fmla="*/ 0 h 812"/>
                <a:gd name="T10" fmla="*/ 0 w 831"/>
                <a:gd name="T11" fmla="*/ 0 h 812"/>
                <a:gd name="T12" fmla="*/ 0 w 831"/>
                <a:gd name="T13" fmla="*/ 0 h 812"/>
                <a:gd name="T14" fmla="*/ 0 w 831"/>
                <a:gd name="T15" fmla="*/ 0 h 812"/>
                <a:gd name="T16" fmla="*/ 0 w 831"/>
                <a:gd name="T17" fmla="*/ 0 h 812"/>
                <a:gd name="T18" fmla="*/ 0 w 831"/>
                <a:gd name="T19" fmla="*/ 0 h 812"/>
                <a:gd name="T20" fmla="*/ 0 w 831"/>
                <a:gd name="T21" fmla="*/ 0 h 812"/>
                <a:gd name="T22" fmla="*/ 0 w 831"/>
                <a:gd name="T23" fmla="*/ 0 h 812"/>
                <a:gd name="T24" fmla="*/ 0 w 831"/>
                <a:gd name="T25" fmla="*/ 0 h 812"/>
                <a:gd name="T26" fmla="*/ 0 w 831"/>
                <a:gd name="T27" fmla="*/ 0 h 812"/>
                <a:gd name="T28" fmla="*/ 0 w 831"/>
                <a:gd name="T29" fmla="*/ 0 h 812"/>
                <a:gd name="T30" fmla="*/ 0 w 831"/>
                <a:gd name="T31" fmla="*/ 0 h 812"/>
                <a:gd name="T32" fmla="*/ 0 w 831"/>
                <a:gd name="T33" fmla="*/ 0 h 812"/>
                <a:gd name="T34" fmla="*/ 0 w 831"/>
                <a:gd name="T35" fmla="*/ 0 h 812"/>
                <a:gd name="T36" fmla="*/ 0 w 831"/>
                <a:gd name="T37" fmla="*/ 0 h 812"/>
                <a:gd name="T38" fmla="*/ 0 w 831"/>
                <a:gd name="T39" fmla="*/ 0 h 812"/>
                <a:gd name="T40" fmla="*/ 0 w 831"/>
                <a:gd name="T41" fmla="*/ 0 h 812"/>
                <a:gd name="T42" fmla="*/ 0 w 831"/>
                <a:gd name="T43" fmla="*/ 0 h 812"/>
                <a:gd name="T44" fmla="*/ 0 w 831"/>
                <a:gd name="T45" fmla="*/ 0 h 812"/>
                <a:gd name="T46" fmla="*/ 0 w 831"/>
                <a:gd name="T47" fmla="*/ 0 h 812"/>
                <a:gd name="T48" fmla="*/ 0 w 831"/>
                <a:gd name="T49" fmla="*/ 0 h 812"/>
                <a:gd name="T50" fmla="*/ 0 w 831"/>
                <a:gd name="T51" fmla="*/ 0 h 812"/>
                <a:gd name="T52" fmla="*/ 0 w 831"/>
                <a:gd name="T53" fmla="*/ 0 h 812"/>
                <a:gd name="T54" fmla="*/ 0 w 831"/>
                <a:gd name="T55" fmla="*/ 0 h 812"/>
                <a:gd name="T56" fmla="*/ 0 w 831"/>
                <a:gd name="T57" fmla="*/ 0 h 812"/>
                <a:gd name="T58" fmla="*/ 0 w 831"/>
                <a:gd name="T59" fmla="*/ 0 h 812"/>
                <a:gd name="T60" fmla="*/ 0 w 831"/>
                <a:gd name="T61" fmla="*/ 0 h 812"/>
                <a:gd name="T62" fmla="*/ 0 w 831"/>
                <a:gd name="T63" fmla="*/ 0 h 812"/>
                <a:gd name="T64" fmla="*/ 0 w 831"/>
                <a:gd name="T65" fmla="*/ 0 h 812"/>
                <a:gd name="T66" fmla="*/ 0 w 831"/>
                <a:gd name="T67" fmla="*/ 0 h 812"/>
                <a:gd name="T68" fmla="*/ 0 w 831"/>
                <a:gd name="T69" fmla="*/ 0 h 812"/>
                <a:gd name="T70" fmla="*/ 0 w 831"/>
                <a:gd name="T71" fmla="*/ 0 h 812"/>
                <a:gd name="T72" fmla="*/ 0 w 831"/>
                <a:gd name="T73" fmla="*/ 0 h 812"/>
                <a:gd name="T74" fmla="*/ 0 w 831"/>
                <a:gd name="T75" fmla="*/ 0 h 812"/>
                <a:gd name="T76" fmla="*/ 0 w 831"/>
                <a:gd name="T77" fmla="*/ 0 h 812"/>
                <a:gd name="T78" fmla="*/ 0 w 831"/>
                <a:gd name="T79" fmla="*/ 0 h 812"/>
                <a:gd name="T80" fmla="*/ 0 w 831"/>
                <a:gd name="T81" fmla="*/ 0 h 812"/>
                <a:gd name="T82" fmla="*/ 0 w 831"/>
                <a:gd name="T83" fmla="*/ 0 h 812"/>
                <a:gd name="T84" fmla="*/ 0 w 831"/>
                <a:gd name="T85" fmla="*/ 0 h 812"/>
                <a:gd name="T86" fmla="*/ 0 w 831"/>
                <a:gd name="T87" fmla="*/ 0 h 812"/>
                <a:gd name="T88" fmla="*/ 0 w 831"/>
                <a:gd name="T89" fmla="*/ 0 h 812"/>
                <a:gd name="T90" fmla="*/ 0 w 831"/>
                <a:gd name="T91" fmla="*/ 0 h 812"/>
                <a:gd name="T92" fmla="*/ 0 w 831"/>
                <a:gd name="T93" fmla="*/ 0 h 812"/>
                <a:gd name="T94" fmla="*/ 0 w 831"/>
                <a:gd name="T95" fmla="*/ 0 h 812"/>
                <a:gd name="T96" fmla="*/ 0 w 831"/>
                <a:gd name="T97" fmla="*/ 0 h 812"/>
                <a:gd name="T98" fmla="*/ 0 w 831"/>
                <a:gd name="T99" fmla="*/ 0 h 812"/>
                <a:gd name="T100" fmla="*/ 0 w 831"/>
                <a:gd name="T101" fmla="*/ 0 h 812"/>
                <a:gd name="T102" fmla="*/ 0 w 831"/>
                <a:gd name="T103" fmla="*/ 0 h 812"/>
                <a:gd name="T104" fmla="*/ 0 w 831"/>
                <a:gd name="T105" fmla="*/ 0 h 812"/>
                <a:gd name="T106" fmla="*/ 0 w 831"/>
                <a:gd name="T107" fmla="*/ 0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31"/>
                <a:gd name="T163" fmla="*/ 0 h 812"/>
                <a:gd name="T164" fmla="*/ 831 w 831"/>
                <a:gd name="T165" fmla="*/ 812 h 8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41" name="Freeform 828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4279" y="1737"/>
              <a:ext cx="151" cy="369"/>
            </a:xfrm>
            <a:custGeom>
              <a:avLst/>
              <a:gdLst>
                <a:gd name="T0" fmla="*/ 0 w 505"/>
                <a:gd name="T1" fmla="*/ 0 h 1121"/>
                <a:gd name="T2" fmla="*/ 0 w 505"/>
                <a:gd name="T3" fmla="*/ 0 h 1121"/>
                <a:gd name="T4" fmla="*/ 0 w 505"/>
                <a:gd name="T5" fmla="*/ 0 h 1121"/>
                <a:gd name="T6" fmla="*/ 0 w 505"/>
                <a:gd name="T7" fmla="*/ 0 h 1121"/>
                <a:gd name="T8" fmla="*/ 0 w 505"/>
                <a:gd name="T9" fmla="*/ 0 h 1121"/>
                <a:gd name="T10" fmla="*/ 0 w 505"/>
                <a:gd name="T11" fmla="*/ 0 h 1121"/>
                <a:gd name="T12" fmla="*/ 0 w 505"/>
                <a:gd name="T13" fmla="*/ 0 h 1121"/>
                <a:gd name="T14" fmla="*/ 0 w 505"/>
                <a:gd name="T15" fmla="*/ 0 h 1121"/>
                <a:gd name="T16" fmla="*/ 0 w 505"/>
                <a:gd name="T17" fmla="*/ 0 h 1121"/>
                <a:gd name="T18" fmla="*/ 0 w 505"/>
                <a:gd name="T19" fmla="*/ 0 h 1121"/>
                <a:gd name="T20" fmla="*/ 0 w 505"/>
                <a:gd name="T21" fmla="*/ 0 h 1121"/>
                <a:gd name="T22" fmla="*/ 0 w 505"/>
                <a:gd name="T23" fmla="*/ 0 h 1121"/>
                <a:gd name="T24" fmla="*/ 0 w 505"/>
                <a:gd name="T25" fmla="*/ 0 h 1121"/>
                <a:gd name="T26" fmla="*/ 0 w 505"/>
                <a:gd name="T27" fmla="*/ 0 h 1121"/>
                <a:gd name="T28" fmla="*/ 0 w 505"/>
                <a:gd name="T29" fmla="*/ 0 h 1121"/>
                <a:gd name="T30" fmla="*/ 0 w 505"/>
                <a:gd name="T31" fmla="*/ 0 h 1121"/>
                <a:gd name="T32" fmla="*/ 0 w 505"/>
                <a:gd name="T33" fmla="*/ 0 h 1121"/>
                <a:gd name="T34" fmla="*/ 0 w 505"/>
                <a:gd name="T35" fmla="*/ 0 h 1121"/>
                <a:gd name="T36" fmla="*/ 0 w 505"/>
                <a:gd name="T37" fmla="*/ 0 h 1121"/>
                <a:gd name="T38" fmla="*/ 0 w 505"/>
                <a:gd name="T39" fmla="*/ 0 h 1121"/>
                <a:gd name="T40" fmla="*/ 0 w 505"/>
                <a:gd name="T41" fmla="*/ 0 h 1121"/>
                <a:gd name="T42" fmla="*/ 0 w 505"/>
                <a:gd name="T43" fmla="*/ 0 h 1121"/>
                <a:gd name="T44" fmla="*/ 0 w 505"/>
                <a:gd name="T45" fmla="*/ 0 h 1121"/>
                <a:gd name="T46" fmla="*/ 0 w 505"/>
                <a:gd name="T47" fmla="*/ 0 h 1121"/>
                <a:gd name="T48" fmla="*/ 0 w 505"/>
                <a:gd name="T49" fmla="*/ 0 h 1121"/>
                <a:gd name="T50" fmla="*/ 0 w 505"/>
                <a:gd name="T51" fmla="*/ 0 h 1121"/>
                <a:gd name="T52" fmla="*/ 0 w 505"/>
                <a:gd name="T53" fmla="*/ 0 h 1121"/>
                <a:gd name="T54" fmla="*/ 0 w 505"/>
                <a:gd name="T55" fmla="*/ 0 h 1121"/>
                <a:gd name="T56" fmla="*/ 0 w 505"/>
                <a:gd name="T57" fmla="*/ 0 h 1121"/>
                <a:gd name="T58" fmla="*/ 0 w 505"/>
                <a:gd name="T59" fmla="*/ 0 h 1121"/>
                <a:gd name="T60" fmla="*/ 0 w 505"/>
                <a:gd name="T61" fmla="*/ 0 h 1121"/>
                <a:gd name="T62" fmla="*/ 0 w 505"/>
                <a:gd name="T63" fmla="*/ 0 h 1121"/>
                <a:gd name="T64" fmla="*/ 0 w 505"/>
                <a:gd name="T65" fmla="*/ 0 h 1121"/>
                <a:gd name="T66" fmla="*/ 0 w 505"/>
                <a:gd name="T67" fmla="*/ 0 h 1121"/>
                <a:gd name="T68" fmla="*/ 0 w 505"/>
                <a:gd name="T69" fmla="*/ 0 h 1121"/>
                <a:gd name="T70" fmla="*/ 0 w 505"/>
                <a:gd name="T71" fmla="*/ 0 h 1121"/>
                <a:gd name="T72" fmla="*/ 0 w 505"/>
                <a:gd name="T73" fmla="*/ 0 h 1121"/>
                <a:gd name="T74" fmla="*/ 0 w 505"/>
                <a:gd name="T75" fmla="*/ 0 h 1121"/>
                <a:gd name="T76" fmla="*/ 0 w 505"/>
                <a:gd name="T77" fmla="*/ 0 h 1121"/>
                <a:gd name="T78" fmla="*/ 0 w 505"/>
                <a:gd name="T79" fmla="*/ 0 h 1121"/>
                <a:gd name="T80" fmla="*/ 0 w 505"/>
                <a:gd name="T81" fmla="*/ 0 h 1121"/>
                <a:gd name="T82" fmla="*/ 0 w 505"/>
                <a:gd name="T83" fmla="*/ 0 h 1121"/>
                <a:gd name="T84" fmla="*/ 0 w 505"/>
                <a:gd name="T85" fmla="*/ 0 h 1121"/>
                <a:gd name="T86" fmla="*/ 0 w 505"/>
                <a:gd name="T87" fmla="*/ 0 h 1121"/>
                <a:gd name="T88" fmla="*/ 0 w 505"/>
                <a:gd name="T89" fmla="*/ 0 h 1121"/>
                <a:gd name="T90" fmla="*/ 0 w 505"/>
                <a:gd name="T91" fmla="*/ 0 h 1121"/>
                <a:gd name="T92" fmla="*/ 0 w 505"/>
                <a:gd name="T93" fmla="*/ 0 h 1121"/>
                <a:gd name="T94" fmla="*/ 0 w 505"/>
                <a:gd name="T95" fmla="*/ 0 h 1121"/>
                <a:gd name="T96" fmla="*/ 0 w 505"/>
                <a:gd name="T97" fmla="*/ 0 h 1121"/>
                <a:gd name="T98" fmla="*/ 0 w 505"/>
                <a:gd name="T99" fmla="*/ 0 h 1121"/>
                <a:gd name="T100" fmla="*/ 0 w 505"/>
                <a:gd name="T101" fmla="*/ 0 h 1121"/>
                <a:gd name="T102" fmla="*/ 0 w 505"/>
                <a:gd name="T103" fmla="*/ 0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05"/>
                <a:gd name="T157" fmla="*/ 0 h 1121"/>
                <a:gd name="T158" fmla="*/ 505 w 505"/>
                <a:gd name="T159" fmla="*/ 1121 h 112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42" name="Freeform 829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2453" y="2058"/>
              <a:ext cx="55" cy="37"/>
            </a:xfrm>
            <a:custGeom>
              <a:avLst/>
              <a:gdLst>
                <a:gd name="T0" fmla="*/ 0 w 180"/>
                <a:gd name="T1" fmla="*/ 0 h 112"/>
                <a:gd name="T2" fmla="*/ 0 w 180"/>
                <a:gd name="T3" fmla="*/ 0 h 112"/>
                <a:gd name="T4" fmla="*/ 0 w 180"/>
                <a:gd name="T5" fmla="*/ 0 h 112"/>
                <a:gd name="T6" fmla="*/ 0 w 180"/>
                <a:gd name="T7" fmla="*/ 0 h 112"/>
                <a:gd name="T8" fmla="*/ 0 w 180"/>
                <a:gd name="T9" fmla="*/ 0 h 112"/>
                <a:gd name="T10" fmla="*/ 0 w 180"/>
                <a:gd name="T11" fmla="*/ 0 h 112"/>
                <a:gd name="T12" fmla="*/ 0 w 180"/>
                <a:gd name="T13" fmla="*/ 0 h 112"/>
                <a:gd name="T14" fmla="*/ 0 w 180"/>
                <a:gd name="T15" fmla="*/ 0 h 112"/>
                <a:gd name="T16" fmla="*/ 0 w 180"/>
                <a:gd name="T17" fmla="*/ 0 h 112"/>
                <a:gd name="T18" fmla="*/ 0 w 180"/>
                <a:gd name="T19" fmla="*/ 0 h 112"/>
                <a:gd name="T20" fmla="*/ 0 w 180"/>
                <a:gd name="T21" fmla="*/ 0 h 112"/>
                <a:gd name="T22" fmla="*/ 0 w 180"/>
                <a:gd name="T23" fmla="*/ 0 h 112"/>
                <a:gd name="T24" fmla="*/ 0 w 180"/>
                <a:gd name="T25" fmla="*/ 0 h 112"/>
                <a:gd name="T26" fmla="*/ 0 w 180"/>
                <a:gd name="T27" fmla="*/ 0 h 112"/>
                <a:gd name="T28" fmla="*/ 0 w 180"/>
                <a:gd name="T29" fmla="*/ 0 h 112"/>
                <a:gd name="T30" fmla="*/ 0 w 180"/>
                <a:gd name="T31" fmla="*/ 0 h 112"/>
                <a:gd name="T32" fmla="*/ 0 w 180"/>
                <a:gd name="T33" fmla="*/ 0 h 112"/>
                <a:gd name="T34" fmla="*/ 0 w 180"/>
                <a:gd name="T35" fmla="*/ 0 h 112"/>
                <a:gd name="T36" fmla="*/ 0 w 180"/>
                <a:gd name="T37" fmla="*/ 0 h 112"/>
                <a:gd name="T38" fmla="*/ 0 w 180"/>
                <a:gd name="T39" fmla="*/ 0 h 112"/>
                <a:gd name="T40" fmla="*/ 0 w 180"/>
                <a:gd name="T41" fmla="*/ 0 h 112"/>
                <a:gd name="T42" fmla="*/ 0 w 180"/>
                <a:gd name="T43" fmla="*/ 0 h 112"/>
                <a:gd name="T44" fmla="*/ 0 w 180"/>
                <a:gd name="T45" fmla="*/ 0 h 112"/>
                <a:gd name="T46" fmla="*/ 0 w 180"/>
                <a:gd name="T47" fmla="*/ 0 h 112"/>
                <a:gd name="T48" fmla="*/ 0 w 180"/>
                <a:gd name="T49" fmla="*/ 0 h 112"/>
                <a:gd name="T50" fmla="*/ 0 w 180"/>
                <a:gd name="T51" fmla="*/ 0 h 112"/>
                <a:gd name="T52" fmla="*/ 0 w 180"/>
                <a:gd name="T53" fmla="*/ 0 h 112"/>
                <a:gd name="T54" fmla="*/ 0 w 180"/>
                <a:gd name="T55" fmla="*/ 0 h 112"/>
                <a:gd name="T56" fmla="*/ 0 w 180"/>
                <a:gd name="T57" fmla="*/ 0 h 112"/>
                <a:gd name="T58" fmla="*/ 0 w 180"/>
                <a:gd name="T59" fmla="*/ 0 h 112"/>
                <a:gd name="T60" fmla="*/ 0 w 180"/>
                <a:gd name="T61" fmla="*/ 0 h 112"/>
                <a:gd name="T62" fmla="*/ 0 w 180"/>
                <a:gd name="T63" fmla="*/ 0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80"/>
                <a:gd name="T97" fmla="*/ 0 h 112"/>
                <a:gd name="T98" fmla="*/ 180 w 180"/>
                <a:gd name="T99" fmla="*/ 112 h 11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43" name="Freeform 830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2510" y="2110"/>
              <a:ext cx="51" cy="63"/>
            </a:xfrm>
            <a:custGeom>
              <a:avLst/>
              <a:gdLst>
                <a:gd name="T0" fmla="*/ 0 w 173"/>
                <a:gd name="T1" fmla="*/ 0 h 192"/>
                <a:gd name="T2" fmla="*/ 0 w 173"/>
                <a:gd name="T3" fmla="*/ 0 h 192"/>
                <a:gd name="T4" fmla="*/ 0 w 173"/>
                <a:gd name="T5" fmla="*/ 0 h 192"/>
                <a:gd name="T6" fmla="*/ 0 w 173"/>
                <a:gd name="T7" fmla="*/ 0 h 192"/>
                <a:gd name="T8" fmla="*/ 0 w 173"/>
                <a:gd name="T9" fmla="*/ 0 h 192"/>
                <a:gd name="T10" fmla="*/ 0 w 173"/>
                <a:gd name="T11" fmla="*/ 0 h 192"/>
                <a:gd name="T12" fmla="*/ 0 w 173"/>
                <a:gd name="T13" fmla="*/ 0 h 192"/>
                <a:gd name="T14" fmla="*/ 0 w 173"/>
                <a:gd name="T15" fmla="*/ 0 h 192"/>
                <a:gd name="T16" fmla="*/ 0 w 173"/>
                <a:gd name="T17" fmla="*/ 0 h 192"/>
                <a:gd name="T18" fmla="*/ 0 w 173"/>
                <a:gd name="T19" fmla="*/ 0 h 192"/>
                <a:gd name="T20" fmla="*/ 0 w 173"/>
                <a:gd name="T21" fmla="*/ 0 h 192"/>
                <a:gd name="T22" fmla="*/ 0 w 173"/>
                <a:gd name="T23" fmla="*/ 0 h 192"/>
                <a:gd name="T24" fmla="*/ 0 w 173"/>
                <a:gd name="T25" fmla="*/ 0 h 192"/>
                <a:gd name="T26" fmla="*/ 0 w 173"/>
                <a:gd name="T27" fmla="*/ 0 h 192"/>
                <a:gd name="T28" fmla="*/ 0 w 173"/>
                <a:gd name="T29" fmla="*/ 0 h 192"/>
                <a:gd name="T30" fmla="*/ 0 w 173"/>
                <a:gd name="T31" fmla="*/ 0 h 192"/>
                <a:gd name="T32" fmla="*/ 0 w 173"/>
                <a:gd name="T33" fmla="*/ 0 h 192"/>
                <a:gd name="T34" fmla="*/ 0 w 173"/>
                <a:gd name="T35" fmla="*/ 0 h 192"/>
                <a:gd name="T36" fmla="*/ 0 w 173"/>
                <a:gd name="T37" fmla="*/ 0 h 192"/>
                <a:gd name="T38" fmla="*/ 0 w 173"/>
                <a:gd name="T39" fmla="*/ 0 h 192"/>
                <a:gd name="T40" fmla="*/ 0 w 173"/>
                <a:gd name="T41" fmla="*/ 0 h 192"/>
                <a:gd name="T42" fmla="*/ 0 w 173"/>
                <a:gd name="T43" fmla="*/ 0 h 192"/>
                <a:gd name="T44" fmla="*/ 0 w 173"/>
                <a:gd name="T45" fmla="*/ 0 h 192"/>
                <a:gd name="T46" fmla="*/ 0 w 173"/>
                <a:gd name="T47" fmla="*/ 0 h 192"/>
                <a:gd name="T48" fmla="*/ 0 w 173"/>
                <a:gd name="T49" fmla="*/ 0 h 192"/>
                <a:gd name="T50" fmla="*/ 0 w 173"/>
                <a:gd name="T51" fmla="*/ 0 h 192"/>
                <a:gd name="T52" fmla="*/ 0 w 173"/>
                <a:gd name="T53" fmla="*/ 0 h 192"/>
                <a:gd name="T54" fmla="*/ 0 w 173"/>
                <a:gd name="T55" fmla="*/ 0 h 192"/>
                <a:gd name="T56" fmla="*/ 0 w 173"/>
                <a:gd name="T57" fmla="*/ 0 h 192"/>
                <a:gd name="T58" fmla="*/ 0 w 173"/>
                <a:gd name="T59" fmla="*/ 0 h 192"/>
                <a:gd name="T60" fmla="*/ 0 w 173"/>
                <a:gd name="T61" fmla="*/ 0 h 192"/>
                <a:gd name="T62" fmla="*/ 0 w 173"/>
                <a:gd name="T63" fmla="*/ 0 h 192"/>
                <a:gd name="T64" fmla="*/ 0 w 173"/>
                <a:gd name="T65" fmla="*/ 0 h 192"/>
                <a:gd name="T66" fmla="*/ 0 w 173"/>
                <a:gd name="T67" fmla="*/ 0 h 192"/>
                <a:gd name="T68" fmla="*/ 0 w 173"/>
                <a:gd name="T69" fmla="*/ 0 h 192"/>
                <a:gd name="T70" fmla="*/ 0 w 173"/>
                <a:gd name="T71" fmla="*/ 0 h 192"/>
                <a:gd name="T72" fmla="*/ 0 w 173"/>
                <a:gd name="T73" fmla="*/ 0 h 192"/>
                <a:gd name="T74" fmla="*/ 0 w 173"/>
                <a:gd name="T75" fmla="*/ 0 h 192"/>
                <a:gd name="T76" fmla="*/ 0 w 173"/>
                <a:gd name="T77" fmla="*/ 0 h 192"/>
                <a:gd name="T78" fmla="*/ 0 w 173"/>
                <a:gd name="T79" fmla="*/ 0 h 192"/>
                <a:gd name="T80" fmla="*/ 0 w 173"/>
                <a:gd name="T81" fmla="*/ 0 h 192"/>
                <a:gd name="T82" fmla="*/ 0 w 173"/>
                <a:gd name="T83" fmla="*/ 0 h 192"/>
                <a:gd name="T84" fmla="*/ 0 w 173"/>
                <a:gd name="T85" fmla="*/ 0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3"/>
                <a:gd name="T130" fmla="*/ 0 h 192"/>
                <a:gd name="T131" fmla="*/ 173 w 173"/>
                <a:gd name="T132" fmla="*/ 192 h 19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44" name="Freeform 831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2539" y="2142"/>
              <a:ext cx="72" cy="83"/>
            </a:xfrm>
            <a:custGeom>
              <a:avLst/>
              <a:gdLst>
                <a:gd name="T0" fmla="*/ 0 w 233"/>
                <a:gd name="T1" fmla="*/ 0 h 252"/>
                <a:gd name="T2" fmla="*/ 0 w 233"/>
                <a:gd name="T3" fmla="*/ 0 h 252"/>
                <a:gd name="T4" fmla="*/ 0 w 233"/>
                <a:gd name="T5" fmla="*/ 0 h 252"/>
                <a:gd name="T6" fmla="*/ 0 w 233"/>
                <a:gd name="T7" fmla="*/ 0 h 252"/>
                <a:gd name="T8" fmla="*/ 0 w 233"/>
                <a:gd name="T9" fmla="*/ 0 h 252"/>
                <a:gd name="T10" fmla="*/ 0 w 233"/>
                <a:gd name="T11" fmla="*/ 0 h 252"/>
                <a:gd name="T12" fmla="*/ 0 w 233"/>
                <a:gd name="T13" fmla="*/ 0 h 252"/>
                <a:gd name="T14" fmla="*/ 0 w 233"/>
                <a:gd name="T15" fmla="*/ 0 h 252"/>
                <a:gd name="T16" fmla="*/ 0 w 233"/>
                <a:gd name="T17" fmla="*/ 0 h 252"/>
                <a:gd name="T18" fmla="*/ 0 w 233"/>
                <a:gd name="T19" fmla="*/ 0 h 252"/>
                <a:gd name="T20" fmla="*/ 0 w 233"/>
                <a:gd name="T21" fmla="*/ 0 h 252"/>
                <a:gd name="T22" fmla="*/ 0 w 233"/>
                <a:gd name="T23" fmla="*/ 0 h 252"/>
                <a:gd name="T24" fmla="*/ 0 w 233"/>
                <a:gd name="T25" fmla="*/ 0 h 252"/>
                <a:gd name="T26" fmla="*/ 0 w 233"/>
                <a:gd name="T27" fmla="*/ 0 h 252"/>
                <a:gd name="T28" fmla="*/ 0 w 233"/>
                <a:gd name="T29" fmla="*/ 0 h 252"/>
                <a:gd name="T30" fmla="*/ 0 w 233"/>
                <a:gd name="T31" fmla="*/ 0 h 252"/>
                <a:gd name="T32" fmla="*/ 0 w 233"/>
                <a:gd name="T33" fmla="*/ 0 h 252"/>
                <a:gd name="T34" fmla="*/ 0 w 233"/>
                <a:gd name="T35" fmla="*/ 0 h 252"/>
                <a:gd name="T36" fmla="*/ 0 w 233"/>
                <a:gd name="T37" fmla="*/ 0 h 252"/>
                <a:gd name="T38" fmla="*/ 0 w 233"/>
                <a:gd name="T39" fmla="*/ 0 h 252"/>
                <a:gd name="T40" fmla="*/ 0 w 233"/>
                <a:gd name="T41" fmla="*/ 0 h 252"/>
                <a:gd name="T42" fmla="*/ 0 w 233"/>
                <a:gd name="T43" fmla="*/ 0 h 252"/>
                <a:gd name="T44" fmla="*/ 0 w 233"/>
                <a:gd name="T45" fmla="*/ 0 h 252"/>
                <a:gd name="T46" fmla="*/ 0 w 233"/>
                <a:gd name="T47" fmla="*/ 0 h 252"/>
                <a:gd name="T48" fmla="*/ 0 w 233"/>
                <a:gd name="T49" fmla="*/ 0 h 252"/>
                <a:gd name="T50" fmla="*/ 0 w 233"/>
                <a:gd name="T51" fmla="*/ 0 h 252"/>
                <a:gd name="T52" fmla="*/ 0 w 233"/>
                <a:gd name="T53" fmla="*/ 0 h 252"/>
                <a:gd name="T54" fmla="*/ 0 w 233"/>
                <a:gd name="T55" fmla="*/ 0 h 252"/>
                <a:gd name="T56" fmla="*/ 0 w 233"/>
                <a:gd name="T57" fmla="*/ 0 h 252"/>
                <a:gd name="T58" fmla="*/ 0 w 233"/>
                <a:gd name="T59" fmla="*/ 0 h 252"/>
                <a:gd name="T60" fmla="*/ 0 w 233"/>
                <a:gd name="T61" fmla="*/ 0 h 252"/>
                <a:gd name="T62" fmla="*/ 0 w 233"/>
                <a:gd name="T63" fmla="*/ 0 h 252"/>
                <a:gd name="T64" fmla="*/ 0 w 233"/>
                <a:gd name="T65" fmla="*/ 0 h 252"/>
                <a:gd name="T66" fmla="*/ 0 w 233"/>
                <a:gd name="T67" fmla="*/ 0 h 252"/>
                <a:gd name="T68" fmla="*/ 0 w 233"/>
                <a:gd name="T69" fmla="*/ 0 h 252"/>
                <a:gd name="T70" fmla="*/ 0 w 233"/>
                <a:gd name="T71" fmla="*/ 0 h 252"/>
                <a:gd name="T72" fmla="*/ 0 w 233"/>
                <a:gd name="T73" fmla="*/ 0 h 252"/>
                <a:gd name="T74" fmla="*/ 0 w 233"/>
                <a:gd name="T75" fmla="*/ 0 h 252"/>
                <a:gd name="T76" fmla="*/ 0 w 233"/>
                <a:gd name="T77" fmla="*/ 0 h 252"/>
                <a:gd name="T78" fmla="*/ 0 w 233"/>
                <a:gd name="T79" fmla="*/ 0 h 252"/>
                <a:gd name="T80" fmla="*/ 0 w 233"/>
                <a:gd name="T81" fmla="*/ 0 h 252"/>
                <a:gd name="T82" fmla="*/ 0 w 233"/>
                <a:gd name="T83" fmla="*/ 0 h 252"/>
                <a:gd name="T84" fmla="*/ 0 w 233"/>
                <a:gd name="T85" fmla="*/ 0 h 252"/>
                <a:gd name="T86" fmla="*/ 0 w 233"/>
                <a:gd name="T87" fmla="*/ 0 h 252"/>
                <a:gd name="T88" fmla="*/ 0 w 233"/>
                <a:gd name="T89" fmla="*/ 0 h 252"/>
                <a:gd name="T90" fmla="*/ 0 w 233"/>
                <a:gd name="T91" fmla="*/ 0 h 252"/>
                <a:gd name="T92" fmla="*/ 0 w 233"/>
                <a:gd name="T93" fmla="*/ 0 h 252"/>
                <a:gd name="T94" fmla="*/ 0 w 233"/>
                <a:gd name="T95" fmla="*/ 0 h 252"/>
                <a:gd name="T96" fmla="*/ 0 w 233"/>
                <a:gd name="T97" fmla="*/ 0 h 252"/>
                <a:gd name="T98" fmla="*/ 0 w 233"/>
                <a:gd name="T99" fmla="*/ 0 h 252"/>
                <a:gd name="T100" fmla="*/ 0 w 233"/>
                <a:gd name="T101" fmla="*/ 0 h 252"/>
                <a:gd name="T102" fmla="*/ 0 w 233"/>
                <a:gd name="T103" fmla="*/ 0 h 252"/>
                <a:gd name="T104" fmla="*/ 0 w 233"/>
                <a:gd name="T105" fmla="*/ 0 h 252"/>
                <a:gd name="T106" fmla="*/ 0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3"/>
                <a:gd name="T163" fmla="*/ 0 h 252"/>
                <a:gd name="T164" fmla="*/ 233 w 233"/>
                <a:gd name="T165" fmla="*/ 252 h 2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45" name="Freeform 832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2686" y="2091"/>
              <a:ext cx="71" cy="127"/>
            </a:xfrm>
            <a:custGeom>
              <a:avLst/>
              <a:gdLst>
                <a:gd name="T0" fmla="*/ 0 w 246"/>
                <a:gd name="T1" fmla="*/ 0 h 380"/>
                <a:gd name="T2" fmla="*/ 0 w 246"/>
                <a:gd name="T3" fmla="*/ 0 h 380"/>
                <a:gd name="T4" fmla="*/ 0 w 246"/>
                <a:gd name="T5" fmla="*/ 0 h 380"/>
                <a:gd name="T6" fmla="*/ 0 w 246"/>
                <a:gd name="T7" fmla="*/ 0 h 380"/>
                <a:gd name="T8" fmla="*/ 0 w 246"/>
                <a:gd name="T9" fmla="*/ 0 h 380"/>
                <a:gd name="T10" fmla="*/ 0 w 246"/>
                <a:gd name="T11" fmla="*/ 0 h 380"/>
                <a:gd name="T12" fmla="*/ 0 w 246"/>
                <a:gd name="T13" fmla="*/ 0 h 380"/>
                <a:gd name="T14" fmla="*/ 0 w 246"/>
                <a:gd name="T15" fmla="*/ 0 h 380"/>
                <a:gd name="T16" fmla="*/ 0 w 246"/>
                <a:gd name="T17" fmla="*/ 0 h 380"/>
                <a:gd name="T18" fmla="*/ 0 w 246"/>
                <a:gd name="T19" fmla="*/ 0 h 380"/>
                <a:gd name="T20" fmla="*/ 0 w 246"/>
                <a:gd name="T21" fmla="*/ 0 h 380"/>
                <a:gd name="T22" fmla="*/ 0 w 246"/>
                <a:gd name="T23" fmla="*/ 0 h 380"/>
                <a:gd name="T24" fmla="*/ 0 w 246"/>
                <a:gd name="T25" fmla="*/ 0 h 380"/>
                <a:gd name="T26" fmla="*/ 0 w 246"/>
                <a:gd name="T27" fmla="*/ 0 h 380"/>
                <a:gd name="T28" fmla="*/ 0 w 246"/>
                <a:gd name="T29" fmla="*/ 0 h 380"/>
                <a:gd name="T30" fmla="*/ 0 w 246"/>
                <a:gd name="T31" fmla="*/ 0 h 380"/>
                <a:gd name="T32" fmla="*/ 0 w 246"/>
                <a:gd name="T33" fmla="*/ 0 h 380"/>
                <a:gd name="T34" fmla="*/ 0 w 246"/>
                <a:gd name="T35" fmla="*/ 0 h 380"/>
                <a:gd name="T36" fmla="*/ 0 w 246"/>
                <a:gd name="T37" fmla="*/ 0 h 380"/>
                <a:gd name="T38" fmla="*/ 0 w 246"/>
                <a:gd name="T39" fmla="*/ 0 h 380"/>
                <a:gd name="T40" fmla="*/ 0 w 246"/>
                <a:gd name="T41" fmla="*/ 0 h 380"/>
                <a:gd name="T42" fmla="*/ 0 w 246"/>
                <a:gd name="T43" fmla="*/ 0 h 380"/>
                <a:gd name="T44" fmla="*/ 0 w 246"/>
                <a:gd name="T45" fmla="*/ 0 h 380"/>
                <a:gd name="T46" fmla="*/ 0 w 246"/>
                <a:gd name="T47" fmla="*/ 0 h 380"/>
                <a:gd name="T48" fmla="*/ 0 w 246"/>
                <a:gd name="T49" fmla="*/ 0 h 380"/>
                <a:gd name="T50" fmla="*/ 0 w 246"/>
                <a:gd name="T51" fmla="*/ 0 h 380"/>
                <a:gd name="T52" fmla="*/ 0 w 246"/>
                <a:gd name="T53" fmla="*/ 0 h 380"/>
                <a:gd name="T54" fmla="*/ 0 w 246"/>
                <a:gd name="T55" fmla="*/ 0 h 380"/>
                <a:gd name="T56" fmla="*/ 0 w 246"/>
                <a:gd name="T57" fmla="*/ 0 h 380"/>
                <a:gd name="T58" fmla="*/ 0 w 246"/>
                <a:gd name="T59" fmla="*/ 0 h 380"/>
                <a:gd name="T60" fmla="*/ 0 w 246"/>
                <a:gd name="T61" fmla="*/ 0 h 380"/>
                <a:gd name="T62" fmla="*/ 0 w 246"/>
                <a:gd name="T63" fmla="*/ 0 h 380"/>
                <a:gd name="T64" fmla="*/ 0 w 246"/>
                <a:gd name="T65" fmla="*/ 0 h 380"/>
                <a:gd name="T66" fmla="*/ 0 w 246"/>
                <a:gd name="T67" fmla="*/ 0 h 380"/>
                <a:gd name="T68" fmla="*/ 0 w 246"/>
                <a:gd name="T69" fmla="*/ 0 h 380"/>
                <a:gd name="T70" fmla="*/ 0 w 246"/>
                <a:gd name="T71" fmla="*/ 0 h 380"/>
                <a:gd name="T72" fmla="*/ 0 w 246"/>
                <a:gd name="T73" fmla="*/ 0 h 380"/>
                <a:gd name="T74" fmla="*/ 0 w 246"/>
                <a:gd name="T75" fmla="*/ 0 h 380"/>
                <a:gd name="T76" fmla="*/ 0 w 246"/>
                <a:gd name="T77" fmla="*/ 0 h 380"/>
                <a:gd name="T78" fmla="*/ 0 w 246"/>
                <a:gd name="T79" fmla="*/ 0 h 380"/>
                <a:gd name="T80" fmla="*/ 0 w 246"/>
                <a:gd name="T81" fmla="*/ 0 h 380"/>
                <a:gd name="T82" fmla="*/ 0 w 246"/>
                <a:gd name="T83" fmla="*/ 0 h 380"/>
                <a:gd name="T84" fmla="*/ 0 w 246"/>
                <a:gd name="T85" fmla="*/ 0 h 380"/>
                <a:gd name="T86" fmla="*/ 0 w 246"/>
                <a:gd name="T87" fmla="*/ 0 h 380"/>
                <a:gd name="T88" fmla="*/ 0 w 246"/>
                <a:gd name="T89" fmla="*/ 0 h 380"/>
                <a:gd name="T90" fmla="*/ 0 w 246"/>
                <a:gd name="T91" fmla="*/ 0 h 380"/>
                <a:gd name="T92" fmla="*/ 0 w 246"/>
                <a:gd name="T93" fmla="*/ 0 h 380"/>
                <a:gd name="T94" fmla="*/ 0 w 246"/>
                <a:gd name="T95" fmla="*/ 0 h 380"/>
                <a:gd name="T96" fmla="*/ 0 w 246"/>
                <a:gd name="T97" fmla="*/ 0 h 380"/>
                <a:gd name="T98" fmla="*/ 0 w 246"/>
                <a:gd name="T99" fmla="*/ 0 h 380"/>
                <a:gd name="T100" fmla="*/ 0 w 246"/>
                <a:gd name="T101" fmla="*/ 0 h 380"/>
                <a:gd name="T102" fmla="*/ 0 w 246"/>
                <a:gd name="T103" fmla="*/ 0 h 380"/>
                <a:gd name="T104" fmla="*/ 0 w 246"/>
                <a:gd name="T105" fmla="*/ 0 h 380"/>
                <a:gd name="T106" fmla="*/ 0 w 246"/>
                <a:gd name="T107" fmla="*/ 0 h 380"/>
                <a:gd name="T108" fmla="*/ 0 w 246"/>
                <a:gd name="T109" fmla="*/ 0 h 380"/>
                <a:gd name="T110" fmla="*/ 0 w 246"/>
                <a:gd name="T111" fmla="*/ 0 h 380"/>
                <a:gd name="T112" fmla="*/ 0 w 246"/>
                <a:gd name="T113" fmla="*/ 0 h 380"/>
                <a:gd name="T114" fmla="*/ 0 w 246"/>
                <a:gd name="T115" fmla="*/ 0 h 380"/>
                <a:gd name="T116" fmla="*/ 0 w 246"/>
                <a:gd name="T117" fmla="*/ 0 h 380"/>
                <a:gd name="T118" fmla="*/ 0 w 246"/>
                <a:gd name="T119" fmla="*/ 0 h 380"/>
                <a:gd name="T120" fmla="*/ 0 w 246"/>
                <a:gd name="T121" fmla="*/ 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46"/>
                <a:gd name="T184" fmla="*/ 0 h 380"/>
                <a:gd name="T185" fmla="*/ 246 w 246"/>
                <a:gd name="T186" fmla="*/ 380 h 38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46" name="Freeform 833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2448" y="2038"/>
              <a:ext cx="60" cy="37"/>
            </a:xfrm>
            <a:custGeom>
              <a:avLst/>
              <a:gdLst>
                <a:gd name="T0" fmla="*/ 0 w 193"/>
                <a:gd name="T1" fmla="*/ 19 h 38"/>
                <a:gd name="T2" fmla="*/ 0 w 193"/>
                <a:gd name="T3" fmla="*/ 11 h 38"/>
                <a:gd name="T4" fmla="*/ 0 w 193"/>
                <a:gd name="T5" fmla="*/ 5 h 38"/>
                <a:gd name="T6" fmla="*/ 0 w 193"/>
                <a:gd name="T7" fmla="*/ 3 h 38"/>
                <a:gd name="T8" fmla="*/ 0 w 193"/>
                <a:gd name="T9" fmla="*/ 2 h 38"/>
                <a:gd name="T10" fmla="*/ 0 w 193"/>
                <a:gd name="T11" fmla="*/ 1 h 38"/>
                <a:gd name="T12" fmla="*/ 0 w 193"/>
                <a:gd name="T13" fmla="*/ 0 h 38"/>
                <a:gd name="T14" fmla="*/ 0 w 193"/>
                <a:gd name="T15" fmla="*/ 1 h 38"/>
                <a:gd name="T16" fmla="*/ 0 w 193"/>
                <a:gd name="T17" fmla="*/ 1 h 38"/>
                <a:gd name="T18" fmla="*/ 0 w 193"/>
                <a:gd name="T19" fmla="*/ 2 h 38"/>
                <a:gd name="T20" fmla="*/ 0 w 193"/>
                <a:gd name="T21" fmla="*/ 4 h 38"/>
                <a:gd name="T22" fmla="*/ 0 w 193"/>
                <a:gd name="T23" fmla="*/ 6 h 38"/>
                <a:gd name="T24" fmla="*/ 0 w 193"/>
                <a:gd name="T25" fmla="*/ 11 h 38"/>
                <a:gd name="T26" fmla="*/ 0 w 193"/>
                <a:gd name="T27" fmla="*/ 13 h 38"/>
                <a:gd name="T28" fmla="*/ 0 w 193"/>
                <a:gd name="T29" fmla="*/ 18 h 38"/>
                <a:gd name="T30" fmla="*/ 0 w 193"/>
                <a:gd name="T31" fmla="*/ 19 h 38"/>
                <a:gd name="T32" fmla="*/ 0 w 193"/>
                <a:gd name="T33" fmla="*/ 19 h 38"/>
                <a:gd name="T34" fmla="*/ 0 w 193"/>
                <a:gd name="T35" fmla="*/ 19 h 38"/>
                <a:gd name="T36" fmla="*/ 0 w 193"/>
                <a:gd name="T37" fmla="*/ 19 h 38"/>
                <a:gd name="T38" fmla="*/ 0 w 193"/>
                <a:gd name="T39" fmla="*/ 19 h 38"/>
                <a:gd name="T40" fmla="*/ 0 w 193"/>
                <a:gd name="T41" fmla="*/ 19 h 38"/>
                <a:gd name="T42" fmla="*/ 0 w 193"/>
                <a:gd name="T43" fmla="*/ 19 h 38"/>
                <a:gd name="T44" fmla="*/ 0 w 193"/>
                <a:gd name="T45" fmla="*/ 19 h 38"/>
                <a:gd name="T46" fmla="*/ 0 w 193"/>
                <a:gd name="T47" fmla="*/ 19 h 38"/>
                <a:gd name="T48" fmla="*/ 0 w 193"/>
                <a:gd name="T49" fmla="*/ 19 h 38"/>
                <a:gd name="T50" fmla="*/ 0 w 193"/>
                <a:gd name="T51" fmla="*/ 19 h 38"/>
                <a:gd name="T52" fmla="*/ 0 w 193"/>
                <a:gd name="T53" fmla="*/ 19 h 38"/>
                <a:gd name="T54" fmla="*/ 0 w 193"/>
                <a:gd name="T55" fmla="*/ 19 h 38"/>
                <a:gd name="T56" fmla="*/ 0 w 193"/>
                <a:gd name="T57" fmla="*/ 19 h 38"/>
                <a:gd name="T58" fmla="*/ 0 w 193"/>
                <a:gd name="T59" fmla="*/ 19 h 38"/>
                <a:gd name="T60" fmla="*/ 0 w 193"/>
                <a:gd name="T61" fmla="*/ 19 h 38"/>
                <a:gd name="T62" fmla="*/ 0 w 193"/>
                <a:gd name="T63" fmla="*/ 19 h 38"/>
                <a:gd name="T64" fmla="*/ 0 w 193"/>
                <a:gd name="T65" fmla="*/ 19 h 38"/>
                <a:gd name="T66" fmla="*/ 0 w 193"/>
                <a:gd name="T67" fmla="*/ 19 h 38"/>
                <a:gd name="T68" fmla="*/ 0 w 193"/>
                <a:gd name="T69" fmla="*/ 19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3"/>
                <a:gd name="T106" fmla="*/ 0 h 38"/>
                <a:gd name="T107" fmla="*/ 193 w 193"/>
                <a:gd name="T108" fmla="*/ 38 h 3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47" name="Freeform 834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2739" y="2087"/>
              <a:ext cx="29" cy="98"/>
            </a:xfrm>
            <a:custGeom>
              <a:avLst/>
              <a:gdLst>
                <a:gd name="T0" fmla="*/ 0 w 99"/>
                <a:gd name="T1" fmla="*/ 0 h 301"/>
                <a:gd name="T2" fmla="*/ 0 w 99"/>
                <a:gd name="T3" fmla="*/ 0 h 301"/>
                <a:gd name="T4" fmla="*/ 0 w 99"/>
                <a:gd name="T5" fmla="*/ 0 h 301"/>
                <a:gd name="T6" fmla="*/ 0 w 99"/>
                <a:gd name="T7" fmla="*/ 0 h 301"/>
                <a:gd name="T8" fmla="*/ 0 w 99"/>
                <a:gd name="T9" fmla="*/ 0 h 301"/>
                <a:gd name="T10" fmla="*/ 0 w 99"/>
                <a:gd name="T11" fmla="*/ 0 h 301"/>
                <a:gd name="T12" fmla="*/ 0 w 99"/>
                <a:gd name="T13" fmla="*/ 0 h 301"/>
                <a:gd name="T14" fmla="*/ 0 w 99"/>
                <a:gd name="T15" fmla="*/ 0 h 301"/>
                <a:gd name="T16" fmla="*/ 0 w 99"/>
                <a:gd name="T17" fmla="*/ 0 h 301"/>
                <a:gd name="T18" fmla="*/ 0 w 99"/>
                <a:gd name="T19" fmla="*/ 0 h 301"/>
                <a:gd name="T20" fmla="*/ 0 w 99"/>
                <a:gd name="T21" fmla="*/ 0 h 301"/>
                <a:gd name="T22" fmla="*/ 0 w 99"/>
                <a:gd name="T23" fmla="*/ 0 h 301"/>
                <a:gd name="T24" fmla="*/ 0 w 99"/>
                <a:gd name="T25" fmla="*/ 0 h 301"/>
                <a:gd name="T26" fmla="*/ 0 w 99"/>
                <a:gd name="T27" fmla="*/ 0 h 301"/>
                <a:gd name="T28" fmla="*/ 0 w 99"/>
                <a:gd name="T29" fmla="*/ 0 h 301"/>
                <a:gd name="T30" fmla="*/ 0 w 99"/>
                <a:gd name="T31" fmla="*/ 0 h 301"/>
                <a:gd name="T32" fmla="*/ 0 w 99"/>
                <a:gd name="T33" fmla="*/ 0 h 301"/>
                <a:gd name="T34" fmla="*/ 0 w 99"/>
                <a:gd name="T35" fmla="*/ 0 h 301"/>
                <a:gd name="T36" fmla="*/ 0 w 99"/>
                <a:gd name="T37" fmla="*/ 0 h 301"/>
                <a:gd name="T38" fmla="*/ 0 w 99"/>
                <a:gd name="T39" fmla="*/ 0 h 301"/>
                <a:gd name="T40" fmla="*/ 0 w 99"/>
                <a:gd name="T41" fmla="*/ 0 h 301"/>
                <a:gd name="T42" fmla="*/ 0 w 99"/>
                <a:gd name="T43" fmla="*/ 0 h 301"/>
                <a:gd name="T44" fmla="*/ 0 w 99"/>
                <a:gd name="T45" fmla="*/ 0 h 301"/>
                <a:gd name="T46" fmla="*/ 0 w 99"/>
                <a:gd name="T47" fmla="*/ 0 h 301"/>
                <a:gd name="T48" fmla="*/ 0 w 99"/>
                <a:gd name="T49" fmla="*/ 0 h 301"/>
                <a:gd name="T50" fmla="*/ 0 w 99"/>
                <a:gd name="T51" fmla="*/ 0 h 301"/>
                <a:gd name="T52" fmla="*/ 0 w 99"/>
                <a:gd name="T53" fmla="*/ 0 h 301"/>
                <a:gd name="T54" fmla="*/ 0 w 99"/>
                <a:gd name="T55" fmla="*/ 0 h 301"/>
                <a:gd name="T56" fmla="*/ 0 w 99"/>
                <a:gd name="T57" fmla="*/ 0 h 301"/>
                <a:gd name="T58" fmla="*/ 0 w 99"/>
                <a:gd name="T59" fmla="*/ 0 h 301"/>
                <a:gd name="T60" fmla="*/ 0 w 99"/>
                <a:gd name="T61" fmla="*/ 0 h 301"/>
                <a:gd name="T62" fmla="*/ 0 w 99"/>
                <a:gd name="T63" fmla="*/ 0 h 301"/>
                <a:gd name="T64" fmla="*/ 0 w 99"/>
                <a:gd name="T65" fmla="*/ 0 h 301"/>
                <a:gd name="T66" fmla="*/ 0 w 99"/>
                <a:gd name="T67" fmla="*/ 0 h 301"/>
                <a:gd name="T68" fmla="*/ 0 w 99"/>
                <a:gd name="T69" fmla="*/ 0 h 301"/>
                <a:gd name="T70" fmla="*/ 0 w 99"/>
                <a:gd name="T71" fmla="*/ 0 h 301"/>
                <a:gd name="T72" fmla="*/ 0 w 99"/>
                <a:gd name="T73" fmla="*/ 0 h 301"/>
                <a:gd name="T74" fmla="*/ 0 w 99"/>
                <a:gd name="T75" fmla="*/ 0 h 301"/>
                <a:gd name="T76" fmla="*/ 0 w 99"/>
                <a:gd name="T77" fmla="*/ 0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9"/>
                <a:gd name="T118" fmla="*/ 0 h 301"/>
                <a:gd name="T119" fmla="*/ 99 w 99"/>
                <a:gd name="T120" fmla="*/ 301 h 30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48" name="Freeform 835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2756" y="2063"/>
              <a:ext cx="52" cy="119"/>
            </a:xfrm>
            <a:custGeom>
              <a:avLst/>
              <a:gdLst>
                <a:gd name="T0" fmla="*/ 0 w 173"/>
                <a:gd name="T1" fmla="*/ 0 h 357"/>
                <a:gd name="T2" fmla="*/ 0 w 173"/>
                <a:gd name="T3" fmla="*/ 0 h 357"/>
                <a:gd name="T4" fmla="*/ 0 w 173"/>
                <a:gd name="T5" fmla="*/ 0 h 357"/>
                <a:gd name="T6" fmla="*/ 0 w 173"/>
                <a:gd name="T7" fmla="*/ 0 h 357"/>
                <a:gd name="T8" fmla="*/ 0 w 173"/>
                <a:gd name="T9" fmla="*/ 0 h 357"/>
                <a:gd name="T10" fmla="*/ 0 w 173"/>
                <a:gd name="T11" fmla="*/ 0 h 357"/>
                <a:gd name="T12" fmla="*/ 0 w 173"/>
                <a:gd name="T13" fmla="*/ 0 h 357"/>
                <a:gd name="T14" fmla="*/ 0 w 173"/>
                <a:gd name="T15" fmla="*/ 0 h 357"/>
                <a:gd name="T16" fmla="*/ 0 w 173"/>
                <a:gd name="T17" fmla="*/ 0 h 357"/>
                <a:gd name="T18" fmla="*/ 0 w 173"/>
                <a:gd name="T19" fmla="*/ 0 h 357"/>
                <a:gd name="T20" fmla="*/ 0 w 173"/>
                <a:gd name="T21" fmla="*/ 0 h 357"/>
                <a:gd name="T22" fmla="*/ 0 w 173"/>
                <a:gd name="T23" fmla="*/ 0 h 357"/>
                <a:gd name="T24" fmla="*/ 0 w 173"/>
                <a:gd name="T25" fmla="*/ 0 h 357"/>
                <a:gd name="T26" fmla="*/ 0 w 173"/>
                <a:gd name="T27" fmla="*/ 0 h 357"/>
                <a:gd name="T28" fmla="*/ 0 w 173"/>
                <a:gd name="T29" fmla="*/ 0 h 357"/>
                <a:gd name="T30" fmla="*/ 0 w 173"/>
                <a:gd name="T31" fmla="*/ 0 h 357"/>
                <a:gd name="T32" fmla="*/ 0 w 173"/>
                <a:gd name="T33" fmla="*/ 0 h 357"/>
                <a:gd name="T34" fmla="*/ 0 w 173"/>
                <a:gd name="T35" fmla="*/ 0 h 357"/>
                <a:gd name="T36" fmla="*/ 0 w 173"/>
                <a:gd name="T37" fmla="*/ 0 h 357"/>
                <a:gd name="T38" fmla="*/ 0 w 173"/>
                <a:gd name="T39" fmla="*/ 0 h 357"/>
                <a:gd name="T40" fmla="*/ 0 w 173"/>
                <a:gd name="T41" fmla="*/ 0 h 357"/>
                <a:gd name="T42" fmla="*/ 0 w 173"/>
                <a:gd name="T43" fmla="*/ 0 h 357"/>
                <a:gd name="T44" fmla="*/ 0 w 173"/>
                <a:gd name="T45" fmla="*/ 0 h 357"/>
                <a:gd name="T46" fmla="*/ 0 w 173"/>
                <a:gd name="T47" fmla="*/ 0 h 357"/>
                <a:gd name="T48" fmla="*/ 0 w 173"/>
                <a:gd name="T49" fmla="*/ 0 h 357"/>
                <a:gd name="T50" fmla="*/ 0 w 173"/>
                <a:gd name="T51" fmla="*/ 0 h 357"/>
                <a:gd name="T52" fmla="*/ 0 w 173"/>
                <a:gd name="T53" fmla="*/ 0 h 357"/>
                <a:gd name="T54" fmla="*/ 0 w 173"/>
                <a:gd name="T55" fmla="*/ 0 h 357"/>
                <a:gd name="T56" fmla="*/ 0 w 173"/>
                <a:gd name="T57" fmla="*/ 0 h 357"/>
                <a:gd name="T58" fmla="*/ 0 w 173"/>
                <a:gd name="T59" fmla="*/ 0 h 357"/>
                <a:gd name="T60" fmla="*/ 0 w 173"/>
                <a:gd name="T61" fmla="*/ 0 h 357"/>
                <a:gd name="T62" fmla="*/ 0 w 173"/>
                <a:gd name="T63" fmla="*/ 0 h 357"/>
                <a:gd name="T64" fmla="*/ 0 w 173"/>
                <a:gd name="T65" fmla="*/ 0 h 357"/>
                <a:gd name="T66" fmla="*/ 0 w 173"/>
                <a:gd name="T67" fmla="*/ 0 h 357"/>
                <a:gd name="T68" fmla="*/ 0 w 173"/>
                <a:gd name="T69" fmla="*/ 0 h 357"/>
                <a:gd name="T70" fmla="*/ 0 w 173"/>
                <a:gd name="T71" fmla="*/ 0 h 357"/>
                <a:gd name="T72" fmla="*/ 0 w 173"/>
                <a:gd name="T73" fmla="*/ 0 h 357"/>
                <a:gd name="T74" fmla="*/ 0 w 173"/>
                <a:gd name="T75" fmla="*/ 0 h 357"/>
                <a:gd name="T76" fmla="*/ 0 w 173"/>
                <a:gd name="T77" fmla="*/ 0 h 357"/>
                <a:gd name="T78" fmla="*/ 0 w 173"/>
                <a:gd name="T79" fmla="*/ 0 h 357"/>
                <a:gd name="T80" fmla="*/ 0 w 173"/>
                <a:gd name="T81" fmla="*/ 0 h 357"/>
                <a:gd name="T82" fmla="*/ 0 w 173"/>
                <a:gd name="T83" fmla="*/ 0 h 357"/>
                <a:gd name="T84" fmla="*/ 0 w 173"/>
                <a:gd name="T85" fmla="*/ 0 h 357"/>
                <a:gd name="T86" fmla="*/ 0 w 173"/>
                <a:gd name="T87" fmla="*/ 0 h 357"/>
                <a:gd name="T88" fmla="*/ 0 w 173"/>
                <a:gd name="T89" fmla="*/ 0 h 357"/>
                <a:gd name="T90" fmla="*/ 0 w 173"/>
                <a:gd name="T91" fmla="*/ 0 h 357"/>
                <a:gd name="T92" fmla="*/ 0 w 173"/>
                <a:gd name="T93" fmla="*/ 0 h 357"/>
                <a:gd name="T94" fmla="*/ 0 w 173"/>
                <a:gd name="T95" fmla="*/ 0 h 357"/>
                <a:gd name="T96" fmla="*/ 0 w 173"/>
                <a:gd name="T97" fmla="*/ 0 h 357"/>
                <a:gd name="T98" fmla="*/ 0 w 173"/>
                <a:gd name="T99" fmla="*/ 0 h 357"/>
                <a:gd name="T100" fmla="*/ 0 w 173"/>
                <a:gd name="T101" fmla="*/ 0 h 357"/>
                <a:gd name="T102" fmla="*/ 0 w 173"/>
                <a:gd name="T103" fmla="*/ 0 h 357"/>
                <a:gd name="T104" fmla="*/ 0 w 173"/>
                <a:gd name="T105" fmla="*/ 0 h 357"/>
                <a:gd name="T106" fmla="*/ 0 w 173"/>
                <a:gd name="T107" fmla="*/ 0 h 357"/>
                <a:gd name="T108" fmla="*/ 0 w 173"/>
                <a:gd name="T109" fmla="*/ 0 h 357"/>
                <a:gd name="T110" fmla="*/ 0 w 173"/>
                <a:gd name="T111" fmla="*/ 0 h 357"/>
                <a:gd name="T112" fmla="*/ 0 w 173"/>
                <a:gd name="T113" fmla="*/ 0 h 357"/>
                <a:gd name="T114" fmla="*/ 0 w 173"/>
                <a:gd name="T115" fmla="*/ 0 h 357"/>
                <a:gd name="T116" fmla="*/ 0 w 173"/>
                <a:gd name="T117" fmla="*/ 0 h 357"/>
                <a:gd name="T118" fmla="*/ 0 w 173"/>
                <a:gd name="T119" fmla="*/ 0 h 357"/>
                <a:gd name="T120" fmla="*/ 0 w 173"/>
                <a:gd name="T121" fmla="*/ 0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3"/>
                <a:gd name="T184" fmla="*/ 0 h 357"/>
                <a:gd name="T185" fmla="*/ 173 w 173"/>
                <a:gd name="T186" fmla="*/ 357 h 35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49" name="Freeform 836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3253" y="2822"/>
              <a:ext cx="18" cy="38"/>
            </a:xfrm>
            <a:custGeom>
              <a:avLst/>
              <a:gdLst>
                <a:gd name="T0" fmla="*/ 0 w 50"/>
                <a:gd name="T1" fmla="*/ 0 h 74"/>
                <a:gd name="T2" fmla="*/ 0 w 50"/>
                <a:gd name="T3" fmla="*/ 1 h 74"/>
                <a:gd name="T4" fmla="*/ 0 w 50"/>
                <a:gd name="T5" fmla="*/ 1 h 74"/>
                <a:gd name="T6" fmla="*/ 0 w 50"/>
                <a:gd name="T7" fmla="*/ 1 h 74"/>
                <a:gd name="T8" fmla="*/ 0 w 50"/>
                <a:gd name="T9" fmla="*/ 1 h 74"/>
                <a:gd name="T10" fmla="*/ 0 w 50"/>
                <a:gd name="T11" fmla="*/ 1 h 74"/>
                <a:gd name="T12" fmla="*/ 0 w 50"/>
                <a:gd name="T13" fmla="*/ 1 h 74"/>
                <a:gd name="T14" fmla="*/ 0 w 50"/>
                <a:gd name="T15" fmla="*/ 1 h 74"/>
                <a:gd name="T16" fmla="*/ 0 w 50"/>
                <a:gd name="T17" fmla="*/ 1 h 74"/>
                <a:gd name="T18" fmla="*/ 0 w 50"/>
                <a:gd name="T19" fmla="*/ 1 h 74"/>
                <a:gd name="T20" fmla="*/ 0 w 50"/>
                <a:gd name="T21" fmla="*/ 1 h 74"/>
                <a:gd name="T22" fmla="*/ 0 w 50"/>
                <a:gd name="T23" fmla="*/ 1 h 74"/>
                <a:gd name="T24" fmla="*/ 0 w 50"/>
                <a:gd name="T25" fmla="*/ 1 h 74"/>
                <a:gd name="T26" fmla="*/ 0 w 50"/>
                <a:gd name="T27" fmla="*/ 0 h 74"/>
                <a:gd name="T28" fmla="*/ 0 w 50"/>
                <a:gd name="T29" fmla="*/ 0 h 74"/>
                <a:gd name="T30" fmla="*/ 0 w 50"/>
                <a:gd name="T31" fmla="*/ 0 h 74"/>
                <a:gd name="T32" fmla="*/ 0 w 50"/>
                <a:gd name="T33" fmla="*/ 0 h 74"/>
                <a:gd name="T34" fmla="*/ 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0"/>
                <a:gd name="T55" fmla="*/ 0 h 74"/>
                <a:gd name="T56" fmla="*/ 50 w 50"/>
                <a:gd name="T57" fmla="*/ 74 h 7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50" name="Freeform 837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3182" y="2883"/>
              <a:ext cx="42" cy="36"/>
            </a:xfrm>
            <a:custGeom>
              <a:avLst/>
              <a:gdLst>
                <a:gd name="T0" fmla="*/ 0 w 135"/>
                <a:gd name="T1" fmla="*/ 0 h 98"/>
                <a:gd name="T2" fmla="*/ 0 w 135"/>
                <a:gd name="T3" fmla="*/ 0 h 98"/>
                <a:gd name="T4" fmla="*/ 0 w 135"/>
                <a:gd name="T5" fmla="*/ 0 h 98"/>
                <a:gd name="T6" fmla="*/ 0 w 135"/>
                <a:gd name="T7" fmla="*/ 0 h 98"/>
                <a:gd name="T8" fmla="*/ 0 w 135"/>
                <a:gd name="T9" fmla="*/ 0 h 98"/>
                <a:gd name="T10" fmla="*/ 0 w 135"/>
                <a:gd name="T11" fmla="*/ 0 h 98"/>
                <a:gd name="T12" fmla="*/ 0 w 135"/>
                <a:gd name="T13" fmla="*/ 0 h 98"/>
                <a:gd name="T14" fmla="*/ 0 w 135"/>
                <a:gd name="T15" fmla="*/ 0 h 98"/>
                <a:gd name="T16" fmla="*/ 0 w 135"/>
                <a:gd name="T17" fmla="*/ 0 h 98"/>
                <a:gd name="T18" fmla="*/ 0 w 135"/>
                <a:gd name="T19" fmla="*/ 0 h 98"/>
                <a:gd name="T20" fmla="*/ 0 w 135"/>
                <a:gd name="T21" fmla="*/ 0 h 98"/>
                <a:gd name="T22" fmla="*/ 0 w 135"/>
                <a:gd name="T23" fmla="*/ 0 h 98"/>
                <a:gd name="T24" fmla="*/ 0 w 135"/>
                <a:gd name="T25" fmla="*/ 0 h 98"/>
                <a:gd name="T26" fmla="*/ 0 w 135"/>
                <a:gd name="T27" fmla="*/ 0 h 98"/>
                <a:gd name="T28" fmla="*/ 0 w 135"/>
                <a:gd name="T29" fmla="*/ 0 h 98"/>
                <a:gd name="T30" fmla="*/ 0 w 135"/>
                <a:gd name="T31" fmla="*/ 0 h 98"/>
                <a:gd name="T32" fmla="*/ 0 w 135"/>
                <a:gd name="T33" fmla="*/ 0 h 98"/>
                <a:gd name="T34" fmla="*/ 0 w 135"/>
                <a:gd name="T35" fmla="*/ 0 h 98"/>
                <a:gd name="T36" fmla="*/ 0 w 135"/>
                <a:gd name="T37" fmla="*/ 0 h 98"/>
                <a:gd name="T38" fmla="*/ 0 w 135"/>
                <a:gd name="T39" fmla="*/ 0 h 98"/>
                <a:gd name="T40" fmla="*/ 0 w 135"/>
                <a:gd name="T41" fmla="*/ 0 h 98"/>
                <a:gd name="T42" fmla="*/ 0 w 135"/>
                <a:gd name="T43" fmla="*/ 0 h 98"/>
                <a:gd name="T44" fmla="*/ 0 w 135"/>
                <a:gd name="T45" fmla="*/ 0 h 98"/>
                <a:gd name="T46" fmla="*/ 0 w 135"/>
                <a:gd name="T47" fmla="*/ 0 h 98"/>
                <a:gd name="T48" fmla="*/ 0 w 135"/>
                <a:gd name="T49" fmla="*/ 0 h 98"/>
                <a:gd name="T50" fmla="*/ 0 w 135"/>
                <a:gd name="T51" fmla="*/ 0 h 98"/>
                <a:gd name="T52" fmla="*/ 0 w 135"/>
                <a:gd name="T53" fmla="*/ 0 h 98"/>
                <a:gd name="T54" fmla="*/ 0 w 135"/>
                <a:gd name="T55" fmla="*/ 0 h 98"/>
                <a:gd name="T56" fmla="*/ 0 w 135"/>
                <a:gd name="T57" fmla="*/ 0 h 98"/>
                <a:gd name="T58" fmla="*/ 0 w 135"/>
                <a:gd name="T59" fmla="*/ 0 h 98"/>
                <a:gd name="T60" fmla="*/ 0 w 135"/>
                <a:gd name="T61" fmla="*/ 0 h 98"/>
                <a:gd name="T62" fmla="*/ 0 w 135"/>
                <a:gd name="T63" fmla="*/ 0 h 98"/>
                <a:gd name="T64" fmla="*/ 0 w 135"/>
                <a:gd name="T65" fmla="*/ 0 h 98"/>
                <a:gd name="T66" fmla="*/ 0 w 135"/>
                <a:gd name="T67" fmla="*/ 0 h 98"/>
                <a:gd name="T68" fmla="*/ 0 w 135"/>
                <a:gd name="T69" fmla="*/ 0 h 98"/>
                <a:gd name="T70" fmla="*/ 0 w 135"/>
                <a:gd name="T71" fmla="*/ 0 h 98"/>
                <a:gd name="T72" fmla="*/ 0 w 135"/>
                <a:gd name="T73" fmla="*/ 0 h 98"/>
                <a:gd name="T74" fmla="*/ 0 w 135"/>
                <a:gd name="T75" fmla="*/ 0 h 98"/>
                <a:gd name="T76" fmla="*/ 0 w 135"/>
                <a:gd name="T77" fmla="*/ 0 h 98"/>
                <a:gd name="T78" fmla="*/ 0 w 135"/>
                <a:gd name="T79" fmla="*/ 0 h 98"/>
                <a:gd name="T80" fmla="*/ 0 w 135"/>
                <a:gd name="T81" fmla="*/ 0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5"/>
                <a:gd name="T124" fmla="*/ 0 h 98"/>
                <a:gd name="T125" fmla="*/ 135 w 135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51" name="Freeform 838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4695" y="1443"/>
              <a:ext cx="83" cy="108"/>
            </a:xfrm>
            <a:custGeom>
              <a:avLst/>
              <a:gdLst>
                <a:gd name="T0" fmla="*/ 0 w 266"/>
                <a:gd name="T1" fmla="*/ 0 h 326"/>
                <a:gd name="T2" fmla="*/ 0 w 266"/>
                <a:gd name="T3" fmla="*/ 0 h 326"/>
                <a:gd name="T4" fmla="*/ 0 w 266"/>
                <a:gd name="T5" fmla="*/ 0 h 326"/>
                <a:gd name="T6" fmla="*/ 0 w 266"/>
                <a:gd name="T7" fmla="*/ 0 h 326"/>
                <a:gd name="T8" fmla="*/ 0 w 266"/>
                <a:gd name="T9" fmla="*/ 0 h 326"/>
                <a:gd name="T10" fmla="*/ 0 w 266"/>
                <a:gd name="T11" fmla="*/ 0 h 326"/>
                <a:gd name="T12" fmla="*/ 0 w 266"/>
                <a:gd name="T13" fmla="*/ 0 h 326"/>
                <a:gd name="T14" fmla="*/ 0 w 266"/>
                <a:gd name="T15" fmla="*/ 0 h 326"/>
                <a:gd name="T16" fmla="*/ 0 w 266"/>
                <a:gd name="T17" fmla="*/ 0 h 326"/>
                <a:gd name="T18" fmla="*/ 0 w 266"/>
                <a:gd name="T19" fmla="*/ 0 h 326"/>
                <a:gd name="T20" fmla="*/ 0 w 266"/>
                <a:gd name="T21" fmla="*/ 0 h 326"/>
                <a:gd name="T22" fmla="*/ 0 w 266"/>
                <a:gd name="T23" fmla="*/ 0 h 326"/>
                <a:gd name="T24" fmla="*/ 0 w 266"/>
                <a:gd name="T25" fmla="*/ 0 h 326"/>
                <a:gd name="T26" fmla="*/ 0 w 266"/>
                <a:gd name="T27" fmla="*/ 0 h 326"/>
                <a:gd name="T28" fmla="*/ 0 w 266"/>
                <a:gd name="T29" fmla="*/ 0 h 326"/>
                <a:gd name="T30" fmla="*/ 0 w 266"/>
                <a:gd name="T31" fmla="*/ 0 h 326"/>
                <a:gd name="T32" fmla="*/ 0 w 266"/>
                <a:gd name="T33" fmla="*/ 0 h 326"/>
                <a:gd name="T34" fmla="*/ 0 w 266"/>
                <a:gd name="T35" fmla="*/ 0 h 326"/>
                <a:gd name="T36" fmla="*/ 0 w 266"/>
                <a:gd name="T37" fmla="*/ 0 h 326"/>
                <a:gd name="T38" fmla="*/ 0 w 266"/>
                <a:gd name="T39" fmla="*/ 0 h 326"/>
                <a:gd name="T40" fmla="*/ 0 w 266"/>
                <a:gd name="T41" fmla="*/ 0 h 326"/>
                <a:gd name="T42" fmla="*/ 0 w 266"/>
                <a:gd name="T43" fmla="*/ 0 h 326"/>
                <a:gd name="T44" fmla="*/ 0 w 266"/>
                <a:gd name="T45" fmla="*/ 0 h 326"/>
                <a:gd name="T46" fmla="*/ 0 w 266"/>
                <a:gd name="T47" fmla="*/ 0 h 326"/>
                <a:gd name="T48" fmla="*/ 0 w 266"/>
                <a:gd name="T49" fmla="*/ 0 h 326"/>
                <a:gd name="T50" fmla="*/ 0 w 266"/>
                <a:gd name="T51" fmla="*/ 0 h 326"/>
                <a:gd name="T52" fmla="*/ 0 w 266"/>
                <a:gd name="T53" fmla="*/ 0 h 326"/>
                <a:gd name="T54" fmla="*/ 0 w 266"/>
                <a:gd name="T55" fmla="*/ 0 h 326"/>
                <a:gd name="T56" fmla="*/ 0 w 266"/>
                <a:gd name="T57" fmla="*/ 0 h 326"/>
                <a:gd name="T58" fmla="*/ 0 w 266"/>
                <a:gd name="T59" fmla="*/ 0 h 326"/>
                <a:gd name="T60" fmla="*/ 0 w 266"/>
                <a:gd name="T61" fmla="*/ 0 h 326"/>
                <a:gd name="T62" fmla="*/ 0 w 266"/>
                <a:gd name="T63" fmla="*/ 0 h 326"/>
                <a:gd name="T64" fmla="*/ 0 w 266"/>
                <a:gd name="T65" fmla="*/ 0 h 326"/>
                <a:gd name="T66" fmla="*/ 0 w 266"/>
                <a:gd name="T67" fmla="*/ 0 h 326"/>
                <a:gd name="T68" fmla="*/ 0 w 266"/>
                <a:gd name="T69" fmla="*/ 0 h 326"/>
                <a:gd name="T70" fmla="*/ 0 w 266"/>
                <a:gd name="T71" fmla="*/ 0 h 326"/>
                <a:gd name="T72" fmla="*/ 0 w 266"/>
                <a:gd name="T73" fmla="*/ 0 h 326"/>
                <a:gd name="T74" fmla="*/ 0 w 266"/>
                <a:gd name="T75" fmla="*/ 0 h 326"/>
                <a:gd name="T76" fmla="*/ 0 w 266"/>
                <a:gd name="T77" fmla="*/ 0 h 326"/>
                <a:gd name="T78" fmla="*/ 0 w 266"/>
                <a:gd name="T79" fmla="*/ 0 h 326"/>
                <a:gd name="T80" fmla="*/ 0 w 266"/>
                <a:gd name="T81" fmla="*/ 0 h 326"/>
                <a:gd name="T82" fmla="*/ 0 w 266"/>
                <a:gd name="T83" fmla="*/ 0 h 326"/>
                <a:gd name="T84" fmla="*/ 0 w 266"/>
                <a:gd name="T85" fmla="*/ 0 h 326"/>
                <a:gd name="T86" fmla="*/ 0 w 266"/>
                <a:gd name="T87" fmla="*/ 0 h 326"/>
                <a:gd name="T88" fmla="*/ 0 w 266"/>
                <a:gd name="T89" fmla="*/ 0 h 326"/>
                <a:gd name="T90" fmla="*/ 0 w 266"/>
                <a:gd name="T91" fmla="*/ 0 h 326"/>
                <a:gd name="T92" fmla="*/ 0 w 266"/>
                <a:gd name="T93" fmla="*/ 0 h 326"/>
                <a:gd name="T94" fmla="*/ 0 w 266"/>
                <a:gd name="T95" fmla="*/ 0 h 326"/>
                <a:gd name="T96" fmla="*/ 0 w 266"/>
                <a:gd name="T97" fmla="*/ 0 h 326"/>
                <a:gd name="T98" fmla="*/ 0 w 266"/>
                <a:gd name="T99" fmla="*/ 0 h 326"/>
                <a:gd name="T100" fmla="*/ 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66"/>
                <a:gd name="T154" fmla="*/ 0 h 326"/>
                <a:gd name="T155" fmla="*/ 266 w 266"/>
                <a:gd name="T156" fmla="*/ 326 h 32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52" name="Freeform 839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4061" y="1704"/>
              <a:ext cx="141" cy="78"/>
            </a:xfrm>
            <a:custGeom>
              <a:avLst/>
              <a:gdLst>
                <a:gd name="T0" fmla="*/ 0 w 471"/>
                <a:gd name="T1" fmla="*/ 0 h 237"/>
                <a:gd name="T2" fmla="*/ 0 w 471"/>
                <a:gd name="T3" fmla="*/ 0 h 237"/>
                <a:gd name="T4" fmla="*/ 0 w 471"/>
                <a:gd name="T5" fmla="*/ 0 h 237"/>
                <a:gd name="T6" fmla="*/ 0 w 471"/>
                <a:gd name="T7" fmla="*/ 0 h 237"/>
                <a:gd name="T8" fmla="*/ 0 w 471"/>
                <a:gd name="T9" fmla="*/ 0 h 237"/>
                <a:gd name="T10" fmla="*/ 0 w 471"/>
                <a:gd name="T11" fmla="*/ 0 h 237"/>
                <a:gd name="T12" fmla="*/ 0 w 471"/>
                <a:gd name="T13" fmla="*/ 0 h 237"/>
                <a:gd name="T14" fmla="*/ 0 w 471"/>
                <a:gd name="T15" fmla="*/ 0 h 237"/>
                <a:gd name="T16" fmla="*/ 0 w 471"/>
                <a:gd name="T17" fmla="*/ 0 h 237"/>
                <a:gd name="T18" fmla="*/ 0 w 471"/>
                <a:gd name="T19" fmla="*/ 0 h 237"/>
                <a:gd name="T20" fmla="*/ 0 w 471"/>
                <a:gd name="T21" fmla="*/ 0 h 237"/>
                <a:gd name="T22" fmla="*/ 0 w 471"/>
                <a:gd name="T23" fmla="*/ 0 h 237"/>
                <a:gd name="T24" fmla="*/ 0 w 471"/>
                <a:gd name="T25" fmla="*/ 0 h 237"/>
                <a:gd name="T26" fmla="*/ 0 w 471"/>
                <a:gd name="T27" fmla="*/ 0 h 237"/>
                <a:gd name="T28" fmla="*/ 0 w 471"/>
                <a:gd name="T29" fmla="*/ 0 h 237"/>
                <a:gd name="T30" fmla="*/ 0 w 471"/>
                <a:gd name="T31" fmla="*/ 0 h 237"/>
                <a:gd name="T32" fmla="*/ 0 w 471"/>
                <a:gd name="T33" fmla="*/ 0 h 237"/>
                <a:gd name="T34" fmla="*/ 0 w 471"/>
                <a:gd name="T35" fmla="*/ 0 h 237"/>
                <a:gd name="T36" fmla="*/ 0 w 471"/>
                <a:gd name="T37" fmla="*/ 0 h 237"/>
                <a:gd name="T38" fmla="*/ 0 w 471"/>
                <a:gd name="T39" fmla="*/ 0 h 237"/>
                <a:gd name="T40" fmla="*/ 0 w 471"/>
                <a:gd name="T41" fmla="*/ 0 h 237"/>
                <a:gd name="T42" fmla="*/ 0 w 471"/>
                <a:gd name="T43" fmla="*/ 0 h 237"/>
                <a:gd name="T44" fmla="*/ 0 w 471"/>
                <a:gd name="T45" fmla="*/ 0 h 237"/>
                <a:gd name="T46" fmla="*/ 0 w 471"/>
                <a:gd name="T47" fmla="*/ 0 h 237"/>
                <a:gd name="T48" fmla="*/ 0 w 471"/>
                <a:gd name="T49" fmla="*/ 0 h 237"/>
                <a:gd name="T50" fmla="*/ 0 w 471"/>
                <a:gd name="T51" fmla="*/ 0 h 237"/>
                <a:gd name="T52" fmla="*/ 0 w 471"/>
                <a:gd name="T53" fmla="*/ 0 h 237"/>
                <a:gd name="T54" fmla="*/ 0 w 471"/>
                <a:gd name="T55" fmla="*/ 0 h 237"/>
                <a:gd name="T56" fmla="*/ 0 w 471"/>
                <a:gd name="T57" fmla="*/ 0 h 237"/>
                <a:gd name="T58" fmla="*/ 0 w 471"/>
                <a:gd name="T59" fmla="*/ 0 h 237"/>
                <a:gd name="T60" fmla="*/ 0 w 471"/>
                <a:gd name="T61" fmla="*/ 0 h 237"/>
                <a:gd name="T62" fmla="*/ 0 w 471"/>
                <a:gd name="T63" fmla="*/ 0 h 237"/>
                <a:gd name="T64" fmla="*/ 0 w 471"/>
                <a:gd name="T65" fmla="*/ 0 h 237"/>
                <a:gd name="T66" fmla="*/ 0 w 471"/>
                <a:gd name="T67" fmla="*/ 0 h 237"/>
                <a:gd name="T68" fmla="*/ 0 w 471"/>
                <a:gd name="T69" fmla="*/ 0 h 237"/>
                <a:gd name="T70" fmla="*/ 0 w 471"/>
                <a:gd name="T71" fmla="*/ 0 h 237"/>
                <a:gd name="T72" fmla="*/ 0 w 471"/>
                <a:gd name="T73" fmla="*/ 0 h 237"/>
                <a:gd name="T74" fmla="*/ 0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1"/>
                <a:gd name="T115" fmla="*/ 0 h 237"/>
                <a:gd name="T116" fmla="*/ 471 w 471"/>
                <a:gd name="T117" fmla="*/ 237 h 2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53" name="Freeform 840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4209" y="1739"/>
              <a:ext cx="50" cy="41"/>
            </a:xfrm>
            <a:custGeom>
              <a:avLst/>
              <a:gdLst>
                <a:gd name="T0" fmla="*/ 0 w 167"/>
                <a:gd name="T1" fmla="*/ 0 h 123"/>
                <a:gd name="T2" fmla="*/ 0 w 167"/>
                <a:gd name="T3" fmla="*/ 0 h 123"/>
                <a:gd name="T4" fmla="*/ 0 w 167"/>
                <a:gd name="T5" fmla="*/ 0 h 123"/>
                <a:gd name="T6" fmla="*/ 0 w 167"/>
                <a:gd name="T7" fmla="*/ 0 h 123"/>
                <a:gd name="T8" fmla="*/ 0 w 167"/>
                <a:gd name="T9" fmla="*/ 0 h 123"/>
                <a:gd name="T10" fmla="*/ 0 w 167"/>
                <a:gd name="T11" fmla="*/ 0 h 123"/>
                <a:gd name="T12" fmla="*/ 0 w 167"/>
                <a:gd name="T13" fmla="*/ 0 h 123"/>
                <a:gd name="T14" fmla="*/ 0 w 167"/>
                <a:gd name="T15" fmla="*/ 0 h 123"/>
                <a:gd name="T16" fmla="*/ 0 w 167"/>
                <a:gd name="T17" fmla="*/ 0 h 123"/>
                <a:gd name="T18" fmla="*/ 0 w 167"/>
                <a:gd name="T19" fmla="*/ 0 h 123"/>
                <a:gd name="T20" fmla="*/ 0 w 167"/>
                <a:gd name="T21" fmla="*/ 0 h 123"/>
                <a:gd name="T22" fmla="*/ 0 w 167"/>
                <a:gd name="T23" fmla="*/ 0 h 123"/>
                <a:gd name="T24" fmla="*/ 0 w 167"/>
                <a:gd name="T25" fmla="*/ 0 h 123"/>
                <a:gd name="T26" fmla="*/ 0 w 167"/>
                <a:gd name="T27" fmla="*/ 0 h 123"/>
                <a:gd name="T28" fmla="*/ 0 w 167"/>
                <a:gd name="T29" fmla="*/ 0 h 123"/>
                <a:gd name="T30" fmla="*/ 0 w 167"/>
                <a:gd name="T31" fmla="*/ 0 h 123"/>
                <a:gd name="T32" fmla="*/ 0 w 167"/>
                <a:gd name="T33" fmla="*/ 0 h 123"/>
                <a:gd name="T34" fmla="*/ 0 w 167"/>
                <a:gd name="T35" fmla="*/ 0 h 123"/>
                <a:gd name="T36" fmla="*/ 0 w 167"/>
                <a:gd name="T37" fmla="*/ 0 h 123"/>
                <a:gd name="T38" fmla="*/ 0 w 167"/>
                <a:gd name="T39" fmla="*/ 0 h 123"/>
                <a:gd name="T40" fmla="*/ 0 w 167"/>
                <a:gd name="T41" fmla="*/ 0 h 123"/>
                <a:gd name="T42" fmla="*/ 0 w 167"/>
                <a:gd name="T43" fmla="*/ 0 h 123"/>
                <a:gd name="T44" fmla="*/ 0 w 167"/>
                <a:gd name="T45" fmla="*/ 0 h 123"/>
                <a:gd name="T46" fmla="*/ 0 w 167"/>
                <a:gd name="T47" fmla="*/ 0 h 123"/>
                <a:gd name="T48" fmla="*/ 0 w 167"/>
                <a:gd name="T49" fmla="*/ 0 h 123"/>
                <a:gd name="T50" fmla="*/ 0 w 167"/>
                <a:gd name="T51" fmla="*/ 0 h 123"/>
                <a:gd name="T52" fmla="*/ 0 w 167"/>
                <a:gd name="T53" fmla="*/ 0 h 123"/>
                <a:gd name="T54" fmla="*/ 0 w 167"/>
                <a:gd name="T55" fmla="*/ 0 h 123"/>
                <a:gd name="T56" fmla="*/ 0 w 167"/>
                <a:gd name="T57" fmla="*/ 0 h 123"/>
                <a:gd name="T58" fmla="*/ 0 w 167"/>
                <a:gd name="T59" fmla="*/ 0 h 123"/>
                <a:gd name="T60" fmla="*/ 0 w 167"/>
                <a:gd name="T61" fmla="*/ 0 h 123"/>
                <a:gd name="T62" fmla="*/ 0 w 167"/>
                <a:gd name="T63" fmla="*/ 0 h 123"/>
                <a:gd name="T64" fmla="*/ 0 w 167"/>
                <a:gd name="T65" fmla="*/ 0 h 123"/>
                <a:gd name="T66" fmla="*/ 0 w 167"/>
                <a:gd name="T67" fmla="*/ 0 h 123"/>
                <a:gd name="T68" fmla="*/ 0 w 167"/>
                <a:gd name="T69" fmla="*/ 0 h 123"/>
                <a:gd name="T70" fmla="*/ 0 w 167"/>
                <a:gd name="T71" fmla="*/ 0 h 123"/>
                <a:gd name="T72" fmla="*/ 0 w 167"/>
                <a:gd name="T73" fmla="*/ 0 h 123"/>
                <a:gd name="T74" fmla="*/ 0 w 167"/>
                <a:gd name="T75" fmla="*/ 0 h 123"/>
                <a:gd name="T76" fmla="*/ 0 w 167"/>
                <a:gd name="T77" fmla="*/ 0 h 123"/>
                <a:gd name="T78" fmla="*/ 0 w 167"/>
                <a:gd name="T79" fmla="*/ 0 h 123"/>
                <a:gd name="T80" fmla="*/ 0 w 167"/>
                <a:gd name="T81" fmla="*/ 0 h 123"/>
                <a:gd name="T82" fmla="*/ 0 w 167"/>
                <a:gd name="T83" fmla="*/ 0 h 123"/>
                <a:gd name="T84" fmla="*/ 0 w 167"/>
                <a:gd name="T85" fmla="*/ 0 h 123"/>
                <a:gd name="T86" fmla="*/ 0 w 167"/>
                <a:gd name="T87" fmla="*/ 0 h 123"/>
                <a:gd name="T88" fmla="*/ 0 w 167"/>
                <a:gd name="T89" fmla="*/ 0 h 123"/>
                <a:gd name="T90" fmla="*/ 0 w 167"/>
                <a:gd name="T91" fmla="*/ 0 h 123"/>
                <a:gd name="T92" fmla="*/ 0 w 167"/>
                <a:gd name="T93" fmla="*/ 0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7"/>
                <a:gd name="T142" fmla="*/ 0 h 123"/>
                <a:gd name="T143" fmla="*/ 167 w 167"/>
                <a:gd name="T144" fmla="*/ 123 h 12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54" name="Freeform 841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4202" y="1784"/>
              <a:ext cx="91" cy="105"/>
            </a:xfrm>
            <a:custGeom>
              <a:avLst/>
              <a:gdLst>
                <a:gd name="T0" fmla="*/ 0 w 306"/>
                <a:gd name="T1" fmla="*/ 0 h 321"/>
                <a:gd name="T2" fmla="*/ 0 w 306"/>
                <a:gd name="T3" fmla="*/ 0 h 321"/>
                <a:gd name="T4" fmla="*/ 0 w 306"/>
                <a:gd name="T5" fmla="*/ 0 h 321"/>
                <a:gd name="T6" fmla="*/ 0 w 306"/>
                <a:gd name="T7" fmla="*/ 0 h 321"/>
                <a:gd name="T8" fmla="*/ 0 w 306"/>
                <a:gd name="T9" fmla="*/ 0 h 321"/>
                <a:gd name="T10" fmla="*/ 0 w 306"/>
                <a:gd name="T11" fmla="*/ 0 h 321"/>
                <a:gd name="T12" fmla="*/ 0 w 306"/>
                <a:gd name="T13" fmla="*/ 0 h 321"/>
                <a:gd name="T14" fmla="*/ 0 w 306"/>
                <a:gd name="T15" fmla="*/ 0 h 321"/>
                <a:gd name="T16" fmla="*/ 0 w 306"/>
                <a:gd name="T17" fmla="*/ 0 h 321"/>
                <a:gd name="T18" fmla="*/ 0 w 306"/>
                <a:gd name="T19" fmla="*/ 0 h 321"/>
                <a:gd name="T20" fmla="*/ 0 w 306"/>
                <a:gd name="T21" fmla="*/ 0 h 321"/>
                <a:gd name="T22" fmla="*/ 0 w 306"/>
                <a:gd name="T23" fmla="*/ 0 h 321"/>
                <a:gd name="T24" fmla="*/ 0 w 306"/>
                <a:gd name="T25" fmla="*/ 0 h 321"/>
                <a:gd name="T26" fmla="*/ 0 w 306"/>
                <a:gd name="T27" fmla="*/ 0 h 321"/>
                <a:gd name="T28" fmla="*/ 0 w 306"/>
                <a:gd name="T29" fmla="*/ 0 h 321"/>
                <a:gd name="T30" fmla="*/ 0 w 306"/>
                <a:gd name="T31" fmla="*/ 0 h 321"/>
                <a:gd name="T32" fmla="*/ 0 w 306"/>
                <a:gd name="T33" fmla="*/ 0 h 321"/>
                <a:gd name="T34" fmla="*/ 0 w 306"/>
                <a:gd name="T35" fmla="*/ 0 h 321"/>
                <a:gd name="T36" fmla="*/ 0 w 306"/>
                <a:gd name="T37" fmla="*/ 0 h 321"/>
                <a:gd name="T38" fmla="*/ 0 w 306"/>
                <a:gd name="T39" fmla="*/ 0 h 321"/>
                <a:gd name="T40" fmla="*/ 0 w 306"/>
                <a:gd name="T41" fmla="*/ 0 h 321"/>
                <a:gd name="T42" fmla="*/ 0 w 306"/>
                <a:gd name="T43" fmla="*/ 0 h 321"/>
                <a:gd name="T44" fmla="*/ 0 w 306"/>
                <a:gd name="T45" fmla="*/ 0 h 321"/>
                <a:gd name="T46" fmla="*/ 0 w 306"/>
                <a:gd name="T47" fmla="*/ 0 h 321"/>
                <a:gd name="T48" fmla="*/ 0 w 306"/>
                <a:gd name="T49" fmla="*/ 0 h 321"/>
                <a:gd name="T50" fmla="*/ 0 w 306"/>
                <a:gd name="T51" fmla="*/ 0 h 321"/>
                <a:gd name="T52" fmla="*/ 0 w 306"/>
                <a:gd name="T53" fmla="*/ 0 h 321"/>
                <a:gd name="T54" fmla="*/ 0 w 306"/>
                <a:gd name="T55" fmla="*/ 0 h 321"/>
                <a:gd name="T56" fmla="*/ 0 w 306"/>
                <a:gd name="T57" fmla="*/ 0 h 321"/>
                <a:gd name="T58" fmla="*/ 0 w 306"/>
                <a:gd name="T59" fmla="*/ 0 h 321"/>
                <a:gd name="T60" fmla="*/ 0 w 306"/>
                <a:gd name="T61" fmla="*/ 0 h 321"/>
                <a:gd name="T62" fmla="*/ 0 w 306"/>
                <a:gd name="T63" fmla="*/ 0 h 321"/>
                <a:gd name="T64" fmla="*/ 0 w 306"/>
                <a:gd name="T65" fmla="*/ 0 h 321"/>
                <a:gd name="T66" fmla="*/ 0 w 306"/>
                <a:gd name="T67" fmla="*/ 0 h 321"/>
                <a:gd name="T68" fmla="*/ 0 w 306"/>
                <a:gd name="T69" fmla="*/ 0 h 321"/>
                <a:gd name="T70" fmla="*/ 0 w 306"/>
                <a:gd name="T71" fmla="*/ 0 h 321"/>
                <a:gd name="T72" fmla="*/ 0 w 306"/>
                <a:gd name="T73" fmla="*/ 0 h 321"/>
                <a:gd name="T74" fmla="*/ 0 w 306"/>
                <a:gd name="T75" fmla="*/ 0 h 321"/>
                <a:gd name="T76" fmla="*/ 0 w 306"/>
                <a:gd name="T77" fmla="*/ 0 h 321"/>
                <a:gd name="T78" fmla="*/ 0 w 306"/>
                <a:gd name="T79" fmla="*/ 0 h 321"/>
                <a:gd name="T80" fmla="*/ 0 w 306"/>
                <a:gd name="T81" fmla="*/ 0 h 321"/>
                <a:gd name="T82" fmla="*/ 0 w 306"/>
                <a:gd name="T83" fmla="*/ 0 h 321"/>
                <a:gd name="T84" fmla="*/ 0 w 306"/>
                <a:gd name="T85" fmla="*/ 0 h 321"/>
                <a:gd name="T86" fmla="*/ 0 w 306"/>
                <a:gd name="T87" fmla="*/ 0 h 321"/>
                <a:gd name="T88" fmla="*/ 0 w 306"/>
                <a:gd name="T89" fmla="*/ 0 h 321"/>
                <a:gd name="T90" fmla="*/ 0 w 306"/>
                <a:gd name="T91" fmla="*/ 0 h 321"/>
                <a:gd name="T92" fmla="*/ 0 w 306"/>
                <a:gd name="T93" fmla="*/ 0 h 321"/>
                <a:gd name="T94" fmla="*/ 0 w 306"/>
                <a:gd name="T95" fmla="*/ 0 h 321"/>
                <a:gd name="T96" fmla="*/ 0 w 306"/>
                <a:gd name="T97" fmla="*/ 0 h 321"/>
                <a:gd name="T98" fmla="*/ 0 w 306"/>
                <a:gd name="T99" fmla="*/ 0 h 321"/>
                <a:gd name="T100" fmla="*/ 0 w 306"/>
                <a:gd name="T101" fmla="*/ 0 h 321"/>
                <a:gd name="T102" fmla="*/ 0 w 306"/>
                <a:gd name="T103" fmla="*/ 0 h 321"/>
                <a:gd name="T104" fmla="*/ 0 w 306"/>
                <a:gd name="T105" fmla="*/ 0 h 321"/>
                <a:gd name="T106" fmla="*/ 0 w 306"/>
                <a:gd name="T107" fmla="*/ 0 h 321"/>
                <a:gd name="T108" fmla="*/ 0 w 306"/>
                <a:gd name="T109" fmla="*/ 0 h 321"/>
                <a:gd name="T110" fmla="*/ 0 w 306"/>
                <a:gd name="T111" fmla="*/ 0 h 321"/>
                <a:gd name="T112" fmla="*/ 0 w 306"/>
                <a:gd name="T113" fmla="*/ 0 h 321"/>
                <a:gd name="T114" fmla="*/ 0 w 306"/>
                <a:gd name="T115" fmla="*/ 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6"/>
                <a:gd name="T175" fmla="*/ 0 h 321"/>
                <a:gd name="T176" fmla="*/ 306 w 306"/>
                <a:gd name="T177" fmla="*/ 321 h 3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55" name="Freeform 842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4419" y="1857"/>
              <a:ext cx="138" cy="170"/>
            </a:xfrm>
            <a:custGeom>
              <a:avLst/>
              <a:gdLst>
                <a:gd name="T0" fmla="*/ 0 w 471"/>
                <a:gd name="T1" fmla="*/ 0 h 518"/>
                <a:gd name="T2" fmla="*/ 0 w 471"/>
                <a:gd name="T3" fmla="*/ 0 h 518"/>
                <a:gd name="T4" fmla="*/ 0 w 471"/>
                <a:gd name="T5" fmla="*/ 0 h 518"/>
                <a:gd name="T6" fmla="*/ 0 w 471"/>
                <a:gd name="T7" fmla="*/ 0 h 518"/>
                <a:gd name="T8" fmla="*/ 0 w 471"/>
                <a:gd name="T9" fmla="*/ 0 h 518"/>
                <a:gd name="T10" fmla="*/ 0 w 471"/>
                <a:gd name="T11" fmla="*/ 0 h 518"/>
                <a:gd name="T12" fmla="*/ 0 w 471"/>
                <a:gd name="T13" fmla="*/ 0 h 518"/>
                <a:gd name="T14" fmla="*/ 0 w 471"/>
                <a:gd name="T15" fmla="*/ 0 h 518"/>
                <a:gd name="T16" fmla="*/ 0 w 471"/>
                <a:gd name="T17" fmla="*/ 0 h 518"/>
                <a:gd name="T18" fmla="*/ 0 w 471"/>
                <a:gd name="T19" fmla="*/ 0 h 518"/>
                <a:gd name="T20" fmla="*/ 0 w 471"/>
                <a:gd name="T21" fmla="*/ 0 h 518"/>
                <a:gd name="T22" fmla="*/ 0 w 471"/>
                <a:gd name="T23" fmla="*/ 0 h 518"/>
                <a:gd name="T24" fmla="*/ 0 w 471"/>
                <a:gd name="T25" fmla="*/ 0 h 518"/>
                <a:gd name="T26" fmla="*/ 0 w 471"/>
                <a:gd name="T27" fmla="*/ 0 h 518"/>
                <a:gd name="T28" fmla="*/ 0 w 471"/>
                <a:gd name="T29" fmla="*/ 0 h 518"/>
                <a:gd name="T30" fmla="*/ 0 w 471"/>
                <a:gd name="T31" fmla="*/ 0 h 518"/>
                <a:gd name="T32" fmla="*/ 0 w 471"/>
                <a:gd name="T33" fmla="*/ 0 h 518"/>
                <a:gd name="T34" fmla="*/ 0 w 471"/>
                <a:gd name="T35" fmla="*/ 0 h 518"/>
                <a:gd name="T36" fmla="*/ 0 w 471"/>
                <a:gd name="T37" fmla="*/ 0 h 518"/>
                <a:gd name="T38" fmla="*/ 0 w 471"/>
                <a:gd name="T39" fmla="*/ 0 h 518"/>
                <a:gd name="T40" fmla="*/ 0 w 471"/>
                <a:gd name="T41" fmla="*/ 0 h 518"/>
                <a:gd name="T42" fmla="*/ 0 w 471"/>
                <a:gd name="T43" fmla="*/ 0 h 518"/>
                <a:gd name="T44" fmla="*/ 0 w 471"/>
                <a:gd name="T45" fmla="*/ 0 h 518"/>
                <a:gd name="T46" fmla="*/ 0 w 471"/>
                <a:gd name="T47" fmla="*/ 0 h 518"/>
                <a:gd name="T48" fmla="*/ 0 w 471"/>
                <a:gd name="T49" fmla="*/ 0 h 518"/>
                <a:gd name="T50" fmla="*/ 0 w 471"/>
                <a:gd name="T51" fmla="*/ 0 h 518"/>
                <a:gd name="T52" fmla="*/ 0 w 471"/>
                <a:gd name="T53" fmla="*/ 0 h 518"/>
                <a:gd name="T54" fmla="*/ 0 w 471"/>
                <a:gd name="T55" fmla="*/ 0 h 518"/>
                <a:gd name="T56" fmla="*/ 0 w 471"/>
                <a:gd name="T57" fmla="*/ 0 h 518"/>
                <a:gd name="T58" fmla="*/ 0 w 471"/>
                <a:gd name="T59" fmla="*/ 0 h 518"/>
                <a:gd name="T60" fmla="*/ 0 w 471"/>
                <a:gd name="T61" fmla="*/ 0 h 518"/>
                <a:gd name="T62" fmla="*/ 0 w 471"/>
                <a:gd name="T63" fmla="*/ 0 h 518"/>
                <a:gd name="T64" fmla="*/ 0 w 471"/>
                <a:gd name="T65" fmla="*/ 0 h 518"/>
                <a:gd name="T66" fmla="*/ 0 w 471"/>
                <a:gd name="T67" fmla="*/ 0 h 518"/>
                <a:gd name="T68" fmla="*/ 0 w 471"/>
                <a:gd name="T69" fmla="*/ 0 h 518"/>
                <a:gd name="T70" fmla="*/ 0 w 471"/>
                <a:gd name="T71" fmla="*/ 0 h 518"/>
                <a:gd name="T72" fmla="*/ 0 w 471"/>
                <a:gd name="T73" fmla="*/ 0 h 518"/>
                <a:gd name="T74" fmla="*/ 0 w 471"/>
                <a:gd name="T75" fmla="*/ 0 h 518"/>
                <a:gd name="T76" fmla="*/ 0 w 471"/>
                <a:gd name="T77" fmla="*/ 0 h 518"/>
                <a:gd name="T78" fmla="*/ 0 w 471"/>
                <a:gd name="T79" fmla="*/ 0 h 518"/>
                <a:gd name="T80" fmla="*/ 0 w 471"/>
                <a:gd name="T81" fmla="*/ 0 h 518"/>
                <a:gd name="T82" fmla="*/ 0 w 471"/>
                <a:gd name="T83" fmla="*/ 0 h 518"/>
                <a:gd name="T84" fmla="*/ 0 w 471"/>
                <a:gd name="T85" fmla="*/ 0 h 518"/>
                <a:gd name="T86" fmla="*/ 0 w 471"/>
                <a:gd name="T87" fmla="*/ 0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1"/>
                <a:gd name="T133" fmla="*/ 0 h 518"/>
                <a:gd name="T134" fmla="*/ 471 w 471"/>
                <a:gd name="T135" fmla="*/ 518 h 51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56" name="Freeform 843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4475" y="2015"/>
              <a:ext cx="91" cy="82"/>
            </a:xfrm>
            <a:custGeom>
              <a:avLst/>
              <a:gdLst>
                <a:gd name="T0" fmla="*/ 0 w 293"/>
                <a:gd name="T1" fmla="*/ 0 h 246"/>
                <a:gd name="T2" fmla="*/ 0 w 293"/>
                <a:gd name="T3" fmla="*/ 0 h 246"/>
                <a:gd name="T4" fmla="*/ 0 w 293"/>
                <a:gd name="T5" fmla="*/ 0 h 246"/>
                <a:gd name="T6" fmla="*/ 0 w 293"/>
                <a:gd name="T7" fmla="*/ 0 h 246"/>
                <a:gd name="T8" fmla="*/ 0 w 293"/>
                <a:gd name="T9" fmla="*/ 0 h 246"/>
                <a:gd name="T10" fmla="*/ 0 w 293"/>
                <a:gd name="T11" fmla="*/ 0 h 246"/>
                <a:gd name="T12" fmla="*/ 0 w 293"/>
                <a:gd name="T13" fmla="*/ 0 h 246"/>
                <a:gd name="T14" fmla="*/ 0 w 293"/>
                <a:gd name="T15" fmla="*/ 0 h 246"/>
                <a:gd name="T16" fmla="*/ 0 w 293"/>
                <a:gd name="T17" fmla="*/ 0 h 246"/>
                <a:gd name="T18" fmla="*/ 0 w 293"/>
                <a:gd name="T19" fmla="*/ 0 h 246"/>
                <a:gd name="T20" fmla="*/ 0 w 293"/>
                <a:gd name="T21" fmla="*/ 0 h 246"/>
                <a:gd name="T22" fmla="*/ 0 w 293"/>
                <a:gd name="T23" fmla="*/ 0 h 246"/>
                <a:gd name="T24" fmla="*/ 0 w 293"/>
                <a:gd name="T25" fmla="*/ 0 h 246"/>
                <a:gd name="T26" fmla="*/ 0 w 293"/>
                <a:gd name="T27" fmla="*/ 0 h 246"/>
                <a:gd name="T28" fmla="*/ 0 w 293"/>
                <a:gd name="T29" fmla="*/ 0 h 246"/>
                <a:gd name="T30" fmla="*/ 0 w 293"/>
                <a:gd name="T31" fmla="*/ 0 h 246"/>
                <a:gd name="T32" fmla="*/ 0 w 293"/>
                <a:gd name="T33" fmla="*/ 0 h 246"/>
                <a:gd name="T34" fmla="*/ 0 w 293"/>
                <a:gd name="T35" fmla="*/ 0 h 246"/>
                <a:gd name="T36" fmla="*/ 0 w 293"/>
                <a:gd name="T37" fmla="*/ 0 h 246"/>
                <a:gd name="T38" fmla="*/ 0 w 293"/>
                <a:gd name="T39" fmla="*/ 0 h 246"/>
                <a:gd name="T40" fmla="*/ 0 w 293"/>
                <a:gd name="T41" fmla="*/ 0 h 246"/>
                <a:gd name="T42" fmla="*/ 0 w 293"/>
                <a:gd name="T43" fmla="*/ 0 h 246"/>
                <a:gd name="T44" fmla="*/ 0 w 293"/>
                <a:gd name="T45" fmla="*/ 0 h 246"/>
                <a:gd name="T46" fmla="*/ 0 w 293"/>
                <a:gd name="T47" fmla="*/ 0 h 246"/>
                <a:gd name="T48" fmla="*/ 0 w 293"/>
                <a:gd name="T49" fmla="*/ 0 h 246"/>
                <a:gd name="T50" fmla="*/ 0 w 293"/>
                <a:gd name="T51" fmla="*/ 0 h 246"/>
                <a:gd name="T52" fmla="*/ 0 w 293"/>
                <a:gd name="T53" fmla="*/ 0 h 246"/>
                <a:gd name="T54" fmla="*/ 0 w 293"/>
                <a:gd name="T55" fmla="*/ 0 h 246"/>
                <a:gd name="T56" fmla="*/ 0 w 293"/>
                <a:gd name="T57" fmla="*/ 0 h 246"/>
                <a:gd name="T58" fmla="*/ 0 w 293"/>
                <a:gd name="T59" fmla="*/ 0 h 246"/>
                <a:gd name="T60" fmla="*/ 0 w 293"/>
                <a:gd name="T61" fmla="*/ 0 h 246"/>
                <a:gd name="T62" fmla="*/ 0 w 293"/>
                <a:gd name="T63" fmla="*/ 0 h 246"/>
                <a:gd name="T64" fmla="*/ 0 w 293"/>
                <a:gd name="T65" fmla="*/ 0 h 246"/>
                <a:gd name="T66" fmla="*/ 0 w 293"/>
                <a:gd name="T67" fmla="*/ 0 h 246"/>
                <a:gd name="T68" fmla="*/ 0 w 293"/>
                <a:gd name="T69" fmla="*/ 0 h 246"/>
                <a:gd name="T70" fmla="*/ 0 w 293"/>
                <a:gd name="T71" fmla="*/ 0 h 246"/>
                <a:gd name="T72" fmla="*/ 0 w 293"/>
                <a:gd name="T73" fmla="*/ 0 h 246"/>
                <a:gd name="T74" fmla="*/ 0 w 293"/>
                <a:gd name="T75" fmla="*/ 0 h 246"/>
                <a:gd name="T76" fmla="*/ 0 w 293"/>
                <a:gd name="T77" fmla="*/ 0 h 246"/>
                <a:gd name="T78" fmla="*/ 0 w 293"/>
                <a:gd name="T79" fmla="*/ 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93"/>
                <a:gd name="T121" fmla="*/ 0 h 246"/>
                <a:gd name="T122" fmla="*/ 293 w 293"/>
                <a:gd name="T123" fmla="*/ 246 h 2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57" name="Freeform 844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4749" y="1534"/>
              <a:ext cx="59" cy="82"/>
            </a:xfrm>
            <a:custGeom>
              <a:avLst/>
              <a:gdLst>
                <a:gd name="T0" fmla="*/ 0 w 200"/>
                <a:gd name="T1" fmla="*/ 0 h 246"/>
                <a:gd name="T2" fmla="*/ 0 w 200"/>
                <a:gd name="T3" fmla="*/ 0 h 246"/>
                <a:gd name="T4" fmla="*/ 0 w 200"/>
                <a:gd name="T5" fmla="*/ 0 h 246"/>
                <a:gd name="T6" fmla="*/ 0 w 200"/>
                <a:gd name="T7" fmla="*/ 0 h 246"/>
                <a:gd name="T8" fmla="*/ 0 w 200"/>
                <a:gd name="T9" fmla="*/ 0 h 246"/>
                <a:gd name="T10" fmla="*/ 0 w 200"/>
                <a:gd name="T11" fmla="*/ 0 h 246"/>
                <a:gd name="T12" fmla="*/ 0 w 200"/>
                <a:gd name="T13" fmla="*/ 0 h 246"/>
                <a:gd name="T14" fmla="*/ 0 w 200"/>
                <a:gd name="T15" fmla="*/ 0 h 246"/>
                <a:gd name="T16" fmla="*/ 0 w 200"/>
                <a:gd name="T17" fmla="*/ 0 h 246"/>
                <a:gd name="T18" fmla="*/ 0 w 200"/>
                <a:gd name="T19" fmla="*/ 0 h 246"/>
                <a:gd name="T20" fmla="*/ 0 w 200"/>
                <a:gd name="T21" fmla="*/ 0 h 246"/>
                <a:gd name="T22" fmla="*/ 0 w 200"/>
                <a:gd name="T23" fmla="*/ 0 h 246"/>
                <a:gd name="T24" fmla="*/ 0 w 200"/>
                <a:gd name="T25" fmla="*/ 0 h 246"/>
                <a:gd name="T26" fmla="*/ 0 w 200"/>
                <a:gd name="T27" fmla="*/ 0 h 246"/>
                <a:gd name="T28" fmla="*/ 0 w 200"/>
                <a:gd name="T29" fmla="*/ 0 h 246"/>
                <a:gd name="T30" fmla="*/ 0 w 200"/>
                <a:gd name="T31" fmla="*/ 0 h 246"/>
                <a:gd name="T32" fmla="*/ 0 w 200"/>
                <a:gd name="T33" fmla="*/ 0 h 246"/>
                <a:gd name="T34" fmla="*/ 0 w 200"/>
                <a:gd name="T35" fmla="*/ 0 h 246"/>
                <a:gd name="T36" fmla="*/ 0 w 200"/>
                <a:gd name="T37" fmla="*/ 0 h 246"/>
                <a:gd name="T38" fmla="*/ 0 w 200"/>
                <a:gd name="T39" fmla="*/ 0 h 246"/>
                <a:gd name="T40" fmla="*/ 0 w 200"/>
                <a:gd name="T41" fmla="*/ 0 h 246"/>
                <a:gd name="T42" fmla="*/ 0 w 200"/>
                <a:gd name="T43" fmla="*/ 0 h 246"/>
                <a:gd name="T44" fmla="*/ 0 w 200"/>
                <a:gd name="T45" fmla="*/ 0 h 246"/>
                <a:gd name="T46" fmla="*/ 0 w 200"/>
                <a:gd name="T47" fmla="*/ 0 h 246"/>
                <a:gd name="T48" fmla="*/ 0 w 200"/>
                <a:gd name="T49" fmla="*/ 0 h 246"/>
                <a:gd name="T50" fmla="*/ 0 w 200"/>
                <a:gd name="T51" fmla="*/ 0 h 246"/>
                <a:gd name="T52" fmla="*/ 0 w 200"/>
                <a:gd name="T53" fmla="*/ 0 h 246"/>
                <a:gd name="T54" fmla="*/ 0 w 200"/>
                <a:gd name="T55" fmla="*/ 0 h 246"/>
                <a:gd name="T56" fmla="*/ 0 w 200"/>
                <a:gd name="T57" fmla="*/ 0 h 246"/>
                <a:gd name="T58" fmla="*/ 0 w 200"/>
                <a:gd name="T59" fmla="*/ 0 h 246"/>
                <a:gd name="T60" fmla="*/ 0 w 200"/>
                <a:gd name="T61" fmla="*/ 0 h 246"/>
                <a:gd name="T62" fmla="*/ 0 w 200"/>
                <a:gd name="T63" fmla="*/ 0 h 246"/>
                <a:gd name="T64" fmla="*/ 0 w 200"/>
                <a:gd name="T65" fmla="*/ 0 h 246"/>
                <a:gd name="T66" fmla="*/ 0 w 200"/>
                <a:gd name="T67" fmla="*/ 0 h 246"/>
                <a:gd name="T68" fmla="*/ 0 w 200"/>
                <a:gd name="T69" fmla="*/ 0 h 246"/>
                <a:gd name="T70" fmla="*/ 0 w 200"/>
                <a:gd name="T71" fmla="*/ 0 h 246"/>
                <a:gd name="T72" fmla="*/ 0 w 200"/>
                <a:gd name="T73" fmla="*/ 0 h 246"/>
                <a:gd name="T74" fmla="*/ 0 w 200"/>
                <a:gd name="T75" fmla="*/ 0 h 246"/>
                <a:gd name="T76" fmla="*/ 0 w 200"/>
                <a:gd name="T77" fmla="*/ 0 h 246"/>
                <a:gd name="T78" fmla="*/ 0 w 200"/>
                <a:gd name="T79" fmla="*/ 0 h 246"/>
                <a:gd name="T80" fmla="*/ 0 w 200"/>
                <a:gd name="T81" fmla="*/ 0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0"/>
                <a:gd name="T124" fmla="*/ 0 h 246"/>
                <a:gd name="T125" fmla="*/ 200 w 200"/>
                <a:gd name="T126" fmla="*/ 246 h 24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58" name="Freeform 845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5137" y="2351"/>
              <a:ext cx="158" cy="160"/>
            </a:xfrm>
            <a:custGeom>
              <a:avLst/>
              <a:gdLst>
                <a:gd name="T0" fmla="*/ 0 w 538"/>
                <a:gd name="T1" fmla="*/ 0 h 487"/>
                <a:gd name="T2" fmla="*/ 0 w 538"/>
                <a:gd name="T3" fmla="*/ 0 h 487"/>
                <a:gd name="T4" fmla="*/ 0 w 538"/>
                <a:gd name="T5" fmla="*/ 0 h 487"/>
                <a:gd name="T6" fmla="*/ 0 w 538"/>
                <a:gd name="T7" fmla="*/ 0 h 487"/>
                <a:gd name="T8" fmla="*/ 0 w 538"/>
                <a:gd name="T9" fmla="*/ 0 h 487"/>
                <a:gd name="T10" fmla="*/ 0 w 538"/>
                <a:gd name="T11" fmla="*/ 0 h 487"/>
                <a:gd name="T12" fmla="*/ 0 w 538"/>
                <a:gd name="T13" fmla="*/ 0 h 487"/>
                <a:gd name="T14" fmla="*/ 0 w 538"/>
                <a:gd name="T15" fmla="*/ 0 h 487"/>
                <a:gd name="T16" fmla="*/ 0 w 538"/>
                <a:gd name="T17" fmla="*/ 0 h 487"/>
                <a:gd name="T18" fmla="*/ 0 w 538"/>
                <a:gd name="T19" fmla="*/ 0 h 487"/>
                <a:gd name="T20" fmla="*/ 0 w 538"/>
                <a:gd name="T21" fmla="*/ 0 h 487"/>
                <a:gd name="T22" fmla="*/ 0 w 538"/>
                <a:gd name="T23" fmla="*/ 0 h 487"/>
                <a:gd name="T24" fmla="*/ 0 w 538"/>
                <a:gd name="T25" fmla="*/ 0 h 487"/>
                <a:gd name="T26" fmla="*/ 0 w 538"/>
                <a:gd name="T27" fmla="*/ 0 h 487"/>
                <a:gd name="T28" fmla="*/ 0 w 538"/>
                <a:gd name="T29" fmla="*/ 0 h 487"/>
                <a:gd name="T30" fmla="*/ 0 w 538"/>
                <a:gd name="T31" fmla="*/ 0 h 487"/>
                <a:gd name="T32" fmla="*/ 0 w 538"/>
                <a:gd name="T33" fmla="*/ 0 h 487"/>
                <a:gd name="T34" fmla="*/ 0 w 538"/>
                <a:gd name="T35" fmla="*/ 0 h 487"/>
                <a:gd name="T36" fmla="*/ 0 w 538"/>
                <a:gd name="T37" fmla="*/ 0 h 487"/>
                <a:gd name="T38" fmla="*/ 0 w 538"/>
                <a:gd name="T39" fmla="*/ 0 h 487"/>
                <a:gd name="T40" fmla="*/ 0 w 538"/>
                <a:gd name="T41" fmla="*/ 0 h 487"/>
                <a:gd name="T42" fmla="*/ 0 w 538"/>
                <a:gd name="T43" fmla="*/ 0 h 487"/>
                <a:gd name="T44" fmla="*/ 0 w 538"/>
                <a:gd name="T45" fmla="*/ 0 h 487"/>
                <a:gd name="T46" fmla="*/ 0 w 538"/>
                <a:gd name="T47" fmla="*/ 0 h 487"/>
                <a:gd name="T48" fmla="*/ 0 w 538"/>
                <a:gd name="T49" fmla="*/ 0 h 487"/>
                <a:gd name="T50" fmla="*/ 0 w 538"/>
                <a:gd name="T51" fmla="*/ 0 h 487"/>
                <a:gd name="T52" fmla="*/ 0 w 538"/>
                <a:gd name="T53" fmla="*/ 0 h 487"/>
                <a:gd name="T54" fmla="*/ 0 w 538"/>
                <a:gd name="T55" fmla="*/ 0 h 487"/>
                <a:gd name="T56" fmla="*/ 0 w 538"/>
                <a:gd name="T57" fmla="*/ 0 h 487"/>
                <a:gd name="T58" fmla="*/ 0 w 538"/>
                <a:gd name="T59" fmla="*/ 0 h 487"/>
                <a:gd name="T60" fmla="*/ 0 w 538"/>
                <a:gd name="T61" fmla="*/ 0 h 487"/>
                <a:gd name="T62" fmla="*/ 0 w 538"/>
                <a:gd name="T63" fmla="*/ 0 h 487"/>
                <a:gd name="T64" fmla="*/ 0 w 538"/>
                <a:gd name="T65" fmla="*/ 0 h 487"/>
                <a:gd name="T66" fmla="*/ 0 w 538"/>
                <a:gd name="T67" fmla="*/ 0 h 487"/>
                <a:gd name="T68" fmla="*/ 0 w 538"/>
                <a:gd name="T69" fmla="*/ 0 h 487"/>
                <a:gd name="T70" fmla="*/ 0 w 538"/>
                <a:gd name="T71" fmla="*/ 0 h 487"/>
                <a:gd name="T72" fmla="*/ 0 w 538"/>
                <a:gd name="T73" fmla="*/ 0 h 487"/>
                <a:gd name="T74" fmla="*/ 0 w 538"/>
                <a:gd name="T75" fmla="*/ 0 h 487"/>
                <a:gd name="T76" fmla="*/ 0 w 538"/>
                <a:gd name="T77" fmla="*/ 0 h 487"/>
                <a:gd name="T78" fmla="*/ 0 w 538"/>
                <a:gd name="T79" fmla="*/ 0 h 487"/>
                <a:gd name="T80" fmla="*/ 0 w 538"/>
                <a:gd name="T81" fmla="*/ 0 h 487"/>
                <a:gd name="T82" fmla="*/ 0 w 538"/>
                <a:gd name="T83" fmla="*/ 0 h 487"/>
                <a:gd name="T84" fmla="*/ 0 w 538"/>
                <a:gd name="T85" fmla="*/ 0 h 487"/>
                <a:gd name="T86" fmla="*/ 0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38"/>
                <a:gd name="T133" fmla="*/ 0 h 487"/>
                <a:gd name="T134" fmla="*/ 538 w 538"/>
                <a:gd name="T135" fmla="*/ 487 h 48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59" name="Freeform 846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5268" y="2341"/>
              <a:ext cx="73" cy="81"/>
            </a:xfrm>
            <a:custGeom>
              <a:avLst/>
              <a:gdLst>
                <a:gd name="T0" fmla="*/ 0 w 253"/>
                <a:gd name="T1" fmla="*/ 0 h 246"/>
                <a:gd name="T2" fmla="*/ 0 w 253"/>
                <a:gd name="T3" fmla="*/ 0 h 246"/>
                <a:gd name="T4" fmla="*/ 0 w 253"/>
                <a:gd name="T5" fmla="*/ 0 h 246"/>
                <a:gd name="T6" fmla="*/ 0 w 253"/>
                <a:gd name="T7" fmla="*/ 0 h 246"/>
                <a:gd name="T8" fmla="*/ 0 w 253"/>
                <a:gd name="T9" fmla="*/ 0 h 246"/>
                <a:gd name="T10" fmla="*/ 0 w 253"/>
                <a:gd name="T11" fmla="*/ 0 h 246"/>
                <a:gd name="T12" fmla="*/ 0 w 253"/>
                <a:gd name="T13" fmla="*/ 0 h 246"/>
                <a:gd name="T14" fmla="*/ 0 w 253"/>
                <a:gd name="T15" fmla="*/ 0 h 246"/>
                <a:gd name="T16" fmla="*/ 0 w 253"/>
                <a:gd name="T17" fmla="*/ 0 h 246"/>
                <a:gd name="T18" fmla="*/ 0 w 253"/>
                <a:gd name="T19" fmla="*/ 0 h 246"/>
                <a:gd name="T20" fmla="*/ 0 w 253"/>
                <a:gd name="T21" fmla="*/ 0 h 246"/>
                <a:gd name="T22" fmla="*/ 0 w 253"/>
                <a:gd name="T23" fmla="*/ 0 h 246"/>
                <a:gd name="T24" fmla="*/ 0 w 253"/>
                <a:gd name="T25" fmla="*/ 0 h 246"/>
                <a:gd name="T26" fmla="*/ 0 w 253"/>
                <a:gd name="T27" fmla="*/ 0 h 246"/>
                <a:gd name="T28" fmla="*/ 0 w 253"/>
                <a:gd name="T29" fmla="*/ 0 h 246"/>
                <a:gd name="T30" fmla="*/ 0 w 253"/>
                <a:gd name="T31" fmla="*/ 0 h 246"/>
                <a:gd name="T32" fmla="*/ 0 w 253"/>
                <a:gd name="T33" fmla="*/ 0 h 246"/>
                <a:gd name="T34" fmla="*/ 0 w 253"/>
                <a:gd name="T35" fmla="*/ 0 h 246"/>
                <a:gd name="T36" fmla="*/ 0 w 253"/>
                <a:gd name="T37" fmla="*/ 0 h 246"/>
                <a:gd name="T38" fmla="*/ 0 w 253"/>
                <a:gd name="T39" fmla="*/ 0 h 246"/>
                <a:gd name="T40" fmla="*/ 0 w 253"/>
                <a:gd name="T41" fmla="*/ 0 h 246"/>
                <a:gd name="T42" fmla="*/ 0 w 253"/>
                <a:gd name="T43" fmla="*/ 0 h 246"/>
                <a:gd name="T44" fmla="*/ 0 w 253"/>
                <a:gd name="T45" fmla="*/ 0 h 246"/>
                <a:gd name="T46" fmla="*/ 0 w 253"/>
                <a:gd name="T47" fmla="*/ 0 h 246"/>
                <a:gd name="T48" fmla="*/ 0 w 253"/>
                <a:gd name="T49" fmla="*/ 0 h 246"/>
                <a:gd name="T50" fmla="*/ 0 w 253"/>
                <a:gd name="T51" fmla="*/ 0 h 246"/>
                <a:gd name="T52" fmla="*/ 0 w 253"/>
                <a:gd name="T53" fmla="*/ 0 h 246"/>
                <a:gd name="T54" fmla="*/ 0 w 253"/>
                <a:gd name="T55" fmla="*/ 0 h 246"/>
                <a:gd name="T56" fmla="*/ 0 w 253"/>
                <a:gd name="T57" fmla="*/ 0 h 246"/>
                <a:gd name="T58" fmla="*/ 0 w 253"/>
                <a:gd name="T59" fmla="*/ 0 h 246"/>
                <a:gd name="T60" fmla="*/ 0 w 253"/>
                <a:gd name="T61" fmla="*/ 0 h 246"/>
                <a:gd name="T62" fmla="*/ 0 w 253"/>
                <a:gd name="T63" fmla="*/ 0 h 246"/>
                <a:gd name="T64" fmla="*/ 0 w 253"/>
                <a:gd name="T65" fmla="*/ 0 h 246"/>
                <a:gd name="T66" fmla="*/ 0 w 253"/>
                <a:gd name="T67" fmla="*/ 0 h 246"/>
                <a:gd name="T68" fmla="*/ 0 w 253"/>
                <a:gd name="T69" fmla="*/ 0 h 246"/>
                <a:gd name="T70" fmla="*/ 0 w 253"/>
                <a:gd name="T71" fmla="*/ 0 h 246"/>
                <a:gd name="T72" fmla="*/ 0 w 253"/>
                <a:gd name="T73" fmla="*/ 0 h 246"/>
                <a:gd name="T74" fmla="*/ 0 w 253"/>
                <a:gd name="T75" fmla="*/ 0 h 246"/>
                <a:gd name="T76" fmla="*/ 0 w 253"/>
                <a:gd name="T77" fmla="*/ 0 h 246"/>
                <a:gd name="T78" fmla="*/ 0 w 253"/>
                <a:gd name="T79" fmla="*/ 0 h 246"/>
                <a:gd name="T80" fmla="*/ 0 w 253"/>
                <a:gd name="T81" fmla="*/ 0 h 246"/>
                <a:gd name="T82" fmla="*/ 0 w 253"/>
                <a:gd name="T83" fmla="*/ 0 h 246"/>
                <a:gd name="T84" fmla="*/ 0 w 253"/>
                <a:gd name="T85" fmla="*/ 0 h 246"/>
                <a:gd name="T86" fmla="*/ 0 w 253"/>
                <a:gd name="T87" fmla="*/ 0 h 246"/>
                <a:gd name="T88" fmla="*/ 0 w 253"/>
                <a:gd name="T89" fmla="*/ 0 h 246"/>
                <a:gd name="T90" fmla="*/ 0 w 253"/>
                <a:gd name="T91" fmla="*/ 0 h 246"/>
                <a:gd name="T92" fmla="*/ 0 w 253"/>
                <a:gd name="T93" fmla="*/ 0 h 246"/>
                <a:gd name="T94" fmla="*/ 0 w 253"/>
                <a:gd name="T95" fmla="*/ 0 h 246"/>
                <a:gd name="T96" fmla="*/ 0 w 253"/>
                <a:gd name="T97" fmla="*/ 0 h 246"/>
                <a:gd name="T98" fmla="*/ 0 w 253"/>
                <a:gd name="T99" fmla="*/ 0 h 246"/>
                <a:gd name="T100" fmla="*/ 0 w 253"/>
                <a:gd name="T101" fmla="*/ 0 h 246"/>
                <a:gd name="T102" fmla="*/ 0 w 253"/>
                <a:gd name="T103" fmla="*/ 0 h 246"/>
                <a:gd name="T104" fmla="*/ 0 w 253"/>
                <a:gd name="T105" fmla="*/ 0 h 246"/>
                <a:gd name="T106" fmla="*/ 0 w 253"/>
                <a:gd name="T107" fmla="*/ 0 h 246"/>
                <a:gd name="T108" fmla="*/ 0 w 253"/>
                <a:gd name="T109" fmla="*/ 0 h 246"/>
                <a:gd name="T110" fmla="*/ 0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3"/>
                <a:gd name="T169" fmla="*/ 0 h 246"/>
                <a:gd name="T170" fmla="*/ 253 w 253"/>
                <a:gd name="T171" fmla="*/ 246 h 24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60" name="Freeform 847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4092" y="2110"/>
              <a:ext cx="43" cy="75"/>
            </a:xfrm>
            <a:custGeom>
              <a:avLst/>
              <a:gdLst>
                <a:gd name="T0" fmla="*/ 0 w 141"/>
                <a:gd name="T1" fmla="*/ 0 h 228"/>
                <a:gd name="T2" fmla="*/ 0 w 141"/>
                <a:gd name="T3" fmla="*/ 0 h 228"/>
                <a:gd name="T4" fmla="*/ 0 w 141"/>
                <a:gd name="T5" fmla="*/ 0 h 228"/>
                <a:gd name="T6" fmla="*/ 0 w 141"/>
                <a:gd name="T7" fmla="*/ 0 h 228"/>
                <a:gd name="T8" fmla="*/ 0 w 141"/>
                <a:gd name="T9" fmla="*/ 0 h 228"/>
                <a:gd name="T10" fmla="*/ 0 w 141"/>
                <a:gd name="T11" fmla="*/ 0 h 228"/>
                <a:gd name="T12" fmla="*/ 0 w 141"/>
                <a:gd name="T13" fmla="*/ 0 h 228"/>
                <a:gd name="T14" fmla="*/ 0 w 141"/>
                <a:gd name="T15" fmla="*/ 0 h 228"/>
                <a:gd name="T16" fmla="*/ 0 w 141"/>
                <a:gd name="T17" fmla="*/ 0 h 228"/>
                <a:gd name="T18" fmla="*/ 0 w 141"/>
                <a:gd name="T19" fmla="*/ 0 h 228"/>
                <a:gd name="T20" fmla="*/ 0 w 141"/>
                <a:gd name="T21" fmla="*/ 0 h 228"/>
                <a:gd name="T22" fmla="*/ 0 w 141"/>
                <a:gd name="T23" fmla="*/ 0 h 228"/>
                <a:gd name="T24" fmla="*/ 0 w 141"/>
                <a:gd name="T25" fmla="*/ 0 h 228"/>
                <a:gd name="T26" fmla="*/ 0 w 141"/>
                <a:gd name="T27" fmla="*/ 0 h 228"/>
                <a:gd name="T28" fmla="*/ 0 w 141"/>
                <a:gd name="T29" fmla="*/ 0 h 228"/>
                <a:gd name="T30" fmla="*/ 0 w 141"/>
                <a:gd name="T31" fmla="*/ 0 h 228"/>
                <a:gd name="T32" fmla="*/ 0 w 141"/>
                <a:gd name="T33" fmla="*/ 0 h 228"/>
                <a:gd name="T34" fmla="*/ 0 w 141"/>
                <a:gd name="T35" fmla="*/ 0 h 228"/>
                <a:gd name="T36" fmla="*/ 0 w 141"/>
                <a:gd name="T37" fmla="*/ 0 h 228"/>
                <a:gd name="T38" fmla="*/ 0 w 141"/>
                <a:gd name="T39" fmla="*/ 0 h 228"/>
                <a:gd name="T40" fmla="*/ 0 w 141"/>
                <a:gd name="T41" fmla="*/ 0 h 228"/>
                <a:gd name="T42" fmla="*/ 0 w 141"/>
                <a:gd name="T43" fmla="*/ 0 h 228"/>
                <a:gd name="T44" fmla="*/ 0 w 141"/>
                <a:gd name="T45" fmla="*/ 0 h 228"/>
                <a:gd name="T46" fmla="*/ 0 w 141"/>
                <a:gd name="T47" fmla="*/ 0 h 228"/>
                <a:gd name="T48" fmla="*/ 0 w 141"/>
                <a:gd name="T49" fmla="*/ 0 h 228"/>
                <a:gd name="T50" fmla="*/ 0 w 141"/>
                <a:gd name="T51" fmla="*/ 0 h 228"/>
                <a:gd name="T52" fmla="*/ 0 w 141"/>
                <a:gd name="T53" fmla="*/ 0 h 228"/>
                <a:gd name="T54" fmla="*/ 0 w 141"/>
                <a:gd name="T55" fmla="*/ 0 h 228"/>
                <a:gd name="T56" fmla="*/ 0 w 141"/>
                <a:gd name="T57" fmla="*/ 0 h 228"/>
                <a:gd name="T58" fmla="*/ 0 w 141"/>
                <a:gd name="T59" fmla="*/ 0 h 228"/>
                <a:gd name="T60" fmla="*/ 0 w 141"/>
                <a:gd name="T61" fmla="*/ 0 h 228"/>
                <a:gd name="T62" fmla="*/ 0 w 141"/>
                <a:gd name="T63" fmla="*/ 0 h 228"/>
                <a:gd name="T64" fmla="*/ 0 w 141"/>
                <a:gd name="T65" fmla="*/ 0 h 228"/>
                <a:gd name="T66" fmla="*/ 0 w 141"/>
                <a:gd name="T67" fmla="*/ 0 h 228"/>
                <a:gd name="T68" fmla="*/ 0 w 141"/>
                <a:gd name="T69" fmla="*/ 0 h 228"/>
                <a:gd name="T70" fmla="*/ 0 w 141"/>
                <a:gd name="T71" fmla="*/ 0 h 228"/>
                <a:gd name="T72" fmla="*/ 0 w 141"/>
                <a:gd name="T73" fmla="*/ 0 h 228"/>
                <a:gd name="T74" fmla="*/ 0 w 141"/>
                <a:gd name="T75" fmla="*/ 0 h 228"/>
                <a:gd name="T76" fmla="*/ 0 w 141"/>
                <a:gd name="T77" fmla="*/ 0 h 228"/>
                <a:gd name="T78" fmla="*/ 0 w 141"/>
                <a:gd name="T79" fmla="*/ 0 h 228"/>
                <a:gd name="T80" fmla="*/ 0 w 141"/>
                <a:gd name="T81" fmla="*/ 0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41"/>
                <a:gd name="T124" fmla="*/ 0 h 228"/>
                <a:gd name="T125" fmla="*/ 141 w 141"/>
                <a:gd name="T126" fmla="*/ 228 h 22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grpSp>
          <p:nvGrpSpPr>
            <p:cNvPr id="11" name="Group 848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4733" y="1928"/>
              <a:ext cx="159" cy="277"/>
              <a:chOff x="5062" y="2295"/>
              <a:chExt cx="177" cy="279"/>
            </a:xfrm>
            <a:grpFill/>
          </p:grpSpPr>
          <p:sp>
            <p:nvSpPr>
              <p:cNvPr id="18906" name="Freeform 849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0 w 60"/>
                  <a:gd name="T1" fmla="*/ 0 h 110"/>
                  <a:gd name="T2" fmla="*/ 0 w 60"/>
                  <a:gd name="T3" fmla="*/ 0 h 110"/>
                  <a:gd name="T4" fmla="*/ 0 w 60"/>
                  <a:gd name="T5" fmla="*/ 0 h 110"/>
                  <a:gd name="T6" fmla="*/ 0 w 60"/>
                  <a:gd name="T7" fmla="*/ 0 h 110"/>
                  <a:gd name="T8" fmla="*/ 0 w 60"/>
                  <a:gd name="T9" fmla="*/ 0 h 110"/>
                  <a:gd name="T10" fmla="*/ 0 w 60"/>
                  <a:gd name="T11" fmla="*/ 0 h 110"/>
                  <a:gd name="T12" fmla="*/ 0 w 60"/>
                  <a:gd name="T13" fmla="*/ 0 h 110"/>
                  <a:gd name="T14" fmla="*/ 0 w 60"/>
                  <a:gd name="T15" fmla="*/ 0 h 110"/>
                  <a:gd name="T16" fmla="*/ 0 w 60"/>
                  <a:gd name="T17" fmla="*/ 0 h 110"/>
                  <a:gd name="T18" fmla="*/ 0 w 60"/>
                  <a:gd name="T19" fmla="*/ 0 h 110"/>
                  <a:gd name="T20" fmla="*/ 0 w 60"/>
                  <a:gd name="T21" fmla="*/ 0 h 110"/>
                  <a:gd name="T22" fmla="*/ 0 w 60"/>
                  <a:gd name="T23" fmla="*/ 0 h 110"/>
                  <a:gd name="T24" fmla="*/ 0 w 60"/>
                  <a:gd name="T25" fmla="*/ 0 h 110"/>
                  <a:gd name="T26" fmla="*/ 0 w 60"/>
                  <a:gd name="T27" fmla="*/ 0 h 110"/>
                  <a:gd name="T28" fmla="*/ 0 w 60"/>
                  <a:gd name="T29" fmla="*/ 0 h 110"/>
                  <a:gd name="T30" fmla="*/ 0 w 60"/>
                  <a:gd name="T31" fmla="*/ 0 h 110"/>
                  <a:gd name="T32" fmla="*/ 0 w 60"/>
                  <a:gd name="T33" fmla="*/ 0 h 110"/>
                  <a:gd name="T34" fmla="*/ 0 w 60"/>
                  <a:gd name="T35" fmla="*/ 0 h 110"/>
                  <a:gd name="T36" fmla="*/ 0 w 60"/>
                  <a:gd name="T37" fmla="*/ 0 h 110"/>
                  <a:gd name="T38" fmla="*/ 0 w 60"/>
                  <a:gd name="T39" fmla="*/ 0 h 110"/>
                  <a:gd name="T40" fmla="*/ 0 w 60"/>
                  <a:gd name="T41" fmla="*/ 0 h 110"/>
                  <a:gd name="T42" fmla="*/ 0 w 60"/>
                  <a:gd name="T43" fmla="*/ 0 h 110"/>
                  <a:gd name="T44" fmla="*/ 0 w 60"/>
                  <a:gd name="T45" fmla="*/ 0 h 110"/>
                  <a:gd name="T46" fmla="*/ 0 w 60"/>
                  <a:gd name="T47" fmla="*/ 0 h 110"/>
                  <a:gd name="T48" fmla="*/ 0 w 60"/>
                  <a:gd name="T49" fmla="*/ 0 h 110"/>
                  <a:gd name="T50" fmla="*/ 0 w 60"/>
                  <a:gd name="T51" fmla="*/ 0 h 110"/>
                  <a:gd name="T52" fmla="*/ 0 w 60"/>
                  <a:gd name="T53" fmla="*/ 0 h 110"/>
                  <a:gd name="T54" fmla="*/ 0 w 60"/>
                  <a:gd name="T55" fmla="*/ 0 h 110"/>
                  <a:gd name="T56" fmla="*/ 0 w 60"/>
                  <a:gd name="T57" fmla="*/ 0 h 110"/>
                  <a:gd name="T58" fmla="*/ 0 w 60"/>
                  <a:gd name="T59" fmla="*/ 0 h 110"/>
                  <a:gd name="T60" fmla="*/ 0 w 60"/>
                  <a:gd name="T61" fmla="*/ 0 h 110"/>
                  <a:gd name="T62" fmla="*/ 0 w 60"/>
                  <a:gd name="T63" fmla="*/ 0 h 110"/>
                  <a:gd name="T64" fmla="*/ 0 w 60"/>
                  <a:gd name="T65" fmla="*/ 0 h 110"/>
                  <a:gd name="T66" fmla="*/ 0 w 60"/>
                  <a:gd name="T67" fmla="*/ 0 h 110"/>
                  <a:gd name="T68" fmla="*/ 0 w 60"/>
                  <a:gd name="T69" fmla="*/ 0 h 110"/>
                  <a:gd name="T70" fmla="*/ 0 w 60"/>
                  <a:gd name="T71" fmla="*/ 0 h 110"/>
                  <a:gd name="T72" fmla="*/ 0 w 60"/>
                  <a:gd name="T73" fmla="*/ 0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0"/>
                  <a:gd name="T112" fmla="*/ 0 h 110"/>
                  <a:gd name="T113" fmla="*/ 60 w 60"/>
                  <a:gd name="T114" fmla="*/ 110 h 11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07" name="Freeform 850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0 h 75"/>
                  <a:gd name="T2" fmla="*/ 0 w 72"/>
                  <a:gd name="T3" fmla="*/ 0 h 75"/>
                  <a:gd name="T4" fmla="*/ 0 w 72"/>
                  <a:gd name="T5" fmla="*/ 0 h 75"/>
                  <a:gd name="T6" fmla="*/ 0 w 72"/>
                  <a:gd name="T7" fmla="*/ 0 h 75"/>
                  <a:gd name="T8" fmla="*/ 0 w 72"/>
                  <a:gd name="T9" fmla="*/ 0 h 75"/>
                  <a:gd name="T10" fmla="*/ 0 w 72"/>
                  <a:gd name="T11" fmla="*/ 0 h 75"/>
                  <a:gd name="T12" fmla="*/ 0 w 72"/>
                  <a:gd name="T13" fmla="*/ 0 h 75"/>
                  <a:gd name="T14" fmla="*/ 0 w 72"/>
                  <a:gd name="T15" fmla="*/ 0 h 75"/>
                  <a:gd name="T16" fmla="*/ 0 w 72"/>
                  <a:gd name="T17" fmla="*/ 0 h 75"/>
                  <a:gd name="T18" fmla="*/ 0 w 72"/>
                  <a:gd name="T19" fmla="*/ 0 h 75"/>
                  <a:gd name="T20" fmla="*/ 0 w 72"/>
                  <a:gd name="T21" fmla="*/ 0 h 75"/>
                  <a:gd name="T22" fmla="*/ 0 w 72"/>
                  <a:gd name="T23" fmla="*/ 0 h 75"/>
                  <a:gd name="T24" fmla="*/ 0 w 72"/>
                  <a:gd name="T25" fmla="*/ 0 h 75"/>
                  <a:gd name="T26" fmla="*/ 0 w 72"/>
                  <a:gd name="T27" fmla="*/ 0 h 75"/>
                  <a:gd name="T28" fmla="*/ 0 w 72"/>
                  <a:gd name="T29" fmla="*/ 0 h 75"/>
                  <a:gd name="T30" fmla="*/ 0 w 72"/>
                  <a:gd name="T31" fmla="*/ 0 h 75"/>
                  <a:gd name="T32" fmla="*/ 0 w 72"/>
                  <a:gd name="T33" fmla="*/ 0 h 75"/>
                  <a:gd name="T34" fmla="*/ 0 w 72"/>
                  <a:gd name="T35" fmla="*/ 0 h 75"/>
                  <a:gd name="T36" fmla="*/ 0 w 72"/>
                  <a:gd name="T37" fmla="*/ 0 h 75"/>
                  <a:gd name="T38" fmla="*/ 0 w 72"/>
                  <a:gd name="T39" fmla="*/ 0 h 75"/>
                  <a:gd name="T40" fmla="*/ 0 w 72"/>
                  <a:gd name="T41" fmla="*/ 0 h 75"/>
                  <a:gd name="T42" fmla="*/ 0 w 72"/>
                  <a:gd name="T43" fmla="*/ 0 h 75"/>
                  <a:gd name="T44" fmla="*/ 0 w 72"/>
                  <a:gd name="T45" fmla="*/ 0 h 75"/>
                  <a:gd name="T46" fmla="*/ 0 w 72"/>
                  <a:gd name="T47" fmla="*/ 0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72"/>
                  <a:gd name="T73" fmla="*/ 0 h 75"/>
                  <a:gd name="T74" fmla="*/ 72 w 72"/>
                  <a:gd name="T75" fmla="*/ 75 h 7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08" name="Freeform 851"/>
              <p:cNvSpPr>
                <a:spLocks/>
              </p:cNvSpPr>
              <p:nvPr/>
            </p:nvSpPr>
            <p:spPr bwMode="auto">
              <a:xfrm>
                <a:off x="5160" y="2389"/>
                <a:ext cx="6" cy="16"/>
              </a:xfrm>
              <a:custGeom>
                <a:avLst/>
                <a:gdLst>
                  <a:gd name="T0" fmla="*/ 0 w 15"/>
                  <a:gd name="T1" fmla="*/ 0 h 49"/>
                  <a:gd name="T2" fmla="*/ 0 w 15"/>
                  <a:gd name="T3" fmla="*/ 0 h 49"/>
                  <a:gd name="T4" fmla="*/ 0 w 15"/>
                  <a:gd name="T5" fmla="*/ 0 h 49"/>
                  <a:gd name="T6" fmla="*/ 0 w 15"/>
                  <a:gd name="T7" fmla="*/ 0 h 49"/>
                  <a:gd name="T8" fmla="*/ 0 w 15"/>
                  <a:gd name="T9" fmla="*/ 0 h 49"/>
                  <a:gd name="T10" fmla="*/ 0 w 15"/>
                  <a:gd name="T11" fmla="*/ 0 h 49"/>
                  <a:gd name="T12" fmla="*/ 0 w 15"/>
                  <a:gd name="T13" fmla="*/ 0 h 49"/>
                  <a:gd name="T14" fmla="*/ 0 w 15"/>
                  <a:gd name="T15" fmla="*/ 0 h 49"/>
                  <a:gd name="T16" fmla="*/ 0 w 15"/>
                  <a:gd name="T17" fmla="*/ 0 h 49"/>
                  <a:gd name="T18" fmla="*/ 0 w 15"/>
                  <a:gd name="T19" fmla="*/ 0 h 49"/>
                  <a:gd name="T20" fmla="*/ 0 w 15"/>
                  <a:gd name="T21" fmla="*/ 0 h 49"/>
                  <a:gd name="T22" fmla="*/ 0 w 15"/>
                  <a:gd name="T23" fmla="*/ 0 h 49"/>
                  <a:gd name="T24" fmla="*/ 0 w 15"/>
                  <a:gd name="T25" fmla="*/ 0 h 49"/>
                  <a:gd name="T26" fmla="*/ 0 w 15"/>
                  <a:gd name="T27" fmla="*/ 0 h 49"/>
                  <a:gd name="T28" fmla="*/ 0 w 15"/>
                  <a:gd name="T29" fmla="*/ 0 h 49"/>
                  <a:gd name="T30" fmla="*/ 0 w 15"/>
                  <a:gd name="T31" fmla="*/ 0 h 49"/>
                  <a:gd name="T32" fmla="*/ 0 w 15"/>
                  <a:gd name="T33" fmla="*/ 0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5"/>
                  <a:gd name="T52" fmla="*/ 0 h 49"/>
                  <a:gd name="T53" fmla="*/ 15 w 15"/>
                  <a:gd name="T54" fmla="*/ 49 h 4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09" name="Freeform 852"/>
              <p:cNvSpPr>
                <a:spLocks/>
              </p:cNvSpPr>
              <p:nvPr/>
            </p:nvSpPr>
            <p:spPr bwMode="auto">
              <a:xfrm>
                <a:off x="5139" y="2387"/>
                <a:ext cx="17" cy="13"/>
              </a:xfrm>
              <a:custGeom>
                <a:avLst/>
                <a:gdLst>
                  <a:gd name="T0" fmla="*/ 0 w 47"/>
                  <a:gd name="T1" fmla="*/ 0 h 40"/>
                  <a:gd name="T2" fmla="*/ 0 w 47"/>
                  <a:gd name="T3" fmla="*/ 0 h 40"/>
                  <a:gd name="T4" fmla="*/ 0 w 47"/>
                  <a:gd name="T5" fmla="*/ 0 h 40"/>
                  <a:gd name="T6" fmla="*/ 0 w 47"/>
                  <a:gd name="T7" fmla="*/ 0 h 40"/>
                  <a:gd name="T8" fmla="*/ 0 w 47"/>
                  <a:gd name="T9" fmla="*/ 0 h 40"/>
                  <a:gd name="T10" fmla="*/ 0 w 47"/>
                  <a:gd name="T11" fmla="*/ 0 h 40"/>
                  <a:gd name="T12" fmla="*/ 0 w 47"/>
                  <a:gd name="T13" fmla="*/ 0 h 40"/>
                  <a:gd name="T14" fmla="*/ 0 w 47"/>
                  <a:gd name="T15" fmla="*/ 0 h 40"/>
                  <a:gd name="T16" fmla="*/ 0 w 47"/>
                  <a:gd name="T17" fmla="*/ 0 h 40"/>
                  <a:gd name="T18" fmla="*/ 0 w 47"/>
                  <a:gd name="T19" fmla="*/ 0 h 40"/>
                  <a:gd name="T20" fmla="*/ 0 w 47"/>
                  <a:gd name="T21" fmla="*/ 0 h 40"/>
                  <a:gd name="T22" fmla="*/ 0 w 47"/>
                  <a:gd name="T23" fmla="*/ 0 h 40"/>
                  <a:gd name="T24" fmla="*/ 0 w 47"/>
                  <a:gd name="T25" fmla="*/ 0 h 40"/>
                  <a:gd name="T26" fmla="*/ 0 w 47"/>
                  <a:gd name="T27" fmla="*/ 0 h 40"/>
                  <a:gd name="T28" fmla="*/ 0 w 47"/>
                  <a:gd name="T29" fmla="*/ 0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7"/>
                  <a:gd name="T46" fmla="*/ 0 h 40"/>
                  <a:gd name="T47" fmla="*/ 47 w 47"/>
                  <a:gd name="T48" fmla="*/ 40 h 4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10" name="Freeform 853"/>
              <p:cNvSpPr>
                <a:spLocks/>
              </p:cNvSpPr>
              <p:nvPr/>
            </p:nvSpPr>
            <p:spPr bwMode="auto">
              <a:xfrm>
                <a:off x="5184" y="2465"/>
                <a:ext cx="10" cy="10"/>
              </a:xfrm>
              <a:custGeom>
                <a:avLst/>
                <a:gdLst>
                  <a:gd name="T0" fmla="*/ 0 w 39"/>
                  <a:gd name="T1" fmla="*/ 0 h 31"/>
                  <a:gd name="T2" fmla="*/ 0 w 39"/>
                  <a:gd name="T3" fmla="*/ 0 h 31"/>
                  <a:gd name="T4" fmla="*/ 0 w 39"/>
                  <a:gd name="T5" fmla="*/ 0 h 31"/>
                  <a:gd name="T6" fmla="*/ 0 w 39"/>
                  <a:gd name="T7" fmla="*/ 0 h 31"/>
                  <a:gd name="T8" fmla="*/ 0 w 39"/>
                  <a:gd name="T9" fmla="*/ 0 h 31"/>
                  <a:gd name="T10" fmla="*/ 0 w 39"/>
                  <a:gd name="T11" fmla="*/ 0 h 31"/>
                  <a:gd name="T12" fmla="*/ 0 w 39"/>
                  <a:gd name="T13" fmla="*/ 0 h 31"/>
                  <a:gd name="T14" fmla="*/ 0 w 39"/>
                  <a:gd name="T15" fmla="*/ 0 h 31"/>
                  <a:gd name="T16" fmla="*/ 0 w 39"/>
                  <a:gd name="T17" fmla="*/ 0 h 31"/>
                  <a:gd name="T18" fmla="*/ 0 w 39"/>
                  <a:gd name="T19" fmla="*/ 0 h 31"/>
                  <a:gd name="T20" fmla="*/ 0 w 39"/>
                  <a:gd name="T21" fmla="*/ 0 h 31"/>
                  <a:gd name="T22" fmla="*/ 0 w 39"/>
                  <a:gd name="T23" fmla="*/ 0 h 31"/>
                  <a:gd name="T24" fmla="*/ 0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9"/>
                  <a:gd name="T40" fmla="*/ 0 h 31"/>
                  <a:gd name="T41" fmla="*/ 39 w 39"/>
                  <a:gd name="T42" fmla="*/ 31 h 3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11" name="Freeform 854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0 w 34"/>
                  <a:gd name="T3" fmla="*/ 0 h 19"/>
                  <a:gd name="T4" fmla="*/ 0 w 34"/>
                  <a:gd name="T5" fmla="*/ 0 h 19"/>
                  <a:gd name="T6" fmla="*/ 0 w 34"/>
                  <a:gd name="T7" fmla="*/ 0 h 19"/>
                  <a:gd name="T8" fmla="*/ 0 w 34"/>
                  <a:gd name="T9" fmla="*/ 0 h 19"/>
                  <a:gd name="T10" fmla="*/ 0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4"/>
                  <a:gd name="T22" fmla="*/ 0 h 19"/>
                  <a:gd name="T23" fmla="*/ 34 w 34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12" name="Freeform 855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13" name="Freeform 856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0 w 126"/>
                  <a:gd name="T1" fmla="*/ 0 h 166"/>
                  <a:gd name="T2" fmla="*/ 0 w 126"/>
                  <a:gd name="T3" fmla="*/ 0 h 166"/>
                  <a:gd name="T4" fmla="*/ 0 w 126"/>
                  <a:gd name="T5" fmla="*/ 0 h 166"/>
                  <a:gd name="T6" fmla="*/ 0 w 126"/>
                  <a:gd name="T7" fmla="*/ 0 h 166"/>
                  <a:gd name="T8" fmla="*/ 0 w 126"/>
                  <a:gd name="T9" fmla="*/ 0 h 166"/>
                  <a:gd name="T10" fmla="*/ 0 w 126"/>
                  <a:gd name="T11" fmla="*/ 0 h 166"/>
                  <a:gd name="T12" fmla="*/ 0 w 126"/>
                  <a:gd name="T13" fmla="*/ 0 h 166"/>
                  <a:gd name="T14" fmla="*/ 0 w 126"/>
                  <a:gd name="T15" fmla="*/ 0 h 166"/>
                  <a:gd name="T16" fmla="*/ 0 w 126"/>
                  <a:gd name="T17" fmla="*/ 0 h 166"/>
                  <a:gd name="T18" fmla="*/ 0 w 126"/>
                  <a:gd name="T19" fmla="*/ 0 h 166"/>
                  <a:gd name="T20" fmla="*/ 0 w 126"/>
                  <a:gd name="T21" fmla="*/ 0 h 166"/>
                  <a:gd name="T22" fmla="*/ 0 w 126"/>
                  <a:gd name="T23" fmla="*/ 0 h 166"/>
                  <a:gd name="T24" fmla="*/ 0 w 126"/>
                  <a:gd name="T25" fmla="*/ 0 h 166"/>
                  <a:gd name="T26" fmla="*/ 0 w 126"/>
                  <a:gd name="T27" fmla="*/ 0 h 166"/>
                  <a:gd name="T28" fmla="*/ 0 w 126"/>
                  <a:gd name="T29" fmla="*/ 0 h 166"/>
                  <a:gd name="T30" fmla="*/ 0 w 126"/>
                  <a:gd name="T31" fmla="*/ 0 h 166"/>
                  <a:gd name="T32" fmla="*/ 0 w 126"/>
                  <a:gd name="T33" fmla="*/ 0 h 166"/>
                  <a:gd name="T34" fmla="*/ 0 w 126"/>
                  <a:gd name="T35" fmla="*/ 0 h 166"/>
                  <a:gd name="T36" fmla="*/ 0 w 126"/>
                  <a:gd name="T37" fmla="*/ 0 h 166"/>
                  <a:gd name="T38" fmla="*/ 0 w 126"/>
                  <a:gd name="T39" fmla="*/ 0 h 166"/>
                  <a:gd name="T40" fmla="*/ 0 w 126"/>
                  <a:gd name="T41" fmla="*/ 0 h 166"/>
                  <a:gd name="T42" fmla="*/ 0 w 126"/>
                  <a:gd name="T43" fmla="*/ 0 h 166"/>
                  <a:gd name="T44" fmla="*/ 0 w 126"/>
                  <a:gd name="T45" fmla="*/ 0 h 166"/>
                  <a:gd name="T46" fmla="*/ 0 w 126"/>
                  <a:gd name="T47" fmla="*/ 0 h 166"/>
                  <a:gd name="T48" fmla="*/ 0 w 126"/>
                  <a:gd name="T49" fmla="*/ 0 h 166"/>
                  <a:gd name="T50" fmla="*/ 0 w 126"/>
                  <a:gd name="T51" fmla="*/ 0 h 166"/>
                  <a:gd name="T52" fmla="*/ 0 w 126"/>
                  <a:gd name="T53" fmla="*/ 0 h 166"/>
                  <a:gd name="T54" fmla="*/ 0 w 126"/>
                  <a:gd name="T55" fmla="*/ 0 h 166"/>
                  <a:gd name="T56" fmla="*/ 0 w 126"/>
                  <a:gd name="T57" fmla="*/ 0 h 166"/>
                  <a:gd name="T58" fmla="*/ 0 w 126"/>
                  <a:gd name="T59" fmla="*/ 0 h 166"/>
                  <a:gd name="T60" fmla="*/ 0 w 126"/>
                  <a:gd name="T61" fmla="*/ 0 h 166"/>
                  <a:gd name="T62" fmla="*/ 0 w 126"/>
                  <a:gd name="T63" fmla="*/ 0 h 166"/>
                  <a:gd name="T64" fmla="*/ 0 w 126"/>
                  <a:gd name="T65" fmla="*/ 0 h 166"/>
                  <a:gd name="T66" fmla="*/ 0 w 126"/>
                  <a:gd name="T67" fmla="*/ 0 h 166"/>
                  <a:gd name="T68" fmla="*/ 0 w 126"/>
                  <a:gd name="T69" fmla="*/ 0 h 166"/>
                  <a:gd name="T70" fmla="*/ 0 w 126"/>
                  <a:gd name="T71" fmla="*/ 0 h 166"/>
                  <a:gd name="T72" fmla="*/ 0 w 126"/>
                  <a:gd name="T73" fmla="*/ 0 h 166"/>
                  <a:gd name="T74" fmla="*/ 0 w 126"/>
                  <a:gd name="T75" fmla="*/ 0 h 166"/>
                  <a:gd name="T76" fmla="*/ 0 w 126"/>
                  <a:gd name="T77" fmla="*/ 0 h 166"/>
                  <a:gd name="T78" fmla="*/ 0 w 126"/>
                  <a:gd name="T79" fmla="*/ 0 h 166"/>
                  <a:gd name="T80" fmla="*/ 0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26"/>
                  <a:gd name="T124" fmla="*/ 0 h 166"/>
                  <a:gd name="T125" fmla="*/ 126 w 126"/>
                  <a:gd name="T126" fmla="*/ 166 h 16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14" name="Freeform 857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0 w 259"/>
                  <a:gd name="T1" fmla="*/ 0 h 259"/>
                  <a:gd name="T2" fmla="*/ 0 w 259"/>
                  <a:gd name="T3" fmla="*/ 0 h 259"/>
                  <a:gd name="T4" fmla="*/ 0 w 259"/>
                  <a:gd name="T5" fmla="*/ 0 h 259"/>
                  <a:gd name="T6" fmla="*/ 0 w 259"/>
                  <a:gd name="T7" fmla="*/ 0 h 259"/>
                  <a:gd name="T8" fmla="*/ 0 w 259"/>
                  <a:gd name="T9" fmla="*/ 0 h 259"/>
                  <a:gd name="T10" fmla="*/ 0 w 259"/>
                  <a:gd name="T11" fmla="*/ 0 h 259"/>
                  <a:gd name="T12" fmla="*/ 0 w 259"/>
                  <a:gd name="T13" fmla="*/ 0 h 259"/>
                  <a:gd name="T14" fmla="*/ 0 w 259"/>
                  <a:gd name="T15" fmla="*/ 0 h 259"/>
                  <a:gd name="T16" fmla="*/ 0 w 259"/>
                  <a:gd name="T17" fmla="*/ 0 h 259"/>
                  <a:gd name="T18" fmla="*/ 0 w 259"/>
                  <a:gd name="T19" fmla="*/ 0 h 259"/>
                  <a:gd name="T20" fmla="*/ 0 w 259"/>
                  <a:gd name="T21" fmla="*/ 0 h 259"/>
                  <a:gd name="T22" fmla="*/ 0 w 259"/>
                  <a:gd name="T23" fmla="*/ 0 h 259"/>
                  <a:gd name="T24" fmla="*/ 0 w 259"/>
                  <a:gd name="T25" fmla="*/ 0 h 259"/>
                  <a:gd name="T26" fmla="*/ 0 w 259"/>
                  <a:gd name="T27" fmla="*/ 0 h 259"/>
                  <a:gd name="T28" fmla="*/ 0 w 259"/>
                  <a:gd name="T29" fmla="*/ 0 h 259"/>
                  <a:gd name="T30" fmla="*/ 0 w 259"/>
                  <a:gd name="T31" fmla="*/ 0 h 259"/>
                  <a:gd name="T32" fmla="*/ 0 w 259"/>
                  <a:gd name="T33" fmla="*/ 0 h 259"/>
                  <a:gd name="T34" fmla="*/ 0 w 259"/>
                  <a:gd name="T35" fmla="*/ 0 h 259"/>
                  <a:gd name="T36" fmla="*/ 0 w 259"/>
                  <a:gd name="T37" fmla="*/ 0 h 259"/>
                  <a:gd name="T38" fmla="*/ 0 w 259"/>
                  <a:gd name="T39" fmla="*/ 0 h 259"/>
                  <a:gd name="T40" fmla="*/ 0 w 259"/>
                  <a:gd name="T41" fmla="*/ 0 h 259"/>
                  <a:gd name="T42" fmla="*/ 0 w 259"/>
                  <a:gd name="T43" fmla="*/ 0 h 259"/>
                  <a:gd name="T44" fmla="*/ 0 w 259"/>
                  <a:gd name="T45" fmla="*/ 0 h 259"/>
                  <a:gd name="T46" fmla="*/ 0 w 259"/>
                  <a:gd name="T47" fmla="*/ 0 h 259"/>
                  <a:gd name="T48" fmla="*/ 0 w 259"/>
                  <a:gd name="T49" fmla="*/ 0 h 259"/>
                  <a:gd name="T50" fmla="*/ 0 w 259"/>
                  <a:gd name="T51" fmla="*/ 0 h 259"/>
                  <a:gd name="T52" fmla="*/ 0 w 259"/>
                  <a:gd name="T53" fmla="*/ 0 h 259"/>
                  <a:gd name="T54" fmla="*/ 0 w 259"/>
                  <a:gd name="T55" fmla="*/ 0 h 259"/>
                  <a:gd name="T56" fmla="*/ 0 w 259"/>
                  <a:gd name="T57" fmla="*/ 0 h 259"/>
                  <a:gd name="T58" fmla="*/ 0 w 259"/>
                  <a:gd name="T59" fmla="*/ 0 h 259"/>
                  <a:gd name="T60" fmla="*/ 0 w 259"/>
                  <a:gd name="T61" fmla="*/ 0 h 259"/>
                  <a:gd name="T62" fmla="*/ 0 w 259"/>
                  <a:gd name="T63" fmla="*/ 0 h 259"/>
                  <a:gd name="T64" fmla="*/ 0 w 259"/>
                  <a:gd name="T65" fmla="*/ 0 h 259"/>
                  <a:gd name="T66" fmla="*/ 0 w 259"/>
                  <a:gd name="T67" fmla="*/ 0 h 259"/>
                  <a:gd name="T68" fmla="*/ 0 w 259"/>
                  <a:gd name="T69" fmla="*/ 0 h 259"/>
                  <a:gd name="T70" fmla="*/ 0 w 259"/>
                  <a:gd name="T71" fmla="*/ 0 h 259"/>
                  <a:gd name="T72" fmla="*/ 0 w 259"/>
                  <a:gd name="T73" fmla="*/ 0 h 259"/>
                  <a:gd name="T74" fmla="*/ 0 w 259"/>
                  <a:gd name="T75" fmla="*/ 0 h 259"/>
                  <a:gd name="T76" fmla="*/ 0 w 259"/>
                  <a:gd name="T77" fmla="*/ 0 h 259"/>
                  <a:gd name="T78" fmla="*/ 0 w 259"/>
                  <a:gd name="T79" fmla="*/ 0 h 259"/>
                  <a:gd name="T80" fmla="*/ 0 w 259"/>
                  <a:gd name="T81" fmla="*/ 0 h 259"/>
                  <a:gd name="T82" fmla="*/ 0 w 259"/>
                  <a:gd name="T83" fmla="*/ 0 h 259"/>
                  <a:gd name="T84" fmla="*/ 0 w 259"/>
                  <a:gd name="T85" fmla="*/ 0 h 259"/>
                  <a:gd name="T86" fmla="*/ 0 w 259"/>
                  <a:gd name="T87" fmla="*/ 0 h 259"/>
                  <a:gd name="T88" fmla="*/ 0 w 259"/>
                  <a:gd name="T89" fmla="*/ 0 h 259"/>
                  <a:gd name="T90" fmla="*/ 0 w 259"/>
                  <a:gd name="T91" fmla="*/ 0 h 259"/>
                  <a:gd name="T92" fmla="*/ 0 w 259"/>
                  <a:gd name="T93" fmla="*/ 0 h 259"/>
                  <a:gd name="T94" fmla="*/ 0 w 259"/>
                  <a:gd name="T95" fmla="*/ 0 h 259"/>
                  <a:gd name="T96" fmla="*/ 0 w 259"/>
                  <a:gd name="T97" fmla="*/ 0 h 259"/>
                  <a:gd name="T98" fmla="*/ 0 w 259"/>
                  <a:gd name="T99" fmla="*/ 0 h 259"/>
                  <a:gd name="T100" fmla="*/ 0 w 259"/>
                  <a:gd name="T101" fmla="*/ 0 h 259"/>
                  <a:gd name="T102" fmla="*/ 0 w 259"/>
                  <a:gd name="T103" fmla="*/ 0 h 259"/>
                  <a:gd name="T104" fmla="*/ 0 w 259"/>
                  <a:gd name="T105" fmla="*/ 0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59"/>
                  <a:gd name="T160" fmla="*/ 0 h 259"/>
                  <a:gd name="T161" fmla="*/ 259 w 259"/>
                  <a:gd name="T162" fmla="*/ 259 h 25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15" name="Freeform 858"/>
              <p:cNvSpPr>
                <a:spLocks/>
              </p:cNvSpPr>
              <p:nvPr/>
            </p:nvSpPr>
            <p:spPr bwMode="auto">
              <a:xfrm>
                <a:off x="5104" y="2395"/>
                <a:ext cx="21" cy="31"/>
              </a:xfrm>
              <a:custGeom>
                <a:avLst/>
                <a:gdLst>
                  <a:gd name="T0" fmla="*/ 0 w 72"/>
                  <a:gd name="T1" fmla="*/ 0 h 92"/>
                  <a:gd name="T2" fmla="*/ 0 w 72"/>
                  <a:gd name="T3" fmla="*/ 0 h 92"/>
                  <a:gd name="T4" fmla="*/ 0 w 72"/>
                  <a:gd name="T5" fmla="*/ 0 h 92"/>
                  <a:gd name="T6" fmla="*/ 0 w 72"/>
                  <a:gd name="T7" fmla="*/ 0 h 92"/>
                  <a:gd name="T8" fmla="*/ 0 w 72"/>
                  <a:gd name="T9" fmla="*/ 0 h 92"/>
                  <a:gd name="T10" fmla="*/ 0 w 72"/>
                  <a:gd name="T11" fmla="*/ 0 h 92"/>
                  <a:gd name="T12" fmla="*/ 0 w 72"/>
                  <a:gd name="T13" fmla="*/ 0 h 92"/>
                  <a:gd name="T14" fmla="*/ 0 w 72"/>
                  <a:gd name="T15" fmla="*/ 0 h 92"/>
                  <a:gd name="T16" fmla="*/ 0 w 72"/>
                  <a:gd name="T17" fmla="*/ 0 h 92"/>
                  <a:gd name="T18" fmla="*/ 0 w 72"/>
                  <a:gd name="T19" fmla="*/ 0 h 92"/>
                  <a:gd name="T20" fmla="*/ 0 w 72"/>
                  <a:gd name="T21" fmla="*/ 0 h 92"/>
                  <a:gd name="T22" fmla="*/ 0 w 72"/>
                  <a:gd name="T23" fmla="*/ 0 h 92"/>
                  <a:gd name="T24" fmla="*/ 0 w 72"/>
                  <a:gd name="T25" fmla="*/ 0 h 92"/>
                  <a:gd name="T26" fmla="*/ 0 w 72"/>
                  <a:gd name="T27" fmla="*/ 0 h 92"/>
                  <a:gd name="T28" fmla="*/ 0 w 72"/>
                  <a:gd name="T29" fmla="*/ 0 h 92"/>
                  <a:gd name="T30" fmla="*/ 0 w 72"/>
                  <a:gd name="T31" fmla="*/ 0 h 92"/>
                  <a:gd name="T32" fmla="*/ 0 w 72"/>
                  <a:gd name="T33" fmla="*/ 0 h 92"/>
                  <a:gd name="T34" fmla="*/ 0 w 72"/>
                  <a:gd name="T35" fmla="*/ 0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72"/>
                  <a:gd name="T55" fmla="*/ 0 h 92"/>
                  <a:gd name="T56" fmla="*/ 72 w 72"/>
                  <a:gd name="T57" fmla="*/ 92 h 9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16" name="Freeform 859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0 w 46"/>
                  <a:gd name="T1" fmla="*/ 0 h 62"/>
                  <a:gd name="T2" fmla="*/ 0 w 46"/>
                  <a:gd name="T3" fmla="*/ 0 h 62"/>
                  <a:gd name="T4" fmla="*/ 0 w 46"/>
                  <a:gd name="T5" fmla="*/ 0 h 62"/>
                  <a:gd name="T6" fmla="*/ 0 w 46"/>
                  <a:gd name="T7" fmla="*/ 0 h 62"/>
                  <a:gd name="T8" fmla="*/ 0 w 46"/>
                  <a:gd name="T9" fmla="*/ 0 h 62"/>
                  <a:gd name="T10" fmla="*/ 0 w 46"/>
                  <a:gd name="T11" fmla="*/ 0 h 62"/>
                  <a:gd name="T12" fmla="*/ 0 w 46"/>
                  <a:gd name="T13" fmla="*/ 0 h 62"/>
                  <a:gd name="T14" fmla="*/ 0 w 46"/>
                  <a:gd name="T15" fmla="*/ 0 h 62"/>
                  <a:gd name="T16" fmla="*/ 0 w 46"/>
                  <a:gd name="T17" fmla="*/ 0 h 62"/>
                  <a:gd name="T18" fmla="*/ 0 w 46"/>
                  <a:gd name="T19" fmla="*/ 0 h 62"/>
                  <a:gd name="T20" fmla="*/ 0 w 46"/>
                  <a:gd name="T21" fmla="*/ 0 h 62"/>
                  <a:gd name="T22" fmla="*/ 0 w 46"/>
                  <a:gd name="T23" fmla="*/ 0 h 62"/>
                  <a:gd name="T24" fmla="*/ 0 w 46"/>
                  <a:gd name="T25" fmla="*/ 0 h 62"/>
                  <a:gd name="T26" fmla="*/ 0 w 46"/>
                  <a:gd name="T27" fmla="*/ 0 h 62"/>
                  <a:gd name="T28" fmla="*/ 0 w 46"/>
                  <a:gd name="T29" fmla="*/ 0 h 62"/>
                  <a:gd name="T30" fmla="*/ 0 w 46"/>
                  <a:gd name="T31" fmla="*/ 0 h 62"/>
                  <a:gd name="T32" fmla="*/ 0 w 46"/>
                  <a:gd name="T33" fmla="*/ 0 h 62"/>
                  <a:gd name="T34" fmla="*/ 0 w 46"/>
                  <a:gd name="T35" fmla="*/ 0 h 62"/>
                  <a:gd name="T36" fmla="*/ 0 w 46"/>
                  <a:gd name="T37" fmla="*/ 0 h 62"/>
                  <a:gd name="T38" fmla="*/ 0 w 46"/>
                  <a:gd name="T39" fmla="*/ 0 h 62"/>
                  <a:gd name="T40" fmla="*/ 0 w 46"/>
                  <a:gd name="T41" fmla="*/ 0 h 62"/>
                  <a:gd name="T42" fmla="*/ 0 w 46"/>
                  <a:gd name="T43" fmla="*/ 0 h 62"/>
                  <a:gd name="T44" fmla="*/ 0 w 46"/>
                  <a:gd name="T45" fmla="*/ 0 h 62"/>
                  <a:gd name="T46" fmla="*/ 0 w 46"/>
                  <a:gd name="T47" fmla="*/ 0 h 62"/>
                  <a:gd name="T48" fmla="*/ 0 w 46"/>
                  <a:gd name="T49" fmla="*/ 0 h 62"/>
                  <a:gd name="T50" fmla="*/ 0 w 46"/>
                  <a:gd name="T51" fmla="*/ 0 h 62"/>
                  <a:gd name="T52" fmla="*/ 0 w 46"/>
                  <a:gd name="T53" fmla="*/ 0 h 62"/>
                  <a:gd name="T54" fmla="*/ 0 w 46"/>
                  <a:gd name="T55" fmla="*/ 0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46"/>
                  <a:gd name="T85" fmla="*/ 0 h 62"/>
                  <a:gd name="T86" fmla="*/ 46 w 46"/>
                  <a:gd name="T87" fmla="*/ 62 h 62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17" name="Freeform 860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0 w 152"/>
                  <a:gd name="T1" fmla="*/ 0 h 296"/>
                  <a:gd name="T2" fmla="*/ 0 w 152"/>
                  <a:gd name="T3" fmla="*/ 0 h 296"/>
                  <a:gd name="T4" fmla="*/ 0 w 152"/>
                  <a:gd name="T5" fmla="*/ 0 h 296"/>
                  <a:gd name="T6" fmla="*/ 0 w 152"/>
                  <a:gd name="T7" fmla="*/ 0 h 296"/>
                  <a:gd name="T8" fmla="*/ 0 w 152"/>
                  <a:gd name="T9" fmla="*/ 0 h 296"/>
                  <a:gd name="T10" fmla="*/ 0 w 152"/>
                  <a:gd name="T11" fmla="*/ 0 h 296"/>
                  <a:gd name="T12" fmla="*/ 0 w 152"/>
                  <a:gd name="T13" fmla="*/ 0 h 296"/>
                  <a:gd name="T14" fmla="*/ 0 w 152"/>
                  <a:gd name="T15" fmla="*/ 0 h 296"/>
                  <a:gd name="T16" fmla="*/ 0 w 152"/>
                  <a:gd name="T17" fmla="*/ 0 h 296"/>
                  <a:gd name="T18" fmla="*/ 0 w 152"/>
                  <a:gd name="T19" fmla="*/ 0 h 296"/>
                  <a:gd name="T20" fmla="*/ 0 w 152"/>
                  <a:gd name="T21" fmla="*/ 0 h 296"/>
                  <a:gd name="T22" fmla="*/ 0 w 152"/>
                  <a:gd name="T23" fmla="*/ 0 h 296"/>
                  <a:gd name="T24" fmla="*/ 0 w 152"/>
                  <a:gd name="T25" fmla="*/ 0 h 296"/>
                  <a:gd name="T26" fmla="*/ 0 w 152"/>
                  <a:gd name="T27" fmla="*/ 0 h 296"/>
                  <a:gd name="T28" fmla="*/ 0 w 152"/>
                  <a:gd name="T29" fmla="*/ 0 h 296"/>
                  <a:gd name="T30" fmla="*/ 0 w 152"/>
                  <a:gd name="T31" fmla="*/ 0 h 296"/>
                  <a:gd name="T32" fmla="*/ 0 w 152"/>
                  <a:gd name="T33" fmla="*/ 0 h 296"/>
                  <a:gd name="T34" fmla="*/ 0 w 152"/>
                  <a:gd name="T35" fmla="*/ 0 h 296"/>
                  <a:gd name="T36" fmla="*/ 0 w 152"/>
                  <a:gd name="T37" fmla="*/ 0 h 296"/>
                  <a:gd name="T38" fmla="*/ 0 w 152"/>
                  <a:gd name="T39" fmla="*/ 0 h 296"/>
                  <a:gd name="T40" fmla="*/ 0 w 152"/>
                  <a:gd name="T41" fmla="*/ 0 h 296"/>
                  <a:gd name="T42" fmla="*/ 0 w 152"/>
                  <a:gd name="T43" fmla="*/ 0 h 296"/>
                  <a:gd name="T44" fmla="*/ 0 w 152"/>
                  <a:gd name="T45" fmla="*/ 0 h 296"/>
                  <a:gd name="T46" fmla="*/ 0 w 152"/>
                  <a:gd name="T47" fmla="*/ 0 h 296"/>
                  <a:gd name="T48" fmla="*/ 0 w 152"/>
                  <a:gd name="T49" fmla="*/ 0 h 296"/>
                  <a:gd name="T50" fmla="*/ 0 w 152"/>
                  <a:gd name="T51" fmla="*/ 0 h 296"/>
                  <a:gd name="T52" fmla="*/ 0 w 152"/>
                  <a:gd name="T53" fmla="*/ 0 h 296"/>
                  <a:gd name="T54" fmla="*/ 0 w 152"/>
                  <a:gd name="T55" fmla="*/ 0 h 296"/>
                  <a:gd name="T56" fmla="*/ 0 w 152"/>
                  <a:gd name="T57" fmla="*/ 0 h 296"/>
                  <a:gd name="T58" fmla="*/ 0 w 152"/>
                  <a:gd name="T59" fmla="*/ 0 h 296"/>
                  <a:gd name="T60" fmla="*/ 0 w 152"/>
                  <a:gd name="T61" fmla="*/ 0 h 296"/>
                  <a:gd name="T62" fmla="*/ 0 w 152"/>
                  <a:gd name="T63" fmla="*/ 0 h 296"/>
                  <a:gd name="T64" fmla="*/ 0 w 152"/>
                  <a:gd name="T65" fmla="*/ 0 h 296"/>
                  <a:gd name="T66" fmla="*/ 0 w 152"/>
                  <a:gd name="T67" fmla="*/ 0 h 296"/>
                  <a:gd name="T68" fmla="*/ 0 w 152"/>
                  <a:gd name="T69" fmla="*/ 0 h 296"/>
                  <a:gd name="T70" fmla="*/ 0 w 152"/>
                  <a:gd name="T71" fmla="*/ 0 h 296"/>
                  <a:gd name="T72" fmla="*/ 0 w 152"/>
                  <a:gd name="T73" fmla="*/ 0 h 296"/>
                  <a:gd name="T74" fmla="*/ 0 w 152"/>
                  <a:gd name="T75" fmla="*/ 0 h 296"/>
                  <a:gd name="T76" fmla="*/ 0 w 152"/>
                  <a:gd name="T77" fmla="*/ 0 h 296"/>
                  <a:gd name="T78" fmla="*/ 0 w 152"/>
                  <a:gd name="T79" fmla="*/ 0 h 296"/>
                  <a:gd name="T80" fmla="*/ 0 w 152"/>
                  <a:gd name="T81" fmla="*/ 0 h 296"/>
                  <a:gd name="T82" fmla="*/ 0 w 152"/>
                  <a:gd name="T83" fmla="*/ 0 h 296"/>
                  <a:gd name="T84" fmla="*/ 0 w 152"/>
                  <a:gd name="T85" fmla="*/ 0 h 296"/>
                  <a:gd name="T86" fmla="*/ 0 w 152"/>
                  <a:gd name="T87" fmla="*/ 0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52"/>
                  <a:gd name="T133" fmla="*/ 0 h 296"/>
                  <a:gd name="T134" fmla="*/ 152 w 152"/>
                  <a:gd name="T135" fmla="*/ 296 h 29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18" name="Freeform 861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0 w 26"/>
                  <a:gd name="T1" fmla="*/ 0 h 38"/>
                  <a:gd name="T2" fmla="*/ 0 w 26"/>
                  <a:gd name="T3" fmla="*/ 0 h 38"/>
                  <a:gd name="T4" fmla="*/ 0 w 26"/>
                  <a:gd name="T5" fmla="*/ 0 h 38"/>
                  <a:gd name="T6" fmla="*/ 0 w 26"/>
                  <a:gd name="T7" fmla="*/ 0 h 38"/>
                  <a:gd name="T8" fmla="*/ 0 w 26"/>
                  <a:gd name="T9" fmla="*/ 0 h 38"/>
                  <a:gd name="T10" fmla="*/ 0 w 26"/>
                  <a:gd name="T11" fmla="*/ 0 h 38"/>
                  <a:gd name="T12" fmla="*/ 0 w 26"/>
                  <a:gd name="T13" fmla="*/ 0 h 38"/>
                  <a:gd name="T14" fmla="*/ 0 w 26"/>
                  <a:gd name="T15" fmla="*/ 0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38"/>
                  <a:gd name="T26" fmla="*/ 26 w 26"/>
                  <a:gd name="T27" fmla="*/ 38 h 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19" name="Freeform 862"/>
              <p:cNvSpPr>
                <a:spLocks/>
              </p:cNvSpPr>
              <p:nvPr/>
            </p:nvSpPr>
            <p:spPr bwMode="auto">
              <a:xfrm>
                <a:off x="5166" y="2420"/>
                <a:ext cx="10" cy="10"/>
              </a:xfrm>
              <a:custGeom>
                <a:avLst/>
                <a:gdLst>
                  <a:gd name="T0" fmla="*/ 0 w 34"/>
                  <a:gd name="T1" fmla="*/ 0 h 31"/>
                  <a:gd name="T2" fmla="*/ 0 w 34"/>
                  <a:gd name="T3" fmla="*/ 0 h 31"/>
                  <a:gd name="T4" fmla="*/ 0 w 34"/>
                  <a:gd name="T5" fmla="*/ 0 h 31"/>
                  <a:gd name="T6" fmla="*/ 0 w 34"/>
                  <a:gd name="T7" fmla="*/ 0 h 31"/>
                  <a:gd name="T8" fmla="*/ 0 w 34"/>
                  <a:gd name="T9" fmla="*/ 0 h 31"/>
                  <a:gd name="T10" fmla="*/ 0 w 34"/>
                  <a:gd name="T11" fmla="*/ 0 h 31"/>
                  <a:gd name="T12" fmla="*/ 0 w 34"/>
                  <a:gd name="T13" fmla="*/ 0 h 31"/>
                  <a:gd name="T14" fmla="*/ 0 w 34"/>
                  <a:gd name="T15" fmla="*/ 0 h 31"/>
                  <a:gd name="T16" fmla="*/ 0 w 34"/>
                  <a:gd name="T17" fmla="*/ 0 h 31"/>
                  <a:gd name="T18" fmla="*/ 0 w 34"/>
                  <a:gd name="T19" fmla="*/ 0 h 31"/>
                  <a:gd name="T20" fmla="*/ 0 w 34"/>
                  <a:gd name="T21" fmla="*/ 0 h 31"/>
                  <a:gd name="T22" fmla="*/ 0 w 34"/>
                  <a:gd name="T23" fmla="*/ 0 h 31"/>
                  <a:gd name="T24" fmla="*/ 0 w 34"/>
                  <a:gd name="T25" fmla="*/ 0 h 31"/>
                  <a:gd name="T26" fmla="*/ 0 w 34"/>
                  <a:gd name="T27" fmla="*/ 0 h 31"/>
                  <a:gd name="T28" fmla="*/ 0 w 34"/>
                  <a:gd name="T29" fmla="*/ 0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4"/>
                  <a:gd name="T46" fmla="*/ 0 h 31"/>
                  <a:gd name="T47" fmla="*/ 34 w 34"/>
                  <a:gd name="T48" fmla="*/ 31 h 3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20" name="Freeform 863"/>
              <p:cNvSpPr>
                <a:spLocks/>
              </p:cNvSpPr>
              <p:nvPr/>
            </p:nvSpPr>
            <p:spPr bwMode="auto">
              <a:xfrm>
                <a:off x="5139" y="2418"/>
                <a:ext cx="7" cy="12"/>
              </a:xfrm>
              <a:custGeom>
                <a:avLst/>
                <a:gdLst>
                  <a:gd name="T0" fmla="*/ 0 w 20"/>
                  <a:gd name="T1" fmla="*/ 0 h 37"/>
                  <a:gd name="T2" fmla="*/ 0 w 20"/>
                  <a:gd name="T3" fmla="*/ 0 h 37"/>
                  <a:gd name="T4" fmla="*/ 0 w 20"/>
                  <a:gd name="T5" fmla="*/ 0 h 37"/>
                  <a:gd name="T6" fmla="*/ 0 w 20"/>
                  <a:gd name="T7" fmla="*/ 0 h 37"/>
                  <a:gd name="T8" fmla="*/ 0 w 20"/>
                  <a:gd name="T9" fmla="*/ 0 h 37"/>
                  <a:gd name="T10" fmla="*/ 0 w 20"/>
                  <a:gd name="T11" fmla="*/ 0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"/>
                  <a:gd name="T19" fmla="*/ 0 h 37"/>
                  <a:gd name="T20" fmla="*/ 20 w 20"/>
                  <a:gd name="T21" fmla="*/ 37 h 3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21" name="Line 864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22" name="Freeform 865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"/>
                  <a:gd name="T16" fmla="*/ 0 h 18"/>
                  <a:gd name="T17" fmla="*/ 13 w 13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23" name="Line 866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7" cy="6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24" name="Freeform 867"/>
              <p:cNvSpPr>
                <a:spLocks/>
              </p:cNvSpPr>
              <p:nvPr/>
            </p:nvSpPr>
            <p:spPr bwMode="auto">
              <a:xfrm>
                <a:off x="5117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0 w 27"/>
                  <a:gd name="T3" fmla="*/ 0 h 31"/>
                  <a:gd name="T4" fmla="*/ 0 w 27"/>
                  <a:gd name="T5" fmla="*/ 0 h 31"/>
                  <a:gd name="T6" fmla="*/ 0 60000 65536"/>
                  <a:gd name="T7" fmla="*/ 0 60000 65536"/>
                  <a:gd name="T8" fmla="*/ 0 60000 65536"/>
                  <a:gd name="T9" fmla="*/ 0 w 27"/>
                  <a:gd name="T10" fmla="*/ 0 h 31"/>
                  <a:gd name="T11" fmla="*/ 27 w 27"/>
                  <a:gd name="T12" fmla="*/ 31 h 3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25" name="Freeform 868"/>
              <p:cNvSpPr>
                <a:spLocks/>
              </p:cNvSpPr>
              <p:nvPr/>
            </p:nvSpPr>
            <p:spPr bwMode="auto">
              <a:xfrm>
                <a:off x="5119" y="2568"/>
                <a:ext cx="7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"/>
                  <a:gd name="T11" fmla="*/ 20 w 20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26" name="Freeform 869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0 h 13"/>
                  <a:gd name="T2" fmla="*/ 0 w 34"/>
                  <a:gd name="T3" fmla="*/ 0 h 13"/>
                  <a:gd name="T4" fmla="*/ 0 w 34"/>
                  <a:gd name="T5" fmla="*/ 0 h 13"/>
                  <a:gd name="T6" fmla="*/ 0 w 34"/>
                  <a:gd name="T7" fmla="*/ 0 h 13"/>
                  <a:gd name="T8" fmla="*/ 0 w 34"/>
                  <a:gd name="T9" fmla="*/ 0 h 13"/>
                  <a:gd name="T10" fmla="*/ 0 w 34"/>
                  <a:gd name="T11" fmla="*/ 0 h 13"/>
                  <a:gd name="T12" fmla="*/ 0 w 34"/>
                  <a:gd name="T13" fmla="*/ 0 h 13"/>
                  <a:gd name="T14" fmla="*/ 0 w 34"/>
                  <a:gd name="T15" fmla="*/ 0 h 13"/>
                  <a:gd name="T16" fmla="*/ 0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4"/>
                  <a:gd name="T28" fmla="*/ 0 h 13"/>
                  <a:gd name="T29" fmla="*/ 34 w 34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27" name="Freeform 870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0 w 34"/>
                  <a:gd name="T1" fmla="*/ 0 h 18"/>
                  <a:gd name="T2" fmla="*/ 0 w 34"/>
                  <a:gd name="T3" fmla="*/ 0 h 18"/>
                  <a:gd name="T4" fmla="*/ 0 w 34"/>
                  <a:gd name="T5" fmla="*/ 0 h 18"/>
                  <a:gd name="T6" fmla="*/ 0 w 34"/>
                  <a:gd name="T7" fmla="*/ 0 h 18"/>
                  <a:gd name="T8" fmla="*/ 0 w 34"/>
                  <a:gd name="T9" fmla="*/ 0 h 18"/>
                  <a:gd name="T10" fmla="*/ 0 w 34"/>
                  <a:gd name="T11" fmla="*/ 0 h 18"/>
                  <a:gd name="T12" fmla="*/ 0 w 34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4"/>
                  <a:gd name="T22" fmla="*/ 0 h 18"/>
                  <a:gd name="T23" fmla="*/ 34 w 34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28" name="Freeform 871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0 w 59"/>
                  <a:gd name="T1" fmla="*/ 0 h 25"/>
                  <a:gd name="T2" fmla="*/ 0 w 59"/>
                  <a:gd name="T3" fmla="*/ 0 h 25"/>
                  <a:gd name="T4" fmla="*/ 0 w 59"/>
                  <a:gd name="T5" fmla="*/ 0 h 25"/>
                  <a:gd name="T6" fmla="*/ 0 w 59"/>
                  <a:gd name="T7" fmla="*/ 0 h 25"/>
                  <a:gd name="T8" fmla="*/ 0 w 59"/>
                  <a:gd name="T9" fmla="*/ 0 h 25"/>
                  <a:gd name="T10" fmla="*/ 0 w 59"/>
                  <a:gd name="T11" fmla="*/ 0 h 25"/>
                  <a:gd name="T12" fmla="*/ 0 w 59"/>
                  <a:gd name="T13" fmla="*/ 0 h 25"/>
                  <a:gd name="T14" fmla="*/ 0 w 59"/>
                  <a:gd name="T15" fmla="*/ 0 h 25"/>
                  <a:gd name="T16" fmla="*/ 0 w 59"/>
                  <a:gd name="T17" fmla="*/ 0 h 25"/>
                  <a:gd name="T18" fmla="*/ 0 w 59"/>
                  <a:gd name="T19" fmla="*/ 0 h 25"/>
                  <a:gd name="T20" fmla="*/ 0 w 59"/>
                  <a:gd name="T21" fmla="*/ 0 h 25"/>
                  <a:gd name="T22" fmla="*/ 0 w 59"/>
                  <a:gd name="T23" fmla="*/ 0 h 25"/>
                  <a:gd name="T24" fmla="*/ 0 w 59"/>
                  <a:gd name="T25" fmla="*/ 0 h 25"/>
                  <a:gd name="T26" fmla="*/ 0 w 59"/>
                  <a:gd name="T27" fmla="*/ 0 h 25"/>
                  <a:gd name="T28" fmla="*/ 0 w 59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9"/>
                  <a:gd name="T46" fmla="*/ 0 h 25"/>
                  <a:gd name="T47" fmla="*/ 59 w 59"/>
                  <a:gd name="T48" fmla="*/ 25 h 2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29" name="Line 872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</p:grpSp>
        <p:sp>
          <p:nvSpPr>
            <p:cNvPr id="18662" name="Freeform 873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4968" y="2444"/>
              <a:ext cx="10" cy="35"/>
            </a:xfrm>
            <a:custGeom>
              <a:avLst/>
              <a:gdLst>
                <a:gd name="T0" fmla="*/ 0 w 33"/>
                <a:gd name="T1" fmla="*/ 2 h 43"/>
                <a:gd name="T2" fmla="*/ 0 w 33"/>
                <a:gd name="T3" fmla="*/ 2 h 43"/>
                <a:gd name="T4" fmla="*/ 0 w 33"/>
                <a:gd name="T5" fmla="*/ 2 h 43"/>
                <a:gd name="T6" fmla="*/ 0 w 33"/>
                <a:gd name="T7" fmla="*/ 2 h 43"/>
                <a:gd name="T8" fmla="*/ 0 w 33"/>
                <a:gd name="T9" fmla="*/ 2 h 43"/>
                <a:gd name="T10" fmla="*/ 0 w 33"/>
                <a:gd name="T11" fmla="*/ 2 h 43"/>
                <a:gd name="T12" fmla="*/ 0 w 33"/>
                <a:gd name="T13" fmla="*/ 2 h 43"/>
                <a:gd name="T14" fmla="*/ 0 w 33"/>
                <a:gd name="T15" fmla="*/ 2 h 43"/>
                <a:gd name="T16" fmla="*/ 0 w 33"/>
                <a:gd name="T17" fmla="*/ 0 h 43"/>
                <a:gd name="T18" fmla="*/ 0 w 33"/>
                <a:gd name="T19" fmla="*/ 2 h 43"/>
                <a:gd name="T20" fmla="*/ 0 w 33"/>
                <a:gd name="T21" fmla="*/ 2 h 43"/>
                <a:gd name="T22" fmla="*/ 0 w 33"/>
                <a:gd name="T23" fmla="*/ 2 h 43"/>
                <a:gd name="T24" fmla="*/ 0 w 33"/>
                <a:gd name="T25" fmla="*/ 2 h 43"/>
                <a:gd name="T26" fmla="*/ 0 w 33"/>
                <a:gd name="T27" fmla="*/ 2 h 43"/>
                <a:gd name="T28" fmla="*/ 0 w 33"/>
                <a:gd name="T29" fmla="*/ 2 h 43"/>
                <a:gd name="T30" fmla="*/ 0 w 33"/>
                <a:gd name="T31" fmla="*/ 2 h 43"/>
                <a:gd name="T32" fmla="*/ 0 w 33"/>
                <a:gd name="T33" fmla="*/ 2 h 43"/>
                <a:gd name="T34" fmla="*/ 0 w 33"/>
                <a:gd name="T35" fmla="*/ 2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3"/>
                <a:gd name="T55" fmla="*/ 0 h 43"/>
                <a:gd name="T56" fmla="*/ 33 w 33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63" name="Freeform 874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5020" y="2406"/>
              <a:ext cx="15" cy="37"/>
            </a:xfrm>
            <a:custGeom>
              <a:avLst/>
              <a:gdLst>
                <a:gd name="T0" fmla="*/ 0 w 54"/>
                <a:gd name="T1" fmla="*/ 0 h 92"/>
                <a:gd name="T2" fmla="*/ 0 w 54"/>
                <a:gd name="T3" fmla="*/ 0 h 92"/>
                <a:gd name="T4" fmla="*/ 0 w 54"/>
                <a:gd name="T5" fmla="*/ 0 h 92"/>
                <a:gd name="T6" fmla="*/ 0 w 54"/>
                <a:gd name="T7" fmla="*/ 0 h 92"/>
                <a:gd name="T8" fmla="*/ 0 w 54"/>
                <a:gd name="T9" fmla="*/ 0 h 92"/>
                <a:gd name="T10" fmla="*/ 0 w 54"/>
                <a:gd name="T11" fmla="*/ 0 h 92"/>
                <a:gd name="T12" fmla="*/ 0 w 54"/>
                <a:gd name="T13" fmla="*/ 0 h 92"/>
                <a:gd name="T14" fmla="*/ 0 w 54"/>
                <a:gd name="T15" fmla="*/ 0 h 92"/>
                <a:gd name="T16" fmla="*/ 0 w 54"/>
                <a:gd name="T17" fmla="*/ 0 h 92"/>
                <a:gd name="T18" fmla="*/ 0 w 54"/>
                <a:gd name="T19" fmla="*/ 0 h 92"/>
                <a:gd name="T20" fmla="*/ 0 w 54"/>
                <a:gd name="T21" fmla="*/ 0 h 92"/>
                <a:gd name="T22" fmla="*/ 0 w 54"/>
                <a:gd name="T23" fmla="*/ 0 h 92"/>
                <a:gd name="T24" fmla="*/ 0 w 54"/>
                <a:gd name="T25" fmla="*/ 0 h 92"/>
                <a:gd name="T26" fmla="*/ 0 w 54"/>
                <a:gd name="T27" fmla="*/ 0 h 92"/>
                <a:gd name="T28" fmla="*/ 0 w 54"/>
                <a:gd name="T29" fmla="*/ 0 h 92"/>
                <a:gd name="T30" fmla="*/ 0 w 54"/>
                <a:gd name="T31" fmla="*/ 0 h 92"/>
                <a:gd name="T32" fmla="*/ 0 w 54"/>
                <a:gd name="T33" fmla="*/ 0 h 92"/>
                <a:gd name="T34" fmla="*/ 0 w 54"/>
                <a:gd name="T35" fmla="*/ 0 h 92"/>
                <a:gd name="T36" fmla="*/ 0 w 54"/>
                <a:gd name="T37" fmla="*/ 0 h 92"/>
                <a:gd name="T38" fmla="*/ 0 w 54"/>
                <a:gd name="T39" fmla="*/ 0 h 92"/>
                <a:gd name="T40" fmla="*/ 0 w 54"/>
                <a:gd name="T41" fmla="*/ 0 h 92"/>
                <a:gd name="T42" fmla="*/ 0 w 54"/>
                <a:gd name="T43" fmla="*/ 0 h 92"/>
                <a:gd name="T44" fmla="*/ 0 w 54"/>
                <a:gd name="T45" fmla="*/ 0 h 92"/>
                <a:gd name="T46" fmla="*/ 0 w 54"/>
                <a:gd name="T47" fmla="*/ 0 h 92"/>
                <a:gd name="T48" fmla="*/ 0 w 54"/>
                <a:gd name="T49" fmla="*/ 0 h 92"/>
                <a:gd name="T50" fmla="*/ 0 w 54"/>
                <a:gd name="T51" fmla="*/ 0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4"/>
                <a:gd name="T79" fmla="*/ 0 h 92"/>
                <a:gd name="T80" fmla="*/ 54 w 54"/>
                <a:gd name="T81" fmla="*/ 92 h 9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64" name="Freeform 875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5053" y="2330"/>
              <a:ext cx="16" cy="36"/>
            </a:xfrm>
            <a:custGeom>
              <a:avLst/>
              <a:gdLst>
                <a:gd name="T0" fmla="*/ 0 w 60"/>
                <a:gd name="T1" fmla="*/ 0 h 18"/>
                <a:gd name="T2" fmla="*/ 0 w 60"/>
                <a:gd name="T3" fmla="*/ 4194304 h 18"/>
                <a:gd name="T4" fmla="*/ 0 w 60"/>
                <a:gd name="T5" fmla="*/ 9437184 h 18"/>
                <a:gd name="T6" fmla="*/ 0 w 60"/>
                <a:gd name="T7" fmla="*/ 11534335 h 18"/>
                <a:gd name="T8" fmla="*/ 0 w 60"/>
                <a:gd name="T9" fmla="*/ 13631486 h 18"/>
                <a:gd name="T10" fmla="*/ 0 w 60"/>
                <a:gd name="T11" fmla="*/ 16777217 h 18"/>
                <a:gd name="T12" fmla="*/ 0 w 60"/>
                <a:gd name="T13" fmla="*/ 18874368 h 18"/>
                <a:gd name="T14" fmla="*/ 0 w 60"/>
                <a:gd name="T15" fmla="*/ 18874368 h 18"/>
                <a:gd name="T16" fmla="*/ 0 w 60"/>
                <a:gd name="T17" fmla="*/ 18874368 h 18"/>
                <a:gd name="T18" fmla="*/ 0 w 60"/>
                <a:gd name="T19" fmla="*/ 18874368 h 18"/>
                <a:gd name="T20" fmla="*/ 0 w 60"/>
                <a:gd name="T21" fmla="*/ 18874368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0"/>
                <a:gd name="T37" fmla="*/ 0 h 18"/>
                <a:gd name="T38" fmla="*/ 60 w 6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65" name="Freeform 876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5042" y="2311"/>
              <a:ext cx="17" cy="36"/>
            </a:xfrm>
            <a:custGeom>
              <a:avLst/>
              <a:gdLst>
                <a:gd name="T0" fmla="*/ 0 w 66"/>
                <a:gd name="T1" fmla="*/ 18874368 h 18"/>
                <a:gd name="T2" fmla="*/ 0 w 66"/>
                <a:gd name="T3" fmla="*/ 18874368 h 18"/>
                <a:gd name="T4" fmla="*/ 0 w 66"/>
                <a:gd name="T5" fmla="*/ 13631486 h 18"/>
                <a:gd name="T6" fmla="*/ 0 w 66"/>
                <a:gd name="T7" fmla="*/ 7340031 h 18"/>
                <a:gd name="T8" fmla="*/ 0 w 66"/>
                <a:gd name="T9" fmla="*/ 4194304 h 18"/>
                <a:gd name="T10" fmla="*/ 0 w 66"/>
                <a:gd name="T11" fmla="*/ 2097152 h 18"/>
                <a:gd name="T12" fmla="*/ 0 w 66"/>
                <a:gd name="T13" fmla="*/ 1048576 h 18"/>
                <a:gd name="T14" fmla="*/ 0 w 66"/>
                <a:gd name="T15" fmla="*/ 0 h 18"/>
                <a:gd name="T16" fmla="*/ 0 w 66"/>
                <a:gd name="T17" fmla="*/ 18874368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6"/>
                <a:gd name="T28" fmla="*/ 0 h 18"/>
                <a:gd name="T29" fmla="*/ 66 w 66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66" name="Freeform 877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4923" y="2246"/>
              <a:ext cx="5" cy="36"/>
            </a:xfrm>
            <a:custGeom>
              <a:avLst/>
              <a:gdLst>
                <a:gd name="T0" fmla="*/ 0 w 17"/>
                <a:gd name="T1" fmla="*/ 3 h 42"/>
                <a:gd name="T2" fmla="*/ 0 w 17"/>
                <a:gd name="T3" fmla="*/ 3 h 42"/>
                <a:gd name="T4" fmla="*/ 0 w 17"/>
                <a:gd name="T5" fmla="*/ 3 h 42"/>
                <a:gd name="T6" fmla="*/ 0 w 17"/>
                <a:gd name="T7" fmla="*/ 3 h 42"/>
                <a:gd name="T8" fmla="*/ 0 w 17"/>
                <a:gd name="T9" fmla="*/ 3 h 42"/>
                <a:gd name="T10" fmla="*/ 0 w 17"/>
                <a:gd name="T11" fmla="*/ 3 h 42"/>
                <a:gd name="T12" fmla="*/ 0 w 17"/>
                <a:gd name="T13" fmla="*/ 3 h 42"/>
                <a:gd name="T14" fmla="*/ 0 w 17"/>
                <a:gd name="T15" fmla="*/ 0 h 42"/>
                <a:gd name="T16" fmla="*/ 0 w 17"/>
                <a:gd name="T17" fmla="*/ 3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42"/>
                <a:gd name="T29" fmla="*/ 17 w 17"/>
                <a:gd name="T30" fmla="*/ 42 h 4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67" name="Freeform 878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4873" y="2331"/>
              <a:ext cx="20" cy="37"/>
            </a:xfrm>
            <a:custGeom>
              <a:avLst/>
              <a:gdLst>
                <a:gd name="T0" fmla="*/ 0 w 72"/>
                <a:gd name="T1" fmla="*/ 3771 h 29"/>
                <a:gd name="T2" fmla="*/ 0 w 72"/>
                <a:gd name="T3" fmla="*/ 3387 h 29"/>
                <a:gd name="T4" fmla="*/ 0 w 72"/>
                <a:gd name="T5" fmla="*/ 3187 h 29"/>
                <a:gd name="T6" fmla="*/ 0 w 72"/>
                <a:gd name="T7" fmla="*/ 3187 h 29"/>
                <a:gd name="T8" fmla="*/ 0 w 72"/>
                <a:gd name="T9" fmla="*/ 3187 h 29"/>
                <a:gd name="T10" fmla="*/ 0 w 72"/>
                <a:gd name="T11" fmla="*/ 3440 h 29"/>
                <a:gd name="T12" fmla="*/ 0 w 72"/>
                <a:gd name="T13" fmla="*/ 3771 h 29"/>
                <a:gd name="T14" fmla="*/ 0 w 72"/>
                <a:gd name="T15" fmla="*/ 527 h 29"/>
                <a:gd name="T16" fmla="*/ 0 w 72"/>
                <a:gd name="T17" fmla="*/ 1 h 29"/>
                <a:gd name="T18" fmla="*/ 0 w 72"/>
                <a:gd name="T19" fmla="*/ 0 h 29"/>
                <a:gd name="T20" fmla="*/ 0 w 72"/>
                <a:gd name="T21" fmla="*/ 0 h 29"/>
                <a:gd name="T22" fmla="*/ 0 w 72"/>
                <a:gd name="T23" fmla="*/ 324 h 29"/>
                <a:gd name="T24" fmla="*/ 0 w 72"/>
                <a:gd name="T25" fmla="*/ 413 h 29"/>
                <a:gd name="T26" fmla="*/ 0 w 72"/>
                <a:gd name="T27" fmla="*/ 672 h 29"/>
                <a:gd name="T28" fmla="*/ 0 w 72"/>
                <a:gd name="T29" fmla="*/ 672 h 29"/>
                <a:gd name="T30" fmla="*/ 0 w 72"/>
                <a:gd name="T31" fmla="*/ 527 h 29"/>
                <a:gd name="T32" fmla="*/ 0 w 72"/>
                <a:gd name="T33" fmla="*/ 2081 h 29"/>
                <a:gd name="T34" fmla="*/ 0 w 72"/>
                <a:gd name="T35" fmla="*/ 3771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29"/>
                <a:gd name="T56" fmla="*/ 72 w 72"/>
                <a:gd name="T57" fmla="*/ 29 h 2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68" name="Freeform 879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4878" y="2448"/>
              <a:ext cx="13" cy="35"/>
            </a:xfrm>
            <a:custGeom>
              <a:avLst/>
              <a:gdLst>
                <a:gd name="T0" fmla="*/ 0 w 46"/>
                <a:gd name="T1" fmla="*/ 0 h 37"/>
                <a:gd name="T2" fmla="*/ 0 w 46"/>
                <a:gd name="T3" fmla="*/ 9 h 37"/>
                <a:gd name="T4" fmla="*/ 0 w 46"/>
                <a:gd name="T5" fmla="*/ 9 h 37"/>
                <a:gd name="T6" fmla="*/ 0 w 46"/>
                <a:gd name="T7" fmla="*/ 9 h 37"/>
                <a:gd name="T8" fmla="*/ 0 w 46"/>
                <a:gd name="T9" fmla="*/ 9 h 37"/>
                <a:gd name="T10" fmla="*/ 0 w 46"/>
                <a:gd name="T11" fmla="*/ 9 h 37"/>
                <a:gd name="T12" fmla="*/ 0 w 46"/>
                <a:gd name="T13" fmla="*/ 10 h 37"/>
                <a:gd name="T14" fmla="*/ 0 w 46"/>
                <a:gd name="T15" fmla="*/ 11 h 37"/>
                <a:gd name="T16" fmla="*/ 0 w 46"/>
                <a:gd name="T17" fmla="*/ 12 h 37"/>
                <a:gd name="T18" fmla="*/ 0 w 46"/>
                <a:gd name="T19" fmla="*/ 11 h 37"/>
                <a:gd name="T20" fmla="*/ 0 w 46"/>
                <a:gd name="T21" fmla="*/ 10 h 37"/>
                <a:gd name="T22" fmla="*/ 0 w 46"/>
                <a:gd name="T23" fmla="*/ 9 h 37"/>
                <a:gd name="T24" fmla="*/ 0 w 46"/>
                <a:gd name="T25" fmla="*/ 9 h 37"/>
                <a:gd name="T26" fmla="*/ 0 w 46"/>
                <a:gd name="T27" fmla="*/ 9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37"/>
                <a:gd name="T47" fmla="*/ 46 w 46"/>
                <a:gd name="T48" fmla="*/ 37 h 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69" name="Freeform 880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4955" y="2334"/>
              <a:ext cx="8" cy="36"/>
            </a:xfrm>
            <a:custGeom>
              <a:avLst/>
              <a:gdLst>
                <a:gd name="T0" fmla="*/ 0 w 26"/>
                <a:gd name="T1" fmla="*/ 0 h 19"/>
                <a:gd name="T2" fmla="*/ 0 w 26"/>
                <a:gd name="T3" fmla="*/ 6724223 h 19"/>
                <a:gd name="T4" fmla="*/ 0 w 26"/>
                <a:gd name="T5" fmla="*/ 3203909 h 19"/>
                <a:gd name="T6" fmla="*/ 0 w 26"/>
                <a:gd name="T7" fmla="*/ 0 h 19"/>
                <a:gd name="T8" fmla="*/ 0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"/>
                <a:gd name="T19" fmla="*/ 0 h 19"/>
                <a:gd name="T20" fmla="*/ 26 w 26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70" name="Freeform 881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4860" y="2331"/>
              <a:ext cx="13" cy="37"/>
            </a:xfrm>
            <a:custGeom>
              <a:avLst/>
              <a:gdLst>
                <a:gd name="T0" fmla="*/ 0 w 43"/>
                <a:gd name="T1" fmla="*/ 0 h 31"/>
                <a:gd name="T2" fmla="*/ 0 w 43"/>
                <a:gd name="T3" fmla="*/ 423 h 31"/>
                <a:gd name="T4" fmla="*/ 0 w 43"/>
                <a:gd name="T5" fmla="*/ 764 h 31"/>
                <a:gd name="T6" fmla="*/ 0 w 43"/>
                <a:gd name="T7" fmla="*/ 898 h 31"/>
                <a:gd name="T8" fmla="*/ 0 w 43"/>
                <a:gd name="T9" fmla="*/ 1025 h 31"/>
                <a:gd name="T10" fmla="*/ 0 w 43"/>
                <a:gd name="T11" fmla="*/ 1072 h 31"/>
                <a:gd name="T12" fmla="*/ 0 w 43"/>
                <a:gd name="T13" fmla="*/ 1072 h 31"/>
                <a:gd name="T14" fmla="*/ 0 w 43"/>
                <a:gd name="T15" fmla="*/ 752 h 31"/>
                <a:gd name="T16" fmla="*/ 0 w 43"/>
                <a:gd name="T17" fmla="*/ 449 h 31"/>
                <a:gd name="T18" fmla="*/ 0 w 43"/>
                <a:gd name="T19" fmla="*/ 175 h 31"/>
                <a:gd name="T20" fmla="*/ 0 w 43"/>
                <a:gd name="T21" fmla="*/ 0 h 31"/>
                <a:gd name="T22" fmla="*/ 0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3"/>
                <a:gd name="T37" fmla="*/ 0 h 31"/>
                <a:gd name="T38" fmla="*/ 43 w 43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71" name="Freeform 882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4890" y="2361"/>
              <a:ext cx="21" cy="36"/>
            </a:xfrm>
            <a:custGeom>
              <a:avLst/>
              <a:gdLst>
                <a:gd name="T0" fmla="*/ 0 w 71"/>
                <a:gd name="T1" fmla="*/ 1 h 49"/>
                <a:gd name="T2" fmla="*/ 0 w 71"/>
                <a:gd name="T3" fmla="*/ 1 h 49"/>
                <a:gd name="T4" fmla="*/ 0 w 71"/>
                <a:gd name="T5" fmla="*/ 1 h 49"/>
                <a:gd name="T6" fmla="*/ 0 w 71"/>
                <a:gd name="T7" fmla="*/ 1 h 49"/>
                <a:gd name="T8" fmla="*/ 0 w 71"/>
                <a:gd name="T9" fmla="*/ 1 h 49"/>
                <a:gd name="T10" fmla="*/ 0 w 71"/>
                <a:gd name="T11" fmla="*/ 1 h 49"/>
                <a:gd name="T12" fmla="*/ 0 w 71"/>
                <a:gd name="T13" fmla="*/ 1 h 49"/>
                <a:gd name="T14" fmla="*/ 0 w 71"/>
                <a:gd name="T15" fmla="*/ 1 h 49"/>
                <a:gd name="T16" fmla="*/ 0 w 71"/>
                <a:gd name="T17" fmla="*/ 1 h 49"/>
                <a:gd name="T18" fmla="*/ 0 w 71"/>
                <a:gd name="T19" fmla="*/ 1 h 49"/>
                <a:gd name="T20" fmla="*/ 0 w 71"/>
                <a:gd name="T21" fmla="*/ 1 h 49"/>
                <a:gd name="T22" fmla="*/ 0 w 71"/>
                <a:gd name="T23" fmla="*/ 1 h 49"/>
                <a:gd name="T24" fmla="*/ 0 w 71"/>
                <a:gd name="T25" fmla="*/ 1 h 49"/>
                <a:gd name="T26" fmla="*/ 0 w 71"/>
                <a:gd name="T27" fmla="*/ 1 h 49"/>
                <a:gd name="T28" fmla="*/ 0 w 71"/>
                <a:gd name="T29" fmla="*/ 1 h 49"/>
                <a:gd name="T30" fmla="*/ 0 w 71"/>
                <a:gd name="T31" fmla="*/ 1 h 49"/>
                <a:gd name="T32" fmla="*/ 0 w 71"/>
                <a:gd name="T33" fmla="*/ 1 h 49"/>
                <a:gd name="T34" fmla="*/ 0 w 71"/>
                <a:gd name="T35" fmla="*/ 1 h 49"/>
                <a:gd name="T36" fmla="*/ 0 w 71"/>
                <a:gd name="T37" fmla="*/ 1 h 49"/>
                <a:gd name="T38" fmla="*/ 0 w 71"/>
                <a:gd name="T39" fmla="*/ 1 h 49"/>
                <a:gd name="T40" fmla="*/ 0 w 71"/>
                <a:gd name="T41" fmla="*/ 1 h 49"/>
                <a:gd name="T42" fmla="*/ 0 w 71"/>
                <a:gd name="T43" fmla="*/ 1 h 49"/>
                <a:gd name="T44" fmla="*/ 0 w 71"/>
                <a:gd name="T45" fmla="*/ 0 h 49"/>
                <a:gd name="T46" fmla="*/ 0 w 71"/>
                <a:gd name="T47" fmla="*/ 1 h 49"/>
                <a:gd name="T48" fmla="*/ 0 w 71"/>
                <a:gd name="T49" fmla="*/ 1 h 49"/>
                <a:gd name="T50" fmla="*/ 0 w 71"/>
                <a:gd name="T51" fmla="*/ 1 h 49"/>
                <a:gd name="T52" fmla="*/ 0 w 71"/>
                <a:gd name="T53" fmla="*/ 1 h 49"/>
                <a:gd name="T54" fmla="*/ 0 w 71"/>
                <a:gd name="T55" fmla="*/ 1 h 49"/>
                <a:gd name="T56" fmla="*/ 0 w 71"/>
                <a:gd name="T57" fmla="*/ 1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1"/>
                <a:gd name="T88" fmla="*/ 0 h 49"/>
                <a:gd name="T89" fmla="*/ 71 w 71"/>
                <a:gd name="T90" fmla="*/ 49 h 4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72" name="Freeform 883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4755" y="2489"/>
              <a:ext cx="31" cy="37"/>
            </a:xfrm>
            <a:custGeom>
              <a:avLst/>
              <a:gdLst>
                <a:gd name="T0" fmla="*/ 0 w 112"/>
                <a:gd name="T1" fmla="*/ 2634 h 26"/>
                <a:gd name="T2" fmla="*/ 0 w 112"/>
                <a:gd name="T3" fmla="*/ 2634 h 26"/>
                <a:gd name="T4" fmla="*/ 0 w 112"/>
                <a:gd name="T5" fmla="*/ 3748 h 26"/>
                <a:gd name="T6" fmla="*/ 0 w 112"/>
                <a:gd name="T7" fmla="*/ 5334 h 26"/>
                <a:gd name="T8" fmla="*/ 0 w 112"/>
                <a:gd name="T9" fmla="*/ 7591 h 26"/>
                <a:gd name="T10" fmla="*/ 0 w 112"/>
                <a:gd name="T11" fmla="*/ 10803 h 26"/>
                <a:gd name="T12" fmla="*/ 0 w 112"/>
                <a:gd name="T13" fmla="*/ 13522 h 26"/>
                <a:gd name="T14" fmla="*/ 0 w 112"/>
                <a:gd name="T15" fmla="*/ 18854 h 26"/>
                <a:gd name="T16" fmla="*/ 0 w 112"/>
                <a:gd name="T17" fmla="*/ 22875 h 26"/>
                <a:gd name="T18" fmla="*/ 0 w 112"/>
                <a:gd name="T19" fmla="*/ 25447 h 26"/>
                <a:gd name="T20" fmla="*/ 0 w 112"/>
                <a:gd name="T21" fmla="*/ 26831 h 26"/>
                <a:gd name="T22" fmla="*/ 0 w 112"/>
                <a:gd name="T23" fmla="*/ 29468 h 26"/>
                <a:gd name="T24" fmla="*/ 0 w 112"/>
                <a:gd name="T25" fmla="*/ 29468 h 26"/>
                <a:gd name="T26" fmla="*/ 0 w 112"/>
                <a:gd name="T27" fmla="*/ 30141 h 26"/>
                <a:gd name="T28" fmla="*/ 0 w 112"/>
                <a:gd name="T29" fmla="*/ 30141 h 26"/>
                <a:gd name="T30" fmla="*/ 0 w 112"/>
                <a:gd name="T31" fmla="*/ 27384 h 26"/>
                <a:gd name="T32" fmla="*/ 0 w 112"/>
                <a:gd name="T33" fmla="*/ 21878 h 26"/>
                <a:gd name="T34" fmla="*/ 0 w 112"/>
                <a:gd name="T35" fmla="*/ 15374 h 26"/>
                <a:gd name="T36" fmla="*/ 0 w 112"/>
                <a:gd name="T37" fmla="*/ 9310 h 26"/>
                <a:gd name="T38" fmla="*/ 0 w 112"/>
                <a:gd name="T39" fmla="*/ 5334 h 26"/>
                <a:gd name="T40" fmla="*/ 0 w 112"/>
                <a:gd name="T41" fmla="*/ 2634 h 26"/>
                <a:gd name="T42" fmla="*/ 0 w 112"/>
                <a:gd name="T43" fmla="*/ 1 h 26"/>
                <a:gd name="T44" fmla="*/ 0 w 112"/>
                <a:gd name="T45" fmla="*/ 0 h 26"/>
                <a:gd name="T46" fmla="*/ 0 w 112"/>
                <a:gd name="T47" fmla="*/ 1 h 26"/>
                <a:gd name="T48" fmla="*/ 0 w 112"/>
                <a:gd name="T49" fmla="*/ 2634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2"/>
                <a:gd name="T76" fmla="*/ 0 h 26"/>
                <a:gd name="T77" fmla="*/ 112 w 112"/>
                <a:gd name="T78" fmla="*/ 26 h 2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73" name="Freeform 884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4822" y="2513"/>
              <a:ext cx="10" cy="37"/>
            </a:xfrm>
            <a:custGeom>
              <a:avLst/>
              <a:gdLst>
                <a:gd name="T0" fmla="*/ 0 w 41"/>
                <a:gd name="T1" fmla="*/ 0 h 25"/>
                <a:gd name="T2" fmla="*/ 0 w 41"/>
                <a:gd name="T3" fmla="*/ 0 h 25"/>
                <a:gd name="T4" fmla="*/ 0 w 41"/>
                <a:gd name="T5" fmla="*/ 21131 h 25"/>
                <a:gd name="T6" fmla="*/ 0 w 41"/>
                <a:gd name="T7" fmla="*/ 38746 h 25"/>
                <a:gd name="T8" fmla="*/ 0 w 41"/>
                <a:gd name="T9" fmla="*/ 50835 h 25"/>
                <a:gd name="T10" fmla="*/ 0 w 41"/>
                <a:gd name="T11" fmla="*/ 63581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5"/>
                <a:gd name="T23" fmla="*/ 41 w 41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74" name="Freeform 885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4708" y="2470"/>
              <a:ext cx="25" cy="35"/>
            </a:xfrm>
            <a:custGeom>
              <a:avLst/>
              <a:gdLst>
                <a:gd name="T0" fmla="*/ 0 w 81"/>
                <a:gd name="T1" fmla="*/ 353 h 31"/>
                <a:gd name="T2" fmla="*/ 0 w 81"/>
                <a:gd name="T3" fmla="*/ 256 h 31"/>
                <a:gd name="T4" fmla="*/ 0 w 81"/>
                <a:gd name="T5" fmla="*/ 145 h 31"/>
                <a:gd name="T6" fmla="*/ 0 w 81"/>
                <a:gd name="T7" fmla="*/ 111 h 31"/>
                <a:gd name="T8" fmla="*/ 0 w 81"/>
                <a:gd name="T9" fmla="*/ 87 h 31"/>
                <a:gd name="T10" fmla="*/ 0 w 81"/>
                <a:gd name="T11" fmla="*/ 68 h 31"/>
                <a:gd name="T12" fmla="*/ 0 w 81"/>
                <a:gd name="T13" fmla="*/ 53 h 31"/>
                <a:gd name="T14" fmla="*/ 0 w 81"/>
                <a:gd name="T15" fmla="*/ 2 h 31"/>
                <a:gd name="T16" fmla="*/ 0 w 81"/>
                <a:gd name="T17" fmla="*/ 0 h 31"/>
                <a:gd name="T18" fmla="*/ 0 w 81"/>
                <a:gd name="T19" fmla="*/ 1 h 31"/>
                <a:gd name="T20" fmla="*/ 0 w 81"/>
                <a:gd name="T21" fmla="*/ 1 h 31"/>
                <a:gd name="T22" fmla="*/ 0 w 81"/>
                <a:gd name="T23" fmla="*/ 1 h 31"/>
                <a:gd name="T24" fmla="*/ 0 w 81"/>
                <a:gd name="T25" fmla="*/ 1 h 31"/>
                <a:gd name="T26" fmla="*/ 0 w 81"/>
                <a:gd name="T27" fmla="*/ 1 h 31"/>
                <a:gd name="T28" fmla="*/ 0 w 81"/>
                <a:gd name="T29" fmla="*/ 1 h 31"/>
                <a:gd name="T30" fmla="*/ 0 w 81"/>
                <a:gd name="T31" fmla="*/ 68 h 31"/>
                <a:gd name="T32" fmla="*/ 0 w 81"/>
                <a:gd name="T33" fmla="*/ 111 h 31"/>
                <a:gd name="T34" fmla="*/ 0 w 81"/>
                <a:gd name="T35" fmla="*/ 159 h 31"/>
                <a:gd name="T36" fmla="*/ 0 w 81"/>
                <a:gd name="T37" fmla="*/ 203 h 31"/>
                <a:gd name="T38" fmla="*/ 0 w 81"/>
                <a:gd name="T39" fmla="*/ 236 h 31"/>
                <a:gd name="T40" fmla="*/ 0 w 81"/>
                <a:gd name="T41" fmla="*/ 259 h 31"/>
                <a:gd name="T42" fmla="*/ 0 w 81"/>
                <a:gd name="T43" fmla="*/ 289 h 31"/>
                <a:gd name="T44" fmla="*/ 0 w 81"/>
                <a:gd name="T45" fmla="*/ 289 h 31"/>
                <a:gd name="T46" fmla="*/ 0 w 81"/>
                <a:gd name="T47" fmla="*/ 35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1"/>
                <a:gd name="T73" fmla="*/ 0 h 31"/>
                <a:gd name="T74" fmla="*/ 81 w 81"/>
                <a:gd name="T75" fmla="*/ 31 h 3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75" name="Freeform 886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4739" y="2461"/>
              <a:ext cx="27" cy="35"/>
            </a:xfrm>
            <a:custGeom>
              <a:avLst/>
              <a:gdLst>
                <a:gd name="T0" fmla="*/ 0 w 89"/>
                <a:gd name="T1" fmla="*/ 1 h 49"/>
                <a:gd name="T2" fmla="*/ 0 w 89"/>
                <a:gd name="T3" fmla="*/ 1 h 49"/>
                <a:gd name="T4" fmla="*/ 0 w 89"/>
                <a:gd name="T5" fmla="*/ 1 h 49"/>
                <a:gd name="T6" fmla="*/ 0 w 89"/>
                <a:gd name="T7" fmla="*/ 1 h 49"/>
                <a:gd name="T8" fmla="*/ 0 w 89"/>
                <a:gd name="T9" fmla="*/ 1 h 49"/>
                <a:gd name="T10" fmla="*/ 0 w 89"/>
                <a:gd name="T11" fmla="*/ 1 h 49"/>
                <a:gd name="T12" fmla="*/ 0 w 89"/>
                <a:gd name="T13" fmla="*/ 1 h 49"/>
                <a:gd name="T14" fmla="*/ 0 w 89"/>
                <a:gd name="T15" fmla="*/ 1 h 49"/>
                <a:gd name="T16" fmla="*/ 0 w 89"/>
                <a:gd name="T17" fmla="*/ 1 h 49"/>
                <a:gd name="T18" fmla="*/ 0 w 89"/>
                <a:gd name="T19" fmla="*/ 0 h 49"/>
                <a:gd name="T20" fmla="*/ 0 w 89"/>
                <a:gd name="T21" fmla="*/ 1 h 49"/>
                <a:gd name="T22" fmla="*/ 0 w 89"/>
                <a:gd name="T23" fmla="*/ 1 h 49"/>
                <a:gd name="T24" fmla="*/ 0 w 89"/>
                <a:gd name="T25" fmla="*/ 1 h 49"/>
                <a:gd name="T26" fmla="*/ 0 w 89"/>
                <a:gd name="T27" fmla="*/ 1 h 49"/>
                <a:gd name="T28" fmla="*/ 0 w 89"/>
                <a:gd name="T29" fmla="*/ 1 h 49"/>
                <a:gd name="T30" fmla="*/ 0 w 89"/>
                <a:gd name="T31" fmla="*/ 1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9"/>
                <a:gd name="T49" fmla="*/ 0 h 49"/>
                <a:gd name="T50" fmla="*/ 89 w 89"/>
                <a:gd name="T51" fmla="*/ 49 h 4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76" name="Freeform 887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4774" y="2467"/>
              <a:ext cx="25" cy="37"/>
            </a:xfrm>
            <a:custGeom>
              <a:avLst/>
              <a:gdLst>
                <a:gd name="T0" fmla="*/ 0 w 86"/>
                <a:gd name="T1" fmla="*/ 2 h 46"/>
                <a:gd name="T2" fmla="*/ 0 w 86"/>
                <a:gd name="T3" fmla="*/ 2 h 46"/>
                <a:gd name="T4" fmla="*/ 0 w 86"/>
                <a:gd name="T5" fmla="*/ 2 h 46"/>
                <a:gd name="T6" fmla="*/ 0 w 86"/>
                <a:gd name="T7" fmla="*/ 2 h 46"/>
                <a:gd name="T8" fmla="*/ 0 w 86"/>
                <a:gd name="T9" fmla="*/ 2 h 46"/>
                <a:gd name="T10" fmla="*/ 0 w 86"/>
                <a:gd name="T11" fmla="*/ 2 h 46"/>
                <a:gd name="T12" fmla="*/ 0 w 86"/>
                <a:gd name="T13" fmla="*/ 2 h 46"/>
                <a:gd name="T14" fmla="*/ 0 w 86"/>
                <a:gd name="T15" fmla="*/ 2 h 46"/>
                <a:gd name="T16" fmla="*/ 0 w 86"/>
                <a:gd name="T17" fmla="*/ 2 h 46"/>
                <a:gd name="T18" fmla="*/ 0 w 86"/>
                <a:gd name="T19" fmla="*/ 2 h 46"/>
                <a:gd name="T20" fmla="*/ 0 w 86"/>
                <a:gd name="T21" fmla="*/ 2 h 46"/>
                <a:gd name="T22" fmla="*/ 0 w 86"/>
                <a:gd name="T23" fmla="*/ 2 h 46"/>
                <a:gd name="T24" fmla="*/ 0 w 86"/>
                <a:gd name="T25" fmla="*/ 2 h 46"/>
                <a:gd name="T26" fmla="*/ 0 w 86"/>
                <a:gd name="T27" fmla="*/ 2 h 46"/>
                <a:gd name="T28" fmla="*/ 0 w 86"/>
                <a:gd name="T29" fmla="*/ 2 h 46"/>
                <a:gd name="T30" fmla="*/ 0 w 86"/>
                <a:gd name="T31" fmla="*/ 2 h 46"/>
                <a:gd name="T32" fmla="*/ 0 w 86"/>
                <a:gd name="T33" fmla="*/ 2 h 46"/>
                <a:gd name="T34" fmla="*/ 0 w 86"/>
                <a:gd name="T35" fmla="*/ 2 h 46"/>
                <a:gd name="T36" fmla="*/ 0 w 86"/>
                <a:gd name="T37" fmla="*/ 2 h 46"/>
                <a:gd name="T38" fmla="*/ 0 w 86"/>
                <a:gd name="T39" fmla="*/ 2 h 46"/>
                <a:gd name="T40" fmla="*/ 0 w 86"/>
                <a:gd name="T41" fmla="*/ 1 h 46"/>
                <a:gd name="T42" fmla="*/ 0 w 86"/>
                <a:gd name="T43" fmla="*/ 0 h 46"/>
                <a:gd name="T44" fmla="*/ 0 w 86"/>
                <a:gd name="T45" fmla="*/ 0 h 46"/>
                <a:gd name="T46" fmla="*/ 0 w 86"/>
                <a:gd name="T47" fmla="*/ 1 h 46"/>
                <a:gd name="T48" fmla="*/ 0 w 86"/>
                <a:gd name="T49" fmla="*/ 2 h 46"/>
                <a:gd name="T50" fmla="*/ 0 w 86"/>
                <a:gd name="T51" fmla="*/ 2 h 46"/>
                <a:gd name="T52" fmla="*/ 0 w 86"/>
                <a:gd name="T53" fmla="*/ 2 h 46"/>
                <a:gd name="T54" fmla="*/ 0 w 86"/>
                <a:gd name="T55" fmla="*/ 2 h 46"/>
                <a:gd name="T56" fmla="*/ 0 w 86"/>
                <a:gd name="T57" fmla="*/ 2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46"/>
                <a:gd name="T89" fmla="*/ 86 w 86"/>
                <a:gd name="T90" fmla="*/ 46 h 4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77" name="Freeform 888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4810" y="2470"/>
              <a:ext cx="17" cy="35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0735223 h 18"/>
                <a:gd name="T4" fmla="*/ 0 w 59"/>
                <a:gd name="T5" fmla="*/ 10735223 h 18"/>
                <a:gd name="T6" fmla="*/ 0 w 59"/>
                <a:gd name="T7" fmla="*/ 3634514 h 18"/>
                <a:gd name="T8" fmla="*/ 0 w 59"/>
                <a:gd name="T9" fmla="*/ 3006381 h 18"/>
                <a:gd name="T10" fmla="*/ 0 w 59"/>
                <a:gd name="T11" fmla="*/ 2502444 h 18"/>
                <a:gd name="T12" fmla="*/ 0 w 59"/>
                <a:gd name="T13" fmla="*/ 3006381 h 18"/>
                <a:gd name="T14" fmla="*/ 0 w 59"/>
                <a:gd name="T15" fmla="*/ 3634514 h 18"/>
                <a:gd name="T16" fmla="*/ 0 w 59"/>
                <a:gd name="T17" fmla="*/ 3634514 h 18"/>
                <a:gd name="T18" fmla="*/ 0 w 59"/>
                <a:gd name="T19" fmla="*/ 3006381 h 18"/>
                <a:gd name="T20" fmla="*/ 0 w 59"/>
                <a:gd name="T21" fmla="*/ 2502444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9"/>
                <a:gd name="T37" fmla="*/ 0 h 18"/>
                <a:gd name="T38" fmla="*/ 59 w 59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78" name="Freeform 889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4860" y="2465"/>
              <a:ext cx="1" cy="35"/>
            </a:xfrm>
            <a:custGeom>
              <a:avLst/>
              <a:gdLst>
                <a:gd name="T0" fmla="*/ 0 w 4"/>
                <a:gd name="T1" fmla="*/ 3819818 h 19"/>
                <a:gd name="T2" fmla="*/ 0 w 4"/>
                <a:gd name="T3" fmla="*/ 0 h 19"/>
                <a:gd name="T4" fmla="*/ 0 w 4"/>
                <a:gd name="T5" fmla="*/ 227178 h 19"/>
                <a:gd name="T6" fmla="*/ 0 w 4"/>
                <a:gd name="T7" fmla="*/ 647458 h 19"/>
                <a:gd name="T8" fmla="*/ 0 w 4"/>
                <a:gd name="T9" fmla="*/ 1192686 h 19"/>
                <a:gd name="T10" fmla="*/ 0 w 4"/>
                <a:gd name="T11" fmla="*/ 1963579 h 19"/>
                <a:gd name="T12" fmla="*/ 0 w 4"/>
                <a:gd name="T13" fmla="*/ 2842519 h 19"/>
                <a:gd name="T14" fmla="*/ 0 w 4"/>
                <a:gd name="T15" fmla="*/ 3175962 h 19"/>
                <a:gd name="T16" fmla="*/ 0 w 4"/>
                <a:gd name="T17" fmla="*/ 3819818 h 19"/>
                <a:gd name="T18" fmla="*/ 0 w 4"/>
                <a:gd name="T19" fmla="*/ 3819818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79" name="Freeform 890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4570" y="2348"/>
              <a:ext cx="14" cy="37"/>
            </a:xfrm>
            <a:custGeom>
              <a:avLst/>
              <a:gdLst>
                <a:gd name="T0" fmla="*/ 0 w 46"/>
                <a:gd name="T1" fmla="*/ 1 h 50"/>
                <a:gd name="T2" fmla="*/ 0 w 46"/>
                <a:gd name="T3" fmla="*/ 0 h 50"/>
                <a:gd name="T4" fmla="*/ 0 w 46"/>
                <a:gd name="T5" fmla="*/ 1 h 50"/>
                <a:gd name="T6" fmla="*/ 0 w 46"/>
                <a:gd name="T7" fmla="*/ 1 h 50"/>
                <a:gd name="T8" fmla="*/ 0 w 46"/>
                <a:gd name="T9" fmla="*/ 1 h 50"/>
                <a:gd name="T10" fmla="*/ 0 w 46"/>
                <a:gd name="T11" fmla="*/ 1 h 50"/>
                <a:gd name="T12" fmla="*/ 0 w 46"/>
                <a:gd name="T13" fmla="*/ 1 h 50"/>
                <a:gd name="T14" fmla="*/ 0 w 46"/>
                <a:gd name="T15" fmla="*/ 1 h 50"/>
                <a:gd name="T16" fmla="*/ 0 w 46"/>
                <a:gd name="T17" fmla="*/ 1 h 50"/>
                <a:gd name="T18" fmla="*/ 0 w 46"/>
                <a:gd name="T19" fmla="*/ 1 h 50"/>
                <a:gd name="T20" fmla="*/ 0 w 46"/>
                <a:gd name="T21" fmla="*/ 1 h 50"/>
                <a:gd name="T22" fmla="*/ 0 w 46"/>
                <a:gd name="T23" fmla="*/ 1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50"/>
                <a:gd name="T38" fmla="*/ 46 w 46"/>
                <a:gd name="T39" fmla="*/ 50 h 5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80" name="Freeform 891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4533" y="2331"/>
              <a:ext cx="20" cy="37"/>
            </a:xfrm>
            <a:custGeom>
              <a:avLst/>
              <a:gdLst>
                <a:gd name="T0" fmla="*/ 0 w 66"/>
                <a:gd name="T1" fmla="*/ 0 h 80"/>
                <a:gd name="T2" fmla="*/ 0 w 66"/>
                <a:gd name="T3" fmla="*/ 0 h 80"/>
                <a:gd name="T4" fmla="*/ 0 w 66"/>
                <a:gd name="T5" fmla="*/ 0 h 80"/>
                <a:gd name="T6" fmla="*/ 0 w 66"/>
                <a:gd name="T7" fmla="*/ 0 h 80"/>
                <a:gd name="T8" fmla="*/ 0 w 66"/>
                <a:gd name="T9" fmla="*/ 0 h 80"/>
                <a:gd name="T10" fmla="*/ 0 w 66"/>
                <a:gd name="T11" fmla="*/ 0 h 80"/>
                <a:gd name="T12" fmla="*/ 0 w 66"/>
                <a:gd name="T13" fmla="*/ 0 h 80"/>
                <a:gd name="T14" fmla="*/ 0 w 66"/>
                <a:gd name="T15" fmla="*/ 0 h 80"/>
                <a:gd name="T16" fmla="*/ 0 w 66"/>
                <a:gd name="T17" fmla="*/ 0 h 80"/>
                <a:gd name="T18" fmla="*/ 0 w 66"/>
                <a:gd name="T19" fmla="*/ 0 h 80"/>
                <a:gd name="T20" fmla="*/ 0 w 66"/>
                <a:gd name="T21" fmla="*/ 0 h 80"/>
                <a:gd name="T22" fmla="*/ 0 w 66"/>
                <a:gd name="T23" fmla="*/ 0 h 80"/>
                <a:gd name="T24" fmla="*/ 0 w 66"/>
                <a:gd name="T25" fmla="*/ 0 h 80"/>
                <a:gd name="T26" fmla="*/ 0 w 66"/>
                <a:gd name="T27" fmla="*/ 0 h 80"/>
                <a:gd name="T28" fmla="*/ 0 w 66"/>
                <a:gd name="T29" fmla="*/ 0 h 80"/>
                <a:gd name="T30" fmla="*/ 0 w 66"/>
                <a:gd name="T31" fmla="*/ 0 h 80"/>
                <a:gd name="T32" fmla="*/ 0 w 66"/>
                <a:gd name="T33" fmla="*/ 0 h 80"/>
                <a:gd name="T34" fmla="*/ 0 w 66"/>
                <a:gd name="T35" fmla="*/ 0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80"/>
                <a:gd name="T59" fmla="*/ 66 w 66"/>
                <a:gd name="T60" fmla="*/ 80 h 8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81" name="Freeform 892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4420" y="2321"/>
              <a:ext cx="5" cy="36"/>
            </a:xfrm>
            <a:custGeom>
              <a:avLst/>
              <a:gdLst>
                <a:gd name="T0" fmla="*/ 0 w 20"/>
                <a:gd name="T1" fmla="*/ 2 h 48"/>
                <a:gd name="T2" fmla="*/ 0 w 20"/>
                <a:gd name="T3" fmla="*/ 2 h 48"/>
                <a:gd name="T4" fmla="*/ 0 w 20"/>
                <a:gd name="T5" fmla="*/ 2 h 48"/>
                <a:gd name="T6" fmla="*/ 0 w 20"/>
                <a:gd name="T7" fmla="*/ 2 h 48"/>
                <a:gd name="T8" fmla="*/ 0 w 20"/>
                <a:gd name="T9" fmla="*/ 2 h 48"/>
                <a:gd name="T10" fmla="*/ 0 w 20"/>
                <a:gd name="T11" fmla="*/ 2 h 48"/>
                <a:gd name="T12" fmla="*/ 0 w 20"/>
                <a:gd name="T13" fmla="*/ 2 h 48"/>
                <a:gd name="T14" fmla="*/ 0 w 20"/>
                <a:gd name="T15" fmla="*/ 2 h 48"/>
                <a:gd name="T16" fmla="*/ 0 w 20"/>
                <a:gd name="T17" fmla="*/ 0 h 48"/>
                <a:gd name="T18" fmla="*/ 0 w 20"/>
                <a:gd name="T19" fmla="*/ 2 h 48"/>
                <a:gd name="T20" fmla="*/ 0 w 20"/>
                <a:gd name="T21" fmla="*/ 2 h 48"/>
                <a:gd name="T22" fmla="*/ 0 w 20"/>
                <a:gd name="T23" fmla="*/ 2 h 48"/>
                <a:gd name="T24" fmla="*/ 0 w 20"/>
                <a:gd name="T25" fmla="*/ 2 h 48"/>
                <a:gd name="T26" fmla="*/ 0 w 20"/>
                <a:gd name="T27" fmla="*/ 2 h 48"/>
                <a:gd name="T28" fmla="*/ 0 w 20"/>
                <a:gd name="T29" fmla="*/ 2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"/>
                <a:gd name="T46" fmla="*/ 0 h 48"/>
                <a:gd name="T47" fmla="*/ 20 w 20"/>
                <a:gd name="T48" fmla="*/ 48 h 4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82" name="Line 893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4437" y="2344"/>
              <a:ext cx="4" cy="4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83" name="Freeform 894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4435" y="2344"/>
              <a:ext cx="6" cy="36"/>
            </a:xfrm>
            <a:custGeom>
              <a:avLst/>
              <a:gdLst>
                <a:gd name="T0" fmla="*/ 0 w 20"/>
                <a:gd name="T1" fmla="*/ 2147483647 h 12"/>
                <a:gd name="T2" fmla="*/ 0 w 20"/>
                <a:gd name="T3" fmla="*/ 2147483647 h 12"/>
                <a:gd name="T4" fmla="*/ 0 w 20"/>
                <a:gd name="T5" fmla="*/ 2147483647 h 12"/>
                <a:gd name="T6" fmla="*/ 0 w 20"/>
                <a:gd name="T7" fmla="*/ 2147483647 h 12"/>
                <a:gd name="T8" fmla="*/ 0 w 20"/>
                <a:gd name="T9" fmla="*/ 2147483647 h 12"/>
                <a:gd name="T10" fmla="*/ 0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2"/>
                <a:gd name="T23" fmla="*/ 20 w 20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84" name="Freeform 895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4368" y="2246"/>
              <a:ext cx="15" cy="36"/>
            </a:xfrm>
            <a:custGeom>
              <a:avLst/>
              <a:gdLst>
                <a:gd name="T0" fmla="*/ 0 w 53"/>
                <a:gd name="T1" fmla="*/ 0 h 30"/>
                <a:gd name="T2" fmla="*/ 0 w 53"/>
                <a:gd name="T3" fmla="*/ 149 h 30"/>
                <a:gd name="T4" fmla="*/ 0 w 53"/>
                <a:gd name="T5" fmla="*/ 521 h 30"/>
                <a:gd name="T6" fmla="*/ 0 w 53"/>
                <a:gd name="T7" fmla="*/ 900 h 30"/>
                <a:gd name="T8" fmla="*/ 0 w 53"/>
                <a:gd name="T9" fmla="*/ 1144 h 30"/>
                <a:gd name="T10" fmla="*/ 0 w 53"/>
                <a:gd name="T11" fmla="*/ 683 h 30"/>
                <a:gd name="T12" fmla="*/ 0 w 53"/>
                <a:gd name="T13" fmla="*/ 215 h 30"/>
                <a:gd name="T14" fmla="*/ 0 w 53"/>
                <a:gd name="T15" fmla="*/ 179 h 30"/>
                <a:gd name="T16" fmla="*/ 0 w 53"/>
                <a:gd name="T17" fmla="*/ 124 h 30"/>
                <a:gd name="T18" fmla="*/ 0 w 53"/>
                <a:gd name="T19" fmla="*/ 124 h 30"/>
                <a:gd name="T20" fmla="*/ 0 w 53"/>
                <a:gd name="T21" fmla="*/ 124 h 30"/>
                <a:gd name="T22" fmla="*/ 0 w 53"/>
                <a:gd name="T23" fmla="*/ 149 h 30"/>
                <a:gd name="T24" fmla="*/ 0 w 53"/>
                <a:gd name="T25" fmla="*/ 215 h 30"/>
                <a:gd name="T26" fmla="*/ 0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3"/>
                <a:gd name="T43" fmla="*/ 0 h 30"/>
                <a:gd name="T44" fmla="*/ 53 w 53"/>
                <a:gd name="T45" fmla="*/ 30 h 3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85" name="Freeform 896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4729" y="2475"/>
              <a:ext cx="7" cy="36"/>
            </a:xfrm>
            <a:custGeom>
              <a:avLst/>
              <a:gdLst>
                <a:gd name="T0" fmla="*/ 0 w 33"/>
                <a:gd name="T1" fmla="*/ 117 h 31"/>
                <a:gd name="T2" fmla="*/ 0 w 33"/>
                <a:gd name="T3" fmla="*/ 410 h 31"/>
                <a:gd name="T4" fmla="*/ 0 w 33"/>
                <a:gd name="T5" fmla="*/ 619 h 31"/>
                <a:gd name="T6" fmla="*/ 0 w 33"/>
                <a:gd name="T7" fmla="*/ 619 h 31"/>
                <a:gd name="T8" fmla="*/ 0 w 33"/>
                <a:gd name="T9" fmla="*/ 619 h 31"/>
                <a:gd name="T10" fmla="*/ 0 w 33"/>
                <a:gd name="T11" fmla="*/ 0 h 31"/>
                <a:gd name="T12" fmla="*/ 0 w 33"/>
                <a:gd name="T13" fmla="*/ 0 h 31"/>
                <a:gd name="T14" fmla="*/ 0 w 33"/>
                <a:gd name="T15" fmla="*/ 0 h 31"/>
                <a:gd name="T16" fmla="*/ 0 w 33"/>
                <a:gd name="T17" fmla="*/ 0 h 31"/>
                <a:gd name="T18" fmla="*/ 0 w 33"/>
                <a:gd name="T19" fmla="*/ 0 h 31"/>
                <a:gd name="T20" fmla="*/ 0 w 33"/>
                <a:gd name="T21" fmla="*/ 11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86" name="Freeform 897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5081" y="2448"/>
              <a:ext cx="19" cy="35"/>
            </a:xfrm>
            <a:custGeom>
              <a:avLst/>
              <a:gdLst>
                <a:gd name="T0" fmla="*/ 0 w 65"/>
                <a:gd name="T1" fmla="*/ 1 h 68"/>
                <a:gd name="T2" fmla="*/ 0 w 65"/>
                <a:gd name="T3" fmla="*/ 1 h 68"/>
                <a:gd name="T4" fmla="*/ 0 w 65"/>
                <a:gd name="T5" fmla="*/ 1 h 68"/>
                <a:gd name="T6" fmla="*/ 0 w 65"/>
                <a:gd name="T7" fmla="*/ 1 h 68"/>
                <a:gd name="T8" fmla="*/ 0 w 65"/>
                <a:gd name="T9" fmla="*/ 1 h 68"/>
                <a:gd name="T10" fmla="*/ 0 w 65"/>
                <a:gd name="T11" fmla="*/ 1 h 68"/>
                <a:gd name="T12" fmla="*/ 0 w 65"/>
                <a:gd name="T13" fmla="*/ 1 h 68"/>
                <a:gd name="T14" fmla="*/ 0 w 65"/>
                <a:gd name="T15" fmla="*/ 1 h 68"/>
                <a:gd name="T16" fmla="*/ 0 w 65"/>
                <a:gd name="T17" fmla="*/ 1 h 68"/>
                <a:gd name="T18" fmla="*/ 0 w 65"/>
                <a:gd name="T19" fmla="*/ 1 h 68"/>
                <a:gd name="T20" fmla="*/ 0 w 65"/>
                <a:gd name="T21" fmla="*/ 1 h 68"/>
                <a:gd name="T22" fmla="*/ 0 w 65"/>
                <a:gd name="T23" fmla="*/ 1 h 68"/>
                <a:gd name="T24" fmla="*/ 0 w 65"/>
                <a:gd name="T25" fmla="*/ 1 h 68"/>
                <a:gd name="T26" fmla="*/ 0 w 65"/>
                <a:gd name="T27" fmla="*/ 1 h 68"/>
                <a:gd name="T28" fmla="*/ 0 w 65"/>
                <a:gd name="T29" fmla="*/ 1 h 68"/>
                <a:gd name="T30" fmla="*/ 0 w 65"/>
                <a:gd name="T31" fmla="*/ 1 h 68"/>
                <a:gd name="T32" fmla="*/ 0 w 65"/>
                <a:gd name="T33" fmla="*/ 0 h 68"/>
                <a:gd name="T34" fmla="*/ 0 w 65"/>
                <a:gd name="T35" fmla="*/ 0 h 68"/>
                <a:gd name="T36" fmla="*/ 0 w 65"/>
                <a:gd name="T37" fmla="*/ 0 h 68"/>
                <a:gd name="T38" fmla="*/ 0 w 65"/>
                <a:gd name="T39" fmla="*/ 1 h 68"/>
                <a:gd name="T40" fmla="*/ 0 w 65"/>
                <a:gd name="T41" fmla="*/ 1 h 68"/>
                <a:gd name="T42" fmla="*/ 0 w 65"/>
                <a:gd name="T43" fmla="*/ 1 h 68"/>
                <a:gd name="T44" fmla="*/ 0 w 65"/>
                <a:gd name="T45" fmla="*/ 1 h 68"/>
                <a:gd name="T46" fmla="*/ 0 w 65"/>
                <a:gd name="T47" fmla="*/ 1 h 68"/>
                <a:gd name="T48" fmla="*/ 0 w 65"/>
                <a:gd name="T49" fmla="*/ 1 h 68"/>
                <a:gd name="T50" fmla="*/ 0 w 65"/>
                <a:gd name="T51" fmla="*/ 1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5"/>
                <a:gd name="T79" fmla="*/ 0 h 68"/>
                <a:gd name="T80" fmla="*/ 65 w 65"/>
                <a:gd name="T81" fmla="*/ 68 h 6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87" name="Freeform 898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4356" y="2185"/>
              <a:ext cx="188" cy="232"/>
            </a:xfrm>
            <a:custGeom>
              <a:avLst/>
              <a:gdLst>
                <a:gd name="T0" fmla="*/ 0 w 625"/>
                <a:gd name="T1" fmla="*/ 0 h 694"/>
                <a:gd name="T2" fmla="*/ 0 w 625"/>
                <a:gd name="T3" fmla="*/ 0 h 694"/>
                <a:gd name="T4" fmla="*/ 0 w 625"/>
                <a:gd name="T5" fmla="*/ 0 h 694"/>
                <a:gd name="T6" fmla="*/ 0 w 625"/>
                <a:gd name="T7" fmla="*/ 0 h 694"/>
                <a:gd name="T8" fmla="*/ 0 w 625"/>
                <a:gd name="T9" fmla="*/ 0 h 694"/>
                <a:gd name="T10" fmla="*/ 0 w 625"/>
                <a:gd name="T11" fmla="*/ 0 h 694"/>
                <a:gd name="T12" fmla="*/ 0 w 625"/>
                <a:gd name="T13" fmla="*/ 0 h 694"/>
                <a:gd name="T14" fmla="*/ 0 w 625"/>
                <a:gd name="T15" fmla="*/ 0 h 694"/>
                <a:gd name="T16" fmla="*/ 0 w 625"/>
                <a:gd name="T17" fmla="*/ 0 h 694"/>
                <a:gd name="T18" fmla="*/ 0 w 625"/>
                <a:gd name="T19" fmla="*/ 0 h 694"/>
                <a:gd name="T20" fmla="*/ 0 w 625"/>
                <a:gd name="T21" fmla="*/ 0 h 694"/>
                <a:gd name="T22" fmla="*/ 0 w 625"/>
                <a:gd name="T23" fmla="*/ 0 h 694"/>
                <a:gd name="T24" fmla="*/ 0 w 625"/>
                <a:gd name="T25" fmla="*/ 0 h 694"/>
                <a:gd name="T26" fmla="*/ 0 w 625"/>
                <a:gd name="T27" fmla="*/ 0 h 694"/>
                <a:gd name="T28" fmla="*/ 0 w 625"/>
                <a:gd name="T29" fmla="*/ 0 h 694"/>
                <a:gd name="T30" fmla="*/ 0 w 625"/>
                <a:gd name="T31" fmla="*/ 0 h 694"/>
                <a:gd name="T32" fmla="*/ 0 w 625"/>
                <a:gd name="T33" fmla="*/ 0 h 694"/>
                <a:gd name="T34" fmla="*/ 0 w 625"/>
                <a:gd name="T35" fmla="*/ 0 h 694"/>
                <a:gd name="T36" fmla="*/ 0 w 625"/>
                <a:gd name="T37" fmla="*/ 0 h 694"/>
                <a:gd name="T38" fmla="*/ 0 w 625"/>
                <a:gd name="T39" fmla="*/ 0 h 694"/>
                <a:gd name="T40" fmla="*/ 0 w 625"/>
                <a:gd name="T41" fmla="*/ 0 h 694"/>
                <a:gd name="T42" fmla="*/ 0 w 625"/>
                <a:gd name="T43" fmla="*/ 0 h 694"/>
                <a:gd name="T44" fmla="*/ 0 w 625"/>
                <a:gd name="T45" fmla="*/ 0 h 694"/>
                <a:gd name="T46" fmla="*/ 0 w 625"/>
                <a:gd name="T47" fmla="*/ 0 h 694"/>
                <a:gd name="T48" fmla="*/ 0 w 625"/>
                <a:gd name="T49" fmla="*/ 0 h 694"/>
                <a:gd name="T50" fmla="*/ 0 w 625"/>
                <a:gd name="T51" fmla="*/ 0 h 694"/>
                <a:gd name="T52" fmla="*/ 0 w 625"/>
                <a:gd name="T53" fmla="*/ 0 h 694"/>
                <a:gd name="T54" fmla="*/ 0 w 625"/>
                <a:gd name="T55" fmla="*/ 0 h 694"/>
                <a:gd name="T56" fmla="*/ 0 w 625"/>
                <a:gd name="T57" fmla="*/ 0 h 694"/>
                <a:gd name="T58" fmla="*/ 0 w 625"/>
                <a:gd name="T59" fmla="*/ 0 h 694"/>
                <a:gd name="T60" fmla="*/ 0 w 625"/>
                <a:gd name="T61" fmla="*/ 0 h 694"/>
                <a:gd name="T62" fmla="*/ 0 w 625"/>
                <a:gd name="T63" fmla="*/ 0 h 694"/>
                <a:gd name="T64" fmla="*/ 0 w 625"/>
                <a:gd name="T65" fmla="*/ 0 h 694"/>
                <a:gd name="T66" fmla="*/ 0 w 625"/>
                <a:gd name="T67" fmla="*/ 0 h 694"/>
                <a:gd name="T68" fmla="*/ 0 w 625"/>
                <a:gd name="T69" fmla="*/ 0 h 694"/>
                <a:gd name="T70" fmla="*/ 0 w 625"/>
                <a:gd name="T71" fmla="*/ 0 h 694"/>
                <a:gd name="T72" fmla="*/ 0 w 625"/>
                <a:gd name="T73" fmla="*/ 0 h 694"/>
                <a:gd name="T74" fmla="*/ 0 w 625"/>
                <a:gd name="T75" fmla="*/ 0 h 694"/>
                <a:gd name="T76" fmla="*/ 0 w 625"/>
                <a:gd name="T77" fmla="*/ 0 h 694"/>
                <a:gd name="T78" fmla="*/ 0 w 625"/>
                <a:gd name="T79" fmla="*/ 0 h 694"/>
                <a:gd name="T80" fmla="*/ 0 w 625"/>
                <a:gd name="T81" fmla="*/ 0 h 694"/>
                <a:gd name="T82" fmla="*/ 0 w 625"/>
                <a:gd name="T83" fmla="*/ 0 h 694"/>
                <a:gd name="T84" fmla="*/ 0 w 625"/>
                <a:gd name="T85" fmla="*/ 0 h 694"/>
                <a:gd name="T86" fmla="*/ 0 w 625"/>
                <a:gd name="T87" fmla="*/ 0 h 694"/>
                <a:gd name="T88" fmla="*/ 0 w 625"/>
                <a:gd name="T89" fmla="*/ 0 h 694"/>
                <a:gd name="T90" fmla="*/ 0 w 625"/>
                <a:gd name="T91" fmla="*/ 0 h 694"/>
                <a:gd name="T92" fmla="*/ 0 w 625"/>
                <a:gd name="T93" fmla="*/ 0 h 694"/>
                <a:gd name="T94" fmla="*/ 0 w 625"/>
                <a:gd name="T95" fmla="*/ 0 h 694"/>
                <a:gd name="T96" fmla="*/ 0 w 625"/>
                <a:gd name="T97" fmla="*/ 0 h 694"/>
                <a:gd name="T98" fmla="*/ 0 w 625"/>
                <a:gd name="T99" fmla="*/ 0 h 694"/>
                <a:gd name="T100" fmla="*/ 0 w 625"/>
                <a:gd name="T101" fmla="*/ 0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25"/>
                <a:gd name="T154" fmla="*/ 0 h 694"/>
                <a:gd name="T155" fmla="*/ 625 w 625"/>
                <a:gd name="T156" fmla="*/ 694 h 6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88" name="Freeform 899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4589" y="2216"/>
              <a:ext cx="173" cy="162"/>
            </a:xfrm>
            <a:custGeom>
              <a:avLst/>
              <a:gdLst>
                <a:gd name="T0" fmla="*/ 0 w 585"/>
                <a:gd name="T1" fmla="*/ 0 h 493"/>
                <a:gd name="T2" fmla="*/ 0 w 585"/>
                <a:gd name="T3" fmla="*/ 0 h 493"/>
                <a:gd name="T4" fmla="*/ 0 w 585"/>
                <a:gd name="T5" fmla="*/ 0 h 493"/>
                <a:gd name="T6" fmla="*/ 0 w 585"/>
                <a:gd name="T7" fmla="*/ 0 h 493"/>
                <a:gd name="T8" fmla="*/ 0 w 585"/>
                <a:gd name="T9" fmla="*/ 0 h 493"/>
                <a:gd name="T10" fmla="*/ 0 w 585"/>
                <a:gd name="T11" fmla="*/ 0 h 493"/>
                <a:gd name="T12" fmla="*/ 0 w 585"/>
                <a:gd name="T13" fmla="*/ 0 h 493"/>
                <a:gd name="T14" fmla="*/ 0 w 585"/>
                <a:gd name="T15" fmla="*/ 0 h 493"/>
                <a:gd name="T16" fmla="*/ 0 w 585"/>
                <a:gd name="T17" fmla="*/ 0 h 493"/>
                <a:gd name="T18" fmla="*/ 0 w 585"/>
                <a:gd name="T19" fmla="*/ 0 h 493"/>
                <a:gd name="T20" fmla="*/ 0 w 585"/>
                <a:gd name="T21" fmla="*/ 0 h 493"/>
                <a:gd name="T22" fmla="*/ 0 w 585"/>
                <a:gd name="T23" fmla="*/ 0 h 493"/>
                <a:gd name="T24" fmla="*/ 0 w 585"/>
                <a:gd name="T25" fmla="*/ 0 h 493"/>
                <a:gd name="T26" fmla="*/ 0 w 585"/>
                <a:gd name="T27" fmla="*/ 0 h 493"/>
                <a:gd name="T28" fmla="*/ 0 w 585"/>
                <a:gd name="T29" fmla="*/ 0 h 493"/>
                <a:gd name="T30" fmla="*/ 0 w 585"/>
                <a:gd name="T31" fmla="*/ 0 h 493"/>
                <a:gd name="T32" fmla="*/ 0 w 585"/>
                <a:gd name="T33" fmla="*/ 0 h 493"/>
                <a:gd name="T34" fmla="*/ 0 w 585"/>
                <a:gd name="T35" fmla="*/ 0 h 493"/>
                <a:gd name="T36" fmla="*/ 0 w 585"/>
                <a:gd name="T37" fmla="*/ 0 h 493"/>
                <a:gd name="T38" fmla="*/ 0 w 585"/>
                <a:gd name="T39" fmla="*/ 0 h 493"/>
                <a:gd name="T40" fmla="*/ 0 w 585"/>
                <a:gd name="T41" fmla="*/ 0 h 493"/>
                <a:gd name="T42" fmla="*/ 0 w 585"/>
                <a:gd name="T43" fmla="*/ 0 h 493"/>
                <a:gd name="T44" fmla="*/ 0 w 585"/>
                <a:gd name="T45" fmla="*/ 0 h 493"/>
                <a:gd name="T46" fmla="*/ 0 w 585"/>
                <a:gd name="T47" fmla="*/ 0 h 493"/>
                <a:gd name="T48" fmla="*/ 0 w 585"/>
                <a:gd name="T49" fmla="*/ 0 h 493"/>
                <a:gd name="T50" fmla="*/ 0 w 585"/>
                <a:gd name="T51" fmla="*/ 0 h 493"/>
                <a:gd name="T52" fmla="*/ 0 w 585"/>
                <a:gd name="T53" fmla="*/ 0 h 493"/>
                <a:gd name="T54" fmla="*/ 0 w 585"/>
                <a:gd name="T55" fmla="*/ 0 h 493"/>
                <a:gd name="T56" fmla="*/ 0 w 585"/>
                <a:gd name="T57" fmla="*/ 0 h 493"/>
                <a:gd name="T58" fmla="*/ 0 w 585"/>
                <a:gd name="T59" fmla="*/ 0 h 493"/>
                <a:gd name="T60" fmla="*/ 0 w 585"/>
                <a:gd name="T61" fmla="*/ 0 h 493"/>
                <a:gd name="T62" fmla="*/ 0 w 585"/>
                <a:gd name="T63" fmla="*/ 0 h 493"/>
                <a:gd name="T64" fmla="*/ 0 w 585"/>
                <a:gd name="T65" fmla="*/ 0 h 493"/>
                <a:gd name="T66" fmla="*/ 0 w 585"/>
                <a:gd name="T67" fmla="*/ 0 h 493"/>
                <a:gd name="T68" fmla="*/ 0 w 585"/>
                <a:gd name="T69" fmla="*/ 0 h 493"/>
                <a:gd name="T70" fmla="*/ 0 w 585"/>
                <a:gd name="T71" fmla="*/ 0 h 493"/>
                <a:gd name="T72" fmla="*/ 0 w 585"/>
                <a:gd name="T73" fmla="*/ 0 h 493"/>
                <a:gd name="T74" fmla="*/ 0 w 585"/>
                <a:gd name="T75" fmla="*/ 0 h 493"/>
                <a:gd name="T76" fmla="*/ 0 w 585"/>
                <a:gd name="T77" fmla="*/ 0 h 493"/>
                <a:gd name="T78" fmla="*/ 0 w 585"/>
                <a:gd name="T79" fmla="*/ 0 h 493"/>
                <a:gd name="T80" fmla="*/ 0 w 585"/>
                <a:gd name="T81" fmla="*/ 0 h 493"/>
                <a:gd name="T82" fmla="*/ 0 w 585"/>
                <a:gd name="T83" fmla="*/ 0 h 493"/>
                <a:gd name="T84" fmla="*/ 0 w 585"/>
                <a:gd name="T85" fmla="*/ 0 h 493"/>
                <a:gd name="T86" fmla="*/ 0 w 585"/>
                <a:gd name="T87" fmla="*/ 0 h 493"/>
                <a:gd name="T88" fmla="*/ 0 w 585"/>
                <a:gd name="T89" fmla="*/ 0 h 493"/>
                <a:gd name="T90" fmla="*/ 0 w 585"/>
                <a:gd name="T91" fmla="*/ 0 h 493"/>
                <a:gd name="T92" fmla="*/ 0 w 585"/>
                <a:gd name="T93" fmla="*/ 0 h 493"/>
                <a:gd name="T94" fmla="*/ 0 w 585"/>
                <a:gd name="T95" fmla="*/ 0 h 493"/>
                <a:gd name="T96" fmla="*/ 0 w 585"/>
                <a:gd name="T97" fmla="*/ 0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85"/>
                <a:gd name="T148" fmla="*/ 0 h 493"/>
                <a:gd name="T149" fmla="*/ 585 w 585"/>
                <a:gd name="T150" fmla="*/ 493 h 49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89" name="Freeform 900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4832" y="2472"/>
              <a:ext cx="63" cy="36"/>
            </a:xfrm>
            <a:custGeom>
              <a:avLst/>
              <a:gdLst>
                <a:gd name="T0" fmla="*/ 0 w 212"/>
                <a:gd name="T1" fmla="*/ 0 h 105"/>
                <a:gd name="T2" fmla="*/ 0 w 212"/>
                <a:gd name="T3" fmla="*/ 0 h 105"/>
                <a:gd name="T4" fmla="*/ 0 w 212"/>
                <a:gd name="T5" fmla="*/ 0 h 105"/>
                <a:gd name="T6" fmla="*/ 0 w 212"/>
                <a:gd name="T7" fmla="*/ 0 h 105"/>
                <a:gd name="T8" fmla="*/ 0 w 212"/>
                <a:gd name="T9" fmla="*/ 0 h 105"/>
                <a:gd name="T10" fmla="*/ 0 w 212"/>
                <a:gd name="T11" fmla="*/ 0 h 105"/>
                <a:gd name="T12" fmla="*/ 0 w 212"/>
                <a:gd name="T13" fmla="*/ 0 h 105"/>
                <a:gd name="T14" fmla="*/ 0 w 212"/>
                <a:gd name="T15" fmla="*/ 0 h 105"/>
                <a:gd name="T16" fmla="*/ 0 w 212"/>
                <a:gd name="T17" fmla="*/ 0 h 105"/>
                <a:gd name="T18" fmla="*/ 0 w 212"/>
                <a:gd name="T19" fmla="*/ 0 h 105"/>
                <a:gd name="T20" fmla="*/ 0 w 212"/>
                <a:gd name="T21" fmla="*/ 0 h 105"/>
                <a:gd name="T22" fmla="*/ 0 w 212"/>
                <a:gd name="T23" fmla="*/ 0 h 105"/>
                <a:gd name="T24" fmla="*/ 0 w 212"/>
                <a:gd name="T25" fmla="*/ 0 h 105"/>
                <a:gd name="T26" fmla="*/ 0 w 212"/>
                <a:gd name="T27" fmla="*/ 0 h 105"/>
                <a:gd name="T28" fmla="*/ 0 w 212"/>
                <a:gd name="T29" fmla="*/ 0 h 105"/>
                <a:gd name="T30" fmla="*/ 0 w 212"/>
                <a:gd name="T31" fmla="*/ 0 h 105"/>
                <a:gd name="T32" fmla="*/ 0 w 212"/>
                <a:gd name="T33" fmla="*/ 0 h 105"/>
                <a:gd name="T34" fmla="*/ 0 w 212"/>
                <a:gd name="T35" fmla="*/ 0 h 105"/>
                <a:gd name="T36" fmla="*/ 0 w 212"/>
                <a:gd name="T37" fmla="*/ 0 h 105"/>
                <a:gd name="T38" fmla="*/ 0 w 212"/>
                <a:gd name="T39" fmla="*/ 0 h 105"/>
                <a:gd name="T40" fmla="*/ 0 w 212"/>
                <a:gd name="T41" fmla="*/ 0 h 105"/>
                <a:gd name="T42" fmla="*/ 0 w 212"/>
                <a:gd name="T43" fmla="*/ 0 h 105"/>
                <a:gd name="T44" fmla="*/ 0 w 212"/>
                <a:gd name="T45" fmla="*/ 0 h 105"/>
                <a:gd name="T46" fmla="*/ 0 w 212"/>
                <a:gd name="T47" fmla="*/ 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12"/>
                <a:gd name="T73" fmla="*/ 0 h 105"/>
                <a:gd name="T74" fmla="*/ 212 w 212"/>
                <a:gd name="T75" fmla="*/ 105 h 10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90" name="Freeform 901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4911" y="2262"/>
              <a:ext cx="29" cy="56"/>
            </a:xfrm>
            <a:custGeom>
              <a:avLst/>
              <a:gdLst>
                <a:gd name="T0" fmla="*/ 0 w 92"/>
                <a:gd name="T1" fmla="*/ 0 h 166"/>
                <a:gd name="T2" fmla="*/ 0 w 92"/>
                <a:gd name="T3" fmla="*/ 0 h 166"/>
                <a:gd name="T4" fmla="*/ 0 w 92"/>
                <a:gd name="T5" fmla="*/ 0 h 166"/>
                <a:gd name="T6" fmla="*/ 0 w 92"/>
                <a:gd name="T7" fmla="*/ 0 h 166"/>
                <a:gd name="T8" fmla="*/ 0 w 92"/>
                <a:gd name="T9" fmla="*/ 0 h 166"/>
                <a:gd name="T10" fmla="*/ 0 w 92"/>
                <a:gd name="T11" fmla="*/ 0 h 166"/>
                <a:gd name="T12" fmla="*/ 0 w 92"/>
                <a:gd name="T13" fmla="*/ 0 h 166"/>
                <a:gd name="T14" fmla="*/ 0 w 92"/>
                <a:gd name="T15" fmla="*/ 0 h 166"/>
                <a:gd name="T16" fmla="*/ 0 w 92"/>
                <a:gd name="T17" fmla="*/ 0 h 166"/>
                <a:gd name="T18" fmla="*/ 0 w 92"/>
                <a:gd name="T19" fmla="*/ 0 h 166"/>
                <a:gd name="T20" fmla="*/ 0 w 92"/>
                <a:gd name="T21" fmla="*/ 0 h 166"/>
                <a:gd name="T22" fmla="*/ 0 w 92"/>
                <a:gd name="T23" fmla="*/ 0 h 166"/>
                <a:gd name="T24" fmla="*/ 0 w 92"/>
                <a:gd name="T25" fmla="*/ 0 h 166"/>
                <a:gd name="T26" fmla="*/ 0 w 92"/>
                <a:gd name="T27" fmla="*/ 0 h 166"/>
                <a:gd name="T28" fmla="*/ 0 w 92"/>
                <a:gd name="T29" fmla="*/ 0 h 166"/>
                <a:gd name="T30" fmla="*/ 0 w 92"/>
                <a:gd name="T31" fmla="*/ 0 h 166"/>
                <a:gd name="T32" fmla="*/ 0 w 92"/>
                <a:gd name="T33" fmla="*/ 0 h 166"/>
                <a:gd name="T34" fmla="*/ 0 w 92"/>
                <a:gd name="T35" fmla="*/ 0 h 166"/>
                <a:gd name="T36" fmla="*/ 0 w 92"/>
                <a:gd name="T37" fmla="*/ 0 h 166"/>
                <a:gd name="T38" fmla="*/ 0 w 92"/>
                <a:gd name="T39" fmla="*/ 0 h 166"/>
                <a:gd name="T40" fmla="*/ 0 w 92"/>
                <a:gd name="T41" fmla="*/ 0 h 166"/>
                <a:gd name="T42" fmla="*/ 0 w 92"/>
                <a:gd name="T43" fmla="*/ 0 h 166"/>
                <a:gd name="T44" fmla="*/ 0 w 92"/>
                <a:gd name="T45" fmla="*/ 0 h 166"/>
                <a:gd name="T46" fmla="*/ 0 w 92"/>
                <a:gd name="T47" fmla="*/ 0 h 166"/>
                <a:gd name="T48" fmla="*/ 0 w 92"/>
                <a:gd name="T49" fmla="*/ 0 h 166"/>
                <a:gd name="T50" fmla="*/ 0 w 92"/>
                <a:gd name="T51" fmla="*/ 0 h 166"/>
                <a:gd name="T52" fmla="*/ 0 w 92"/>
                <a:gd name="T53" fmla="*/ 0 h 166"/>
                <a:gd name="T54" fmla="*/ 0 w 92"/>
                <a:gd name="T55" fmla="*/ 0 h 166"/>
                <a:gd name="T56" fmla="*/ 0 w 92"/>
                <a:gd name="T57" fmla="*/ 0 h 166"/>
                <a:gd name="T58" fmla="*/ 0 w 92"/>
                <a:gd name="T59" fmla="*/ 0 h 166"/>
                <a:gd name="T60" fmla="*/ 0 w 92"/>
                <a:gd name="T61" fmla="*/ 0 h 166"/>
                <a:gd name="T62" fmla="*/ 0 w 92"/>
                <a:gd name="T63" fmla="*/ 0 h 166"/>
                <a:gd name="T64" fmla="*/ 0 w 92"/>
                <a:gd name="T65" fmla="*/ 0 h 166"/>
                <a:gd name="T66" fmla="*/ 0 w 92"/>
                <a:gd name="T67" fmla="*/ 0 h 166"/>
                <a:gd name="T68" fmla="*/ 0 w 92"/>
                <a:gd name="T69" fmla="*/ 0 h 166"/>
                <a:gd name="T70" fmla="*/ 0 w 92"/>
                <a:gd name="T71" fmla="*/ 0 h 166"/>
                <a:gd name="T72" fmla="*/ 0 w 92"/>
                <a:gd name="T73" fmla="*/ 0 h 166"/>
                <a:gd name="T74" fmla="*/ 0 w 92"/>
                <a:gd name="T75" fmla="*/ 0 h 166"/>
                <a:gd name="T76" fmla="*/ 0 w 92"/>
                <a:gd name="T77" fmla="*/ 0 h 166"/>
                <a:gd name="T78" fmla="*/ 0 w 92"/>
                <a:gd name="T79" fmla="*/ 0 h 166"/>
                <a:gd name="T80" fmla="*/ 0 w 92"/>
                <a:gd name="T81" fmla="*/ 0 h 166"/>
                <a:gd name="T82" fmla="*/ 0 w 92"/>
                <a:gd name="T83" fmla="*/ 0 h 166"/>
                <a:gd name="T84" fmla="*/ 0 w 92"/>
                <a:gd name="T85" fmla="*/ 0 h 166"/>
                <a:gd name="T86" fmla="*/ 0 w 92"/>
                <a:gd name="T87" fmla="*/ 0 h 166"/>
                <a:gd name="T88" fmla="*/ 0 w 92"/>
                <a:gd name="T89" fmla="*/ 0 h 166"/>
                <a:gd name="T90" fmla="*/ 0 w 92"/>
                <a:gd name="T91" fmla="*/ 0 h 166"/>
                <a:gd name="T92" fmla="*/ 0 w 92"/>
                <a:gd name="T93" fmla="*/ 0 h 166"/>
                <a:gd name="T94" fmla="*/ 0 w 92"/>
                <a:gd name="T95" fmla="*/ 0 h 166"/>
                <a:gd name="T96" fmla="*/ 0 w 92"/>
                <a:gd name="T97" fmla="*/ 0 h 166"/>
                <a:gd name="T98" fmla="*/ 0 w 92"/>
                <a:gd name="T99" fmla="*/ 0 h 166"/>
                <a:gd name="T100" fmla="*/ 0 w 92"/>
                <a:gd name="T101" fmla="*/ 0 h 166"/>
                <a:gd name="T102" fmla="*/ 0 w 92"/>
                <a:gd name="T103" fmla="*/ 0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2"/>
                <a:gd name="T157" fmla="*/ 0 h 166"/>
                <a:gd name="T158" fmla="*/ 92 w 92"/>
                <a:gd name="T159" fmla="*/ 166 h 16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91" name="Freeform 902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4919" y="2353"/>
              <a:ext cx="49" cy="35"/>
            </a:xfrm>
            <a:custGeom>
              <a:avLst/>
              <a:gdLst>
                <a:gd name="T0" fmla="*/ 0 w 166"/>
                <a:gd name="T1" fmla="*/ 0 h 62"/>
                <a:gd name="T2" fmla="*/ 0 w 166"/>
                <a:gd name="T3" fmla="*/ 1 h 62"/>
                <a:gd name="T4" fmla="*/ 0 w 166"/>
                <a:gd name="T5" fmla="*/ 1 h 62"/>
                <a:gd name="T6" fmla="*/ 0 w 166"/>
                <a:gd name="T7" fmla="*/ 1 h 62"/>
                <a:gd name="T8" fmla="*/ 0 w 166"/>
                <a:gd name="T9" fmla="*/ 1 h 62"/>
                <a:gd name="T10" fmla="*/ 0 w 166"/>
                <a:gd name="T11" fmla="*/ 1 h 62"/>
                <a:gd name="T12" fmla="*/ 0 w 166"/>
                <a:gd name="T13" fmla="*/ 1 h 62"/>
                <a:gd name="T14" fmla="*/ 0 w 166"/>
                <a:gd name="T15" fmla="*/ 1 h 62"/>
                <a:gd name="T16" fmla="*/ 0 w 166"/>
                <a:gd name="T17" fmla="*/ 1 h 62"/>
                <a:gd name="T18" fmla="*/ 0 w 166"/>
                <a:gd name="T19" fmla="*/ 1 h 62"/>
                <a:gd name="T20" fmla="*/ 0 w 166"/>
                <a:gd name="T21" fmla="*/ 0 h 62"/>
                <a:gd name="T22" fmla="*/ 0 w 166"/>
                <a:gd name="T23" fmla="*/ 1 h 62"/>
                <a:gd name="T24" fmla="*/ 0 w 166"/>
                <a:gd name="T25" fmla="*/ 1 h 62"/>
                <a:gd name="T26" fmla="*/ 0 w 166"/>
                <a:gd name="T27" fmla="*/ 1 h 62"/>
                <a:gd name="T28" fmla="*/ 0 w 166"/>
                <a:gd name="T29" fmla="*/ 1 h 62"/>
                <a:gd name="T30" fmla="*/ 0 w 166"/>
                <a:gd name="T31" fmla="*/ 1 h 62"/>
                <a:gd name="T32" fmla="*/ 0 w 166"/>
                <a:gd name="T33" fmla="*/ 1 h 62"/>
                <a:gd name="T34" fmla="*/ 0 w 166"/>
                <a:gd name="T35" fmla="*/ 1 h 62"/>
                <a:gd name="T36" fmla="*/ 0 w 166"/>
                <a:gd name="T37" fmla="*/ 1 h 62"/>
                <a:gd name="T38" fmla="*/ 0 w 166"/>
                <a:gd name="T39" fmla="*/ 1 h 62"/>
                <a:gd name="T40" fmla="*/ 0 w 166"/>
                <a:gd name="T41" fmla="*/ 1 h 62"/>
                <a:gd name="T42" fmla="*/ 0 w 166"/>
                <a:gd name="T43" fmla="*/ 1 h 62"/>
                <a:gd name="T44" fmla="*/ 0 w 166"/>
                <a:gd name="T45" fmla="*/ 1 h 62"/>
                <a:gd name="T46" fmla="*/ 0 w 166"/>
                <a:gd name="T47" fmla="*/ 1 h 62"/>
                <a:gd name="T48" fmla="*/ 0 w 166"/>
                <a:gd name="T49" fmla="*/ 1 h 62"/>
                <a:gd name="T50" fmla="*/ 0 w 166"/>
                <a:gd name="T51" fmla="*/ 1 h 62"/>
                <a:gd name="T52" fmla="*/ 0 w 166"/>
                <a:gd name="T53" fmla="*/ 1 h 62"/>
                <a:gd name="T54" fmla="*/ 0 w 166"/>
                <a:gd name="T55" fmla="*/ 1 h 62"/>
                <a:gd name="T56" fmla="*/ 0 w 166"/>
                <a:gd name="T57" fmla="*/ 1 h 62"/>
                <a:gd name="T58" fmla="*/ 0 w 166"/>
                <a:gd name="T59" fmla="*/ 1 h 62"/>
                <a:gd name="T60" fmla="*/ 0 w 166"/>
                <a:gd name="T61" fmla="*/ 1 h 62"/>
                <a:gd name="T62" fmla="*/ 0 w 166"/>
                <a:gd name="T63" fmla="*/ 1 h 62"/>
                <a:gd name="T64" fmla="*/ 0 w 166"/>
                <a:gd name="T65" fmla="*/ 1 h 62"/>
                <a:gd name="T66" fmla="*/ 0 w 166"/>
                <a:gd name="T67" fmla="*/ 1 h 62"/>
                <a:gd name="T68" fmla="*/ 0 w 166"/>
                <a:gd name="T69" fmla="*/ 1 h 62"/>
                <a:gd name="T70" fmla="*/ 0 w 166"/>
                <a:gd name="T71" fmla="*/ 1 h 62"/>
                <a:gd name="T72" fmla="*/ 0 w 166"/>
                <a:gd name="T73" fmla="*/ 1 h 62"/>
                <a:gd name="T74" fmla="*/ 0 w 166"/>
                <a:gd name="T75" fmla="*/ 1 h 62"/>
                <a:gd name="T76" fmla="*/ 0 w 166"/>
                <a:gd name="T77" fmla="*/ 1 h 62"/>
                <a:gd name="T78" fmla="*/ 0 w 166"/>
                <a:gd name="T79" fmla="*/ 1 h 62"/>
                <a:gd name="T80" fmla="*/ 0 w 166"/>
                <a:gd name="T81" fmla="*/ 1 h 62"/>
                <a:gd name="T82" fmla="*/ 0 w 166"/>
                <a:gd name="T83" fmla="*/ 1 h 62"/>
                <a:gd name="T84" fmla="*/ 0 w 166"/>
                <a:gd name="T85" fmla="*/ 1 h 62"/>
                <a:gd name="T86" fmla="*/ 0 w 166"/>
                <a:gd name="T87" fmla="*/ 1 h 62"/>
                <a:gd name="T88" fmla="*/ 0 w 166"/>
                <a:gd name="T89" fmla="*/ 1 h 62"/>
                <a:gd name="T90" fmla="*/ 0 w 166"/>
                <a:gd name="T91" fmla="*/ 1 h 62"/>
                <a:gd name="T92" fmla="*/ 0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6"/>
                <a:gd name="T142" fmla="*/ 0 h 62"/>
                <a:gd name="T143" fmla="*/ 166 w 166"/>
                <a:gd name="T144" fmla="*/ 62 h 6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92" name="Freeform 903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4971" y="2305"/>
              <a:ext cx="59" cy="40"/>
            </a:xfrm>
            <a:custGeom>
              <a:avLst/>
              <a:gdLst>
                <a:gd name="T0" fmla="*/ 0 w 193"/>
                <a:gd name="T1" fmla="*/ 0 h 121"/>
                <a:gd name="T2" fmla="*/ 0 w 193"/>
                <a:gd name="T3" fmla="*/ 0 h 121"/>
                <a:gd name="T4" fmla="*/ 0 w 193"/>
                <a:gd name="T5" fmla="*/ 0 h 121"/>
                <a:gd name="T6" fmla="*/ 0 w 193"/>
                <a:gd name="T7" fmla="*/ 0 h 121"/>
                <a:gd name="T8" fmla="*/ 0 w 193"/>
                <a:gd name="T9" fmla="*/ 0 h 121"/>
                <a:gd name="T10" fmla="*/ 0 w 193"/>
                <a:gd name="T11" fmla="*/ 0 h 121"/>
                <a:gd name="T12" fmla="*/ 0 w 193"/>
                <a:gd name="T13" fmla="*/ 0 h 121"/>
                <a:gd name="T14" fmla="*/ 0 w 193"/>
                <a:gd name="T15" fmla="*/ 0 h 121"/>
                <a:gd name="T16" fmla="*/ 0 w 193"/>
                <a:gd name="T17" fmla="*/ 0 h 121"/>
                <a:gd name="T18" fmla="*/ 0 w 193"/>
                <a:gd name="T19" fmla="*/ 0 h 121"/>
                <a:gd name="T20" fmla="*/ 0 w 193"/>
                <a:gd name="T21" fmla="*/ 0 h 121"/>
                <a:gd name="T22" fmla="*/ 0 w 193"/>
                <a:gd name="T23" fmla="*/ 0 h 121"/>
                <a:gd name="T24" fmla="*/ 0 w 193"/>
                <a:gd name="T25" fmla="*/ 0 h 121"/>
                <a:gd name="T26" fmla="*/ 0 w 193"/>
                <a:gd name="T27" fmla="*/ 0 h 121"/>
                <a:gd name="T28" fmla="*/ 0 w 193"/>
                <a:gd name="T29" fmla="*/ 0 h 121"/>
                <a:gd name="T30" fmla="*/ 0 w 193"/>
                <a:gd name="T31" fmla="*/ 0 h 121"/>
                <a:gd name="T32" fmla="*/ 0 w 193"/>
                <a:gd name="T33" fmla="*/ 0 h 121"/>
                <a:gd name="T34" fmla="*/ 0 w 193"/>
                <a:gd name="T35" fmla="*/ 0 h 121"/>
                <a:gd name="T36" fmla="*/ 0 w 193"/>
                <a:gd name="T37" fmla="*/ 0 h 121"/>
                <a:gd name="T38" fmla="*/ 0 w 193"/>
                <a:gd name="T39" fmla="*/ 0 h 121"/>
                <a:gd name="T40" fmla="*/ 0 w 193"/>
                <a:gd name="T41" fmla="*/ 0 h 121"/>
                <a:gd name="T42" fmla="*/ 0 w 193"/>
                <a:gd name="T43" fmla="*/ 0 h 121"/>
                <a:gd name="T44" fmla="*/ 0 w 193"/>
                <a:gd name="T45" fmla="*/ 0 h 121"/>
                <a:gd name="T46" fmla="*/ 0 w 193"/>
                <a:gd name="T47" fmla="*/ 0 h 121"/>
                <a:gd name="T48" fmla="*/ 0 w 193"/>
                <a:gd name="T49" fmla="*/ 0 h 121"/>
                <a:gd name="T50" fmla="*/ 0 w 193"/>
                <a:gd name="T51" fmla="*/ 0 h 121"/>
                <a:gd name="T52" fmla="*/ 0 w 193"/>
                <a:gd name="T53" fmla="*/ 0 h 121"/>
                <a:gd name="T54" fmla="*/ 0 w 193"/>
                <a:gd name="T55" fmla="*/ 0 h 121"/>
                <a:gd name="T56" fmla="*/ 0 w 193"/>
                <a:gd name="T57" fmla="*/ 0 h 121"/>
                <a:gd name="T58" fmla="*/ 0 w 193"/>
                <a:gd name="T59" fmla="*/ 0 h 121"/>
                <a:gd name="T60" fmla="*/ 0 w 193"/>
                <a:gd name="T61" fmla="*/ 0 h 121"/>
                <a:gd name="T62" fmla="*/ 0 w 193"/>
                <a:gd name="T63" fmla="*/ 0 h 121"/>
                <a:gd name="T64" fmla="*/ 0 w 193"/>
                <a:gd name="T65" fmla="*/ 0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3"/>
                <a:gd name="T100" fmla="*/ 0 h 121"/>
                <a:gd name="T101" fmla="*/ 193 w 193"/>
                <a:gd name="T102" fmla="*/ 121 h 1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93" name="Freeform 904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4759" y="2266"/>
              <a:ext cx="114" cy="145"/>
            </a:xfrm>
            <a:custGeom>
              <a:avLst/>
              <a:gdLst>
                <a:gd name="T0" fmla="*/ 0 w 379"/>
                <a:gd name="T1" fmla="*/ 0 h 437"/>
                <a:gd name="T2" fmla="*/ 0 w 379"/>
                <a:gd name="T3" fmla="*/ 0 h 437"/>
                <a:gd name="T4" fmla="*/ 0 w 379"/>
                <a:gd name="T5" fmla="*/ 0 h 437"/>
                <a:gd name="T6" fmla="*/ 0 w 379"/>
                <a:gd name="T7" fmla="*/ 0 h 437"/>
                <a:gd name="T8" fmla="*/ 0 w 379"/>
                <a:gd name="T9" fmla="*/ 0 h 437"/>
                <a:gd name="T10" fmla="*/ 0 w 379"/>
                <a:gd name="T11" fmla="*/ 0 h 437"/>
                <a:gd name="T12" fmla="*/ 0 w 379"/>
                <a:gd name="T13" fmla="*/ 0 h 437"/>
                <a:gd name="T14" fmla="*/ 0 w 379"/>
                <a:gd name="T15" fmla="*/ 0 h 437"/>
                <a:gd name="T16" fmla="*/ 0 w 379"/>
                <a:gd name="T17" fmla="*/ 0 h 437"/>
                <a:gd name="T18" fmla="*/ 0 w 379"/>
                <a:gd name="T19" fmla="*/ 0 h 437"/>
                <a:gd name="T20" fmla="*/ 0 w 379"/>
                <a:gd name="T21" fmla="*/ 0 h 437"/>
                <a:gd name="T22" fmla="*/ 0 w 379"/>
                <a:gd name="T23" fmla="*/ 0 h 437"/>
                <a:gd name="T24" fmla="*/ 0 w 379"/>
                <a:gd name="T25" fmla="*/ 0 h 437"/>
                <a:gd name="T26" fmla="*/ 0 w 379"/>
                <a:gd name="T27" fmla="*/ 0 h 437"/>
                <a:gd name="T28" fmla="*/ 0 w 379"/>
                <a:gd name="T29" fmla="*/ 0 h 437"/>
                <a:gd name="T30" fmla="*/ 0 w 379"/>
                <a:gd name="T31" fmla="*/ 0 h 437"/>
                <a:gd name="T32" fmla="*/ 0 w 379"/>
                <a:gd name="T33" fmla="*/ 0 h 437"/>
                <a:gd name="T34" fmla="*/ 0 w 379"/>
                <a:gd name="T35" fmla="*/ 0 h 437"/>
                <a:gd name="T36" fmla="*/ 0 w 379"/>
                <a:gd name="T37" fmla="*/ 0 h 437"/>
                <a:gd name="T38" fmla="*/ 0 w 379"/>
                <a:gd name="T39" fmla="*/ 0 h 437"/>
                <a:gd name="T40" fmla="*/ 0 w 379"/>
                <a:gd name="T41" fmla="*/ 0 h 437"/>
                <a:gd name="T42" fmla="*/ 0 w 379"/>
                <a:gd name="T43" fmla="*/ 0 h 437"/>
                <a:gd name="T44" fmla="*/ 0 w 379"/>
                <a:gd name="T45" fmla="*/ 0 h 437"/>
                <a:gd name="T46" fmla="*/ 0 w 379"/>
                <a:gd name="T47" fmla="*/ 0 h 437"/>
                <a:gd name="T48" fmla="*/ 0 w 379"/>
                <a:gd name="T49" fmla="*/ 0 h 437"/>
                <a:gd name="T50" fmla="*/ 0 w 379"/>
                <a:gd name="T51" fmla="*/ 0 h 437"/>
                <a:gd name="T52" fmla="*/ 0 w 379"/>
                <a:gd name="T53" fmla="*/ 0 h 437"/>
                <a:gd name="T54" fmla="*/ 0 w 379"/>
                <a:gd name="T55" fmla="*/ 0 h 437"/>
                <a:gd name="T56" fmla="*/ 0 w 379"/>
                <a:gd name="T57" fmla="*/ 0 h 437"/>
                <a:gd name="T58" fmla="*/ 0 w 379"/>
                <a:gd name="T59" fmla="*/ 0 h 437"/>
                <a:gd name="T60" fmla="*/ 0 w 379"/>
                <a:gd name="T61" fmla="*/ 0 h 437"/>
                <a:gd name="T62" fmla="*/ 0 w 379"/>
                <a:gd name="T63" fmla="*/ 0 h 437"/>
                <a:gd name="T64" fmla="*/ 0 w 379"/>
                <a:gd name="T65" fmla="*/ 0 h 437"/>
                <a:gd name="T66" fmla="*/ 0 w 379"/>
                <a:gd name="T67" fmla="*/ 0 h 437"/>
                <a:gd name="T68" fmla="*/ 0 w 379"/>
                <a:gd name="T69" fmla="*/ 0 h 437"/>
                <a:gd name="T70" fmla="*/ 0 w 379"/>
                <a:gd name="T71" fmla="*/ 0 h 437"/>
                <a:gd name="T72" fmla="*/ 0 w 379"/>
                <a:gd name="T73" fmla="*/ 0 h 437"/>
                <a:gd name="T74" fmla="*/ 0 w 379"/>
                <a:gd name="T75" fmla="*/ 0 h 437"/>
                <a:gd name="T76" fmla="*/ 0 w 379"/>
                <a:gd name="T77" fmla="*/ 0 h 437"/>
                <a:gd name="T78" fmla="*/ 0 w 379"/>
                <a:gd name="T79" fmla="*/ 0 h 437"/>
                <a:gd name="T80" fmla="*/ 0 w 379"/>
                <a:gd name="T81" fmla="*/ 0 h 437"/>
                <a:gd name="T82" fmla="*/ 0 w 379"/>
                <a:gd name="T83" fmla="*/ 0 h 437"/>
                <a:gd name="T84" fmla="*/ 0 w 379"/>
                <a:gd name="T85" fmla="*/ 0 h 437"/>
                <a:gd name="T86" fmla="*/ 0 w 379"/>
                <a:gd name="T87" fmla="*/ 0 h 437"/>
                <a:gd name="T88" fmla="*/ 0 w 379"/>
                <a:gd name="T89" fmla="*/ 0 h 437"/>
                <a:gd name="T90" fmla="*/ 0 w 379"/>
                <a:gd name="T91" fmla="*/ 0 h 437"/>
                <a:gd name="T92" fmla="*/ 0 w 379"/>
                <a:gd name="T93" fmla="*/ 0 h 437"/>
                <a:gd name="T94" fmla="*/ 0 w 379"/>
                <a:gd name="T95" fmla="*/ 0 h 437"/>
                <a:gd name="T96" fmla="*/ 0 w 379"/>
                <a:gd name="T97" fmla="*/ 0 h 437"/>
                <a:gd name="T98" fmla="*/ 0 w 379"/>
                <a:gd name="T99" fmla="*/ 0 h 437"/>
                <a:gd name="T100" fmla="*/ 0 w 379"/>
                <a:gd name="T101" fmla="*/ 0 h 437"/>
                <a:gd name="T102" fmla="*/ 0 w 379"/>
                <a:gd name="T103" fmla="*/ 0 h 437"/>
                <a:gd name="T104" fmla="*/ 0 w 379"/>
                <a:gd name="T105" fmla="*/ 0 h 437"/>
                <a:gd name="T106" fmla="*/ 0 w 379"/>
                <a:gd name="T107" fmla="*/ 0 h 437"/>
                <a:gd name="T108" fmla="*/ 0 w 379"/>
                <a:gd name="T109" fmla="*/ 0 h 437"/>
                <a:gd name="T110" fmla="*/ 0 w 379"/>
                <a:gd name="T111" fmla="*/ 0 h 437"/>
                <a:gd name="T112" fmla="*/ 0 w 379"/>
                <a:gd name="T113" fmla="*/ 0 h 437"/>
                <a:gd name="T114" fmla="*/ 0 w 379"/>
                <a:gd name="T115" fmla="*/ 0 h 437"/>
                <a:gd name="T116" fmla="*/ 0 w 379"/>
                <a:gd name="T117" fmla="*/ 0 h 437"/>
                <a:gd name="T118" fmla="*/ 0 w 379"/>
                <a:gd name="T119" fmla="*/ 0 h 437"/>
                <a:gd name="T120" fmla="*/ 0 w 379"/>
                <a:gd name="T121" fmla="*/ 0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9"/>
                <a:gd name="T184" fmla="*/ 0 h 437"/>
                <a:gd name="T185" fmla="*/ 379 w 379"/>
                <a:gd name="T186" fmla="*/ 437 h 4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94" name="Freeform 905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4531" y="2418"/>
              <a:ext cx="171" cy="60"/>
            </a:xfrm>
            <a:custGeom>
              <a:avLst/>
              <a:gdLst>
                <a:gd name="T0" fmla="*/ 0 w 578"/>
                <a:gd name="T1" fmla="*/ 0 h 184"/>
                <a:gd name="T2" fmla="*/ 0 w 578"/>
                <a:gd name="T3" fmla="*/ 0 h 184"/>
                <a:gd name="T4" fmla="*/ 0 w 578"/>
                <a:gd name="T5" fmla="*/ 0 h 184"/>
                <a:gd name="T6" fmla="*/ 0 w 578"/>
                <a:gd name="T7" fmla="*/ 0 h 184"/>
                <a:gd name="T8" fmla="*/ 0 w 578"/>
                <a:gd name="T9" fmla="*/ 0 h 184"/>
                <a:gd name="T10" fmla="*/ 0 w 578"/>
                <a:gd name="T11" fmla="*/ 0 h 184"/>
                <a:gd name="T12" fmla="*/ 0 w 578"/>
                <a:gd name="T13" fmla="*/ 0 h 184"/>
                <a:gd name="T14" fmla="*/ 0 w 578"/>
                <a:gd name="T15" fmla="*/ 0 h 184"/>
                <a:gd name="T16" fmla="*/ 0 w 578"/>
                <a:gd name="T17" fmla="*/ 0 h 184"/>
                <a:gd name="T18" fmla="*/ 0 w 578"/>
                <a:gd name="T19" fmla="*/ 0 h 184"/>
                <a:gd name="T20" fmla="*/ 0 w 578"/>
                <a:gd name="T21" fmla="*/ 0 h 184"/>
                <a:gd name="T22" fmla="*/ 0 w 578"/>
                <a:gd name="T23" fmla="*/ 0 h 184"/>
                <a:gd name="T24" fmla="*/ 0 w 578"/>
                <a:gd name="T25" fmla="*/ 0 h 184"/>
                <a:gd name="T26" fmla="*/ 0 w 578"/>
                <a:gd name="T27" fmla="*/ 0 h 184"/>
                <a:gd name="T28" fmla="*/ 0 w 578"/>
                <a:gd name="T29" fmla="*/ 0 h 184"/>
                <a:gd name="T30" fmla="*/ 0 w 578"/>
                <a:gd name="T31" fmla="*/ 0 h 184"/>
                <a:gd name="T32" fmla="*/ 0 w 578"/>
                <a:gd name="T33" fmla="*/ 0 h 184"/>
                <a:gd name="T34" fmla="*/ 0 w 578"/>
                <a:gd name="T35" fmla="*/ 0 h 184"/>
                <a:gd name="T36" fmla="*/ 0 w 578"/>
                <a:gd name="T37" fmla="*/ 0 h 184"/>
                <a:gd name="T38" fmla="*/ 0 w 578"/>
                <a:gd name="T39" fmla="*/ 0 h 184"/>
                <a:gd name="T40" fmla="*/ 0 w 578"/>
                <a:gd name="T41" fmla="*/ 0 h 184"/>
                <a:gd name="T42" fmla="*/ 0 w 578"/>
                <a:gd name="T43" fmla="*/ 0 h 184"/>
                <a:gd name="T44" fmla="*/ 0 w 578"/>
                <a:gd name="T45" fmla="*/ 0 h 184"/>
                <a:gd name="T46" fmla="*/ 0 w 578"/>
                <a:gd name="T47" fmla="*/ 0 h 184"/>
                <a:gd name="T48" fmla="*/ 0 w 578"/>
                <a:gd name="T49" fmla="*/ 0 h 184"/>
                <a:gd name="T50" fmla="*/ 0 w 578"/>
                <a:gd name="T51" fmla="*/ 0 h 184"/>
                <a:gd name="T52" fmla="*/ 0 w 578"/>
                <a:gd name="T53" fmla="*/ 0 h 184"/>
                <a:gd name="T54" fmla="*/ 0 w 578"/>
                <a:gd name="T55" fmla="*/ 0 h 184"/>
                <a:gd name="T56" fmla="*/ 0 w 578"/>
                <a:gd name="T57" fmla="*/ 0 h 184"/>
                <a:gd name="T58" fmla="*/ 0 w 578"/>
                <a:gd name="T59" fmla="*/ 0 h 184"/>
                <a:gd name="T60" fmla="*/ 0 w 578"/>
                <a:gd name="T61" fmla="*/ 0 h 184"/>
                <a:gd name="T62" fmla="*/ 0 w 578"/>
                <a:gd name="T63" fmla="*/ 0 h 184"/>
                <a:gd name="T64" fmla="*/ 0 w 578"/>
                <a:gd name="T65" fmla="*/ 0 h 184"/>
                <a:gd name="T66" fmla="*/ 0 w 578"/>
                <a:gd name="T67" fmla="*/ 0 h 184"/>
                <a:gd name="T68" fmla="*/ 0 w 578"/>
                <a:gd name="T69" fmla="*/ 0 h 184"/>
                <a:gd name="T70" fmla="*/ 0 w 578"/>
                <a:gd name="T71" fmla="*/ 0 h 184"/>
                <a:gd name="T72" fmla="*/ 0 w 578"/>
                <a:gd name="T73" fmla="*/ 0 h 184"/>
                <a:gd name="T74" fmla="*/ 0 w 578"/>
                <a:gd name="T75" fmla="*/ 0 h 184"/>
                <a:gd name="T76" fmla="*/ 0 w 578"/>
                <a:gd name="T77" fmla="*/ 0 h 184"/>
                <a:gd name="T78" fmla="*/ 0 w 578"/>
                <a:gd name="T79" fmla="*/ 0 h 184"/>
                <a:gd name="T80" fmla="*/ 0 w 578"/>
                <a:gd name="T81" fmla="*/ 0 h 184"/>
                <a:gd name="T82" fmla="*/ 0 w 578"/>
                <a:gd name="T83" fmla="*/ 0 h 184"/>
                <a:gd name="T84" fmla="*/ 0 w 578"/>
                <a:gd name="T85" fmla="*/ 0 h 184"/>
                <a:gd name="T86" fmla="*/ 0 w 578"/>
                <a:gd name="T87" fmla="*/ 0 h 184"/>
                <a:gd name="T88" fmla="*/ 0 w 578"/>
                <a:gd name="T89" fmla="*/ 0 h 184"/>
                <a:gd name="T90" fmla="*/ 0 w 578"/>
                <a:gd name="T91" fmla="*/ 0 h 184"/>
                <a:gd name="T92" fmla="*/ 0 w 578"/>
                <a:gd name="T93" fmla="*/ 0 h 184"/>
                <a:gd name="T94" fmla="*/ 0 w 578"/>
                <a:gd name="T95" fmla="*/ 0 h 184"/>
                <a:gd name="T96" fmla="*/ 0 w 578"/>
                <a:gd name="T97" fmla="*/ 0 h 184"/>
                <a:gd name="T98" fmla="*/ 0 w 578"/>
                <a:gd name="T99" fmla="*/ 0 h 184"/>
                <a:gd name="T100" fmla="*/ 0 w 578"/>
                <a:gd name="T101" fmla="*/ 0 h 184"/>
                <a:gd name="T102" fmla="*/ 0 w 578"/>
                <a:gd name="T103" fmla="*/ 0 h 184"/>
                <a:gd name="T104" fmla="*/ 0 w 578"/>
                <a:gd name="T105" fmla="*/ 0 h 184"/>
                <a:gd name="T106" fmla="*/ 0 w 578"/>
                <a:gd name="T107" fmla="*/ 0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78"/>
                <a:gd name="T163" fmla="*/ 0 h 184"/>
                <a:gd name="T164" fmla="*/ 578 w 578"/>
                <a:gd name="T165" fmla="*/ 184 h 18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95" name="Freeform 906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4995" y="2328"/>
              <a:ext cx="147" cy="159"/>
            </a:xfrm>
            <a:custGeom>
              <a:avLst/>
              <a:gdLst>
                <a:gd name="T0" fmla="*/ 0 w 491"/>
                <a:gd name="T1" fmla="*/ 0 h 481"/>
                <a:gd name="T2" fmla="*/ 0 w 491"/>
                <a:gd name="T3" fmla="*/ 0 h 481"/>
                <a:gd name="T4" fmla="*/ 0 w 491"/>
                <a:gd name="T5" fmla="*/ 0 h 481"/>
                <a:gd name="T6" fmla="*/ 0 w 491"/>
                <a:gd name="T7" fmla="*/ 0 h 481"/>
                <a:gd name="T8" fmla="*/ 0 w 491"/>
                <a:gd name="T9" fmla="*/ 0 h 481"/>
                <a:gd name="T10" fmla="*/ 0 w 491"/>
                <a:gd name="T11" fmla="*/ 0 h 481"/>
                <a:gd name="T12" fmla="*/ 0 w 491"/>
                <a:gd name="T13" fmla="*/ 0 h 481"/>
                <a:gd name="T14" fmla="*/ 0 w 491"/>
                <a:gd name="T15" fmla="*/ 0 h 481"/>
                <a:gd name="T16" fmla="*/ 0 w 491"/>
                <a:gd name="T17" fmla="*/ 0 h 481"/>
                <a:gd name="T18" fmla="*/ 0 w 491"/>
                <a:gd name="T19" fmla="*/ 0 h 481"/>
                <a:gd name="T20" fmla="*/ 0 w 491"/>
                <a:gd name="T21" fmla="*/ 0 h 481"/>
                <a:gd name="T22" fmla="*/ 0 w 491"/>
                <a:gd name="T23" fmla="*/ 0 h 481"/>
                <a:gd name="T24" fmla="*/ 0 w 491"/>
                <a:gd name="T25" fmla="*/ 0 h 481"/>
                <a:gd name="T26" fmla="*/ 0 w 491"/>
                <a:gd name="T27" fmla="*/ 0 h 481"/>
                <a:gd name="T28" fmla="*/ 0 w 491"/>
                <a:gd name="T29" fmla="*/ 0 h 481"/>
                <a:gd name="T30" fmla="*/ 0 w 491"/>
                <a:gd name="T31" fmla="*/ 0 h 481"/>
                <a:gd name="T32" fmla="*/ 0 w 491"/>
                <a:gd name="T33" fmla="*/ 0 h 481"/>
                <a:gd name="T34" fmla="*/ 0 w 491"/>
                <a:gd name="T35" fmla="*/ 0 h 481"/>
                <a:gd name="T36" fmla="*/ 0 w 491"/>
                <a:gd name="T37" fmla="*/ 0 h 481"/>
                <a:gd name="T38" fmla="*/ 0 w 491"/>
                <a:gd name="T39" fmla="*/ 0 h 481"/>
                <a:gd name="T40" fmla="*/ 0 w 491"/>
                <a:gd name="T41" fmla="*/ 0 h 481"/>
                <a:gd name="T42" fmla="*/ 0 w 491"/>
                <a:gd name="T43" fmla="*/ 0 h 481"/>
                <a:gd name="T44" fmla="*/ 0 w 491"/>
                <a:gd name="T45" fmla="*/ 0 h 481"/>
                <a:gd name="T46" fmla="*/ 0 w 491"/>
                <a:gd name="T47" fmla="*/ 0 h 481"/>
                <a:gd name="T48" fmla="*/ 0 w 491"/>
                <a:gd name="T49" fmla="*/ 0 h 481"/>
                <a:gd name="T50" fmla="*/ 0 w 491"/>
                <a:gd name="T51" fmla="*/ 0 h 481"/>
                <a:gd name="T52" fmla="*/ 0 w 491"/>
                <a:gd name="T53" fmla="*/ 0 h 481"/>
                <a:gd name="T54" fmla="*/ 0 w 491"/>
                <a:gd name="T55" fmla="*/ 0 h 481"/>
                <a:gd name="T56" fmla="*/ 0 w 491"/>
                <a:gd name="T57" fmla="*/ 0 h 481"/>
                <a:gd name="T58" fmla="*/ 0 w 491"/>
                <a:gd name="T59" fmla="*/ 0 h 481"/>
                <a:gd name="T60" fmla="*/ 0 w 491"/>
                <a:gd name="T61" fmla="*/ 0 h 481"/>
                <a:gd name="T62" fmla="*/ 0 w 491"/>
                <a:gd name="T63" fmla="*/ 0 h 481"/>
                <a:gd name="T64" fmla="*/ 0 w 491"/>
                <a:gd name="T65" fmla="*/ 0 h 481"/>
                <a:gd name="T66" fmla="*/ 0 w 491"/>
                <a:gd name="T67" fmla="*/ 0 h 481"/>
                <a:gd name="T68" fmla="*/ 0 w 491"/>
                <a:gd name="T69" fmla="*/ 0 h 481"/>
                <a:gd name="T70" fmla="*/ 0 w 491"/>
                <a:gd name="T71" fmla="*/ 0 h 481"/>
                <a:gd name="T72" fmla="*/ 0 w 491"/>
                <a:gd name="T73" fmla="*/ 0 h 481"/>
                <a:gd name="T74" fmla="*/ 0 w 491"/>
                <a:gd name="T75" fmla="*/ 0 h 481"/>
                <a:gd name="T76" fmla="*/ 0 w 491"/>
                <a:gd name="T77" fmla="*/ 0 h 481"/>
                <a:gd name="T78" fmla="*/ 0 w 491"/>
                <a:gd name="T79" fmla="*/ 0 h 481"/>
                <a:gd name="T80" fmla="*/ 0 w 491"/>
                <a:gd name="T81" fmla="*/ 0 h 481"/>
                <a:gd name="T82" fmla="*/ 0 w 491"/>
                <a:gd name="T83" fmla="*/ 0 h 481"/>
                <a:gd name="T84" fmla="*/ 0 w 491"/>
                <a:gd name="T85" fmla="*/ 0 h 481"/>
                <a:gd name="T86" fmla="*/ 0 w 491"/>
                <a:gd name="T87" fmla="*/ 0 h 481"/>
                <a:gd name="T88" fmla="*/ 0 w 491"/>
                <a:gd name="T89" fmla="*/ 0 h 481"/>
                <a:gd name="T90" fmla="*/ 0 w 491"/>
                <a:gd name="T91" fmla="*/ 0 h 481"/>
                <a:gd name="T92" fmla="*/ 0 w 491"/>
                <a:gd name="T93" fmla="*/ 0 h 481"/>
                <a:gd name="T94" fmla="*/ 0 w 491"/>
                <a:gd name="T95" fmla="*/ 0 h 481"/>
                <a:gd name="T96" fmla="*/ 0 w 491"/>
                <a:gd name="T97" fmla="*/ 0 h 481"/>
                <a:gd name="T98" fmla="*/ 0 w 491"/>
                <a:gd name="T99" fmla="*/ 0 h 481"/>
                <a:gd name="T100" fmla="*/ 0 w 491"/>
                <a:gd name="T101" fmla="*/ 0 h 481"/>
                <a:gd name="T102" fmla="*/ 0 w 491"/>
                <a:gd name="T103" fmla="*/ 0 h 481"/>
                <a:gd name="T104" fmla="*/ 0 w 491"/>
                <a:gd name="T105" fmla="*/ 0 h 481"/>
                <a:gd name="T106" fmla="*/ 0 w 491"/>
                <a:gd name="T107" fmla="*/ 0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1"/>
                <a:gd name="T163" fmla="*/ 0 h 481"/>
                <a:gd name="T164" fmla="*/ 491 w 491"/>
                <a:gd name="T165" fmla="*/ 481 h 48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96" name="Freeform 907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3993" y="1592"/>
              <a:ext cx="37" cy="38"/>
            </a:xfrm>
            <a:custGeom>
              <a:avLst/>
              <a:gdLst>
                <a:gd name="T0" fmla="*/ 0 w 133"/>
                <a:gd name="T1" fmla="*/ 0 h 117"/>
                <a:gd name="T2" fmla="*/ 0 w 133"/>
                <a:gd name="T3" fmla="*/ 0 h 117"/>
                <a:gd name="T4" fmla="*/ 0 w 133"/>
                <a:gd name="T5" fmla="*/ 0 h 117"/>
                <a:gd name="T6" fmla="*/ 0 w 133"/>
                <a:gd name="T7" fmla="*/ 0 h 117"/>
                <a:gd name="T8" fmla="*/ 0 w 133"/>
                <a:gd name="T9" fmla="*/ 0 h 117"/>
                <a:gd name="T10" fmla="*/ 0 w 133"/>
                <a:gd name="T11" fmla="*/ 0 h 117"/>
                <a:gd name="T12" fmla="*/ 0 w 133"/>
                <a:gd name="T13" fmla="*/ 0 h 117"/>
                <a:gd name="T14" fmla="*/ 0 w 133"/>
                <a:gd name="T15" fmla="*/ 0 h 117"/>
                <a:gd name="T16" fmla="*/ 0 w 133"/>
                <a:gd name="T17" fmla="*/ 0 h 117"/>
                <a:gd name="T18" fmla="*/ 0 w 133"/>
                <a:gd name="T19" fmla="*/ 0 h 117"/>
                <a:gd name="T20" fmla="*/ 0 w 133"/>
                <a:gd name="T21" fmla="*/ 0 h 117"/>
                <a:gd name="T22" fmla="*/ 0 w 133"/>
                <a:gd name="T23" fmla="*/ 0 h 117"/>
                <a:gd name="T24" fmla="*/ 0 w 133"/>
                <a:gd name="T25" fmla="*/ 0 h 117"/>
                <a:gd name="T26" fmla="*/ 0 w 133"/>
                <a:gd name="T27" fmla="*/ 0 h 117"/>
                <a:gd name="T28" fmla="*/ 0 w 133"/>
                <a:gd name="T29" fmla="*/ 0 h 117"/>
                <a:gd name="T30" fmla="*/ 0 w 133"/>
                <a:gd name="T31" fmla="*/ 0 h 117"/>
                <a:gd name="T32" fmla="*/ 0 w 133"/>
                <a:gd name="T33" fmla="*/ 0 h 117"/>
                <a:gd name="T34" fmla="*/ 0 w 133"/>
                <a:gd name="T35" fmla="*/ 0 h 117"/>
                <a:gd name="T36" fmla="*/ 0 w 133"/>
                <a:gd name="T37" fmla="*/ 0 h 117"/>
                <a:gd name="T38" fmla="*/ 0 w 133"/>
                <a:gd name="T39" fmla="*/ 0 h 117"/>
                <a:gd name="T40" fmla="*/ 0 w 133"/>
                <a:gd name="T41" fmla="*/ 0 h 117"/>
                <a:gd name="T42" fmla="*/ 0 w 133"/>
                <a:gd name="T43" fmla="*/ 0 h 117"/>
                <a:gd name="T44" fmla="*/ 0 w 133"/>
                <a:gd name="T45" fmla="*/ 0 h 117"/>
                <a:gd name="T46" fmla="*/ 0 w 133"/>
                <a:gd name="T47" fmla="*/ 0 h 117"/>
                <a:gd name="T48" fmla="*/ 0 w 133"/>
                <a:gd name="T49" fmla="*/ 0 h 117"/>
                <a:gd name="T50" fmla="*/ 0 w 133"/>
                <a:gd name="T51" fmla="*/ 0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3"/>
                <a:gd name="T79" fmla="*/ 0 h 117"/>
                <a:gd name="T80" fmla="*/ 133 w 133"/>
                <a:gd name="T81" fmla="*/ 117 h 11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97" name="Freeform 908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2940" y="1217"/>
              <a:ext cx="151" cy="112"/>
            </a:xfrm>
            <a:custGeom>
              <a:avLst/>
              <a:gdLst>
                <a:gd name="T0" fmla="*/ 0 w 505"/>
                <a:gd name="T1" fmla="*/ 0 h 339"/>
                <a:gd name="T2" fmla="*/ 0 w 505"/>
                <a:gd name="T3" fmla="*/ 0 h 339"/>
                <a:gd name="T4" fmla="*/ 0 w 505"/>
                <a:gd name="T5" fmla="*/ 0 h 339"/>
                <a:gd name="T6" fmla="*/ 0 w 505"/>
                <a:gd name="T7" fmla="*/ 0 h 339"/>
                <a:gd name="T8" fmla="*/ 0 w 505"/>
                <a:gd name="T9" fmla="*/ 0 h 339"/>
                <a:gd name="T10" fmla="*/ 0 w 505"/>
                <a:gd name="T11" fmla="*/ 0 h 339"/>
                <a:gd name="T12" fmla="*/ 0 w 505"/>
                <a:gd name="T13" fmla="*/ 0 h 339"/>
                <a:gd name="T14" fmla="*/ 0 w 505"/>
                <a:gd name="T15" fmla="*/ 0 h 339"/>
                <a:gd name="T16" fmla="*/ 0 w 505"/>
                <a:gd name="T17" fmla="*/ 0 h 339"/>
                <a:gd name="T18" fmla="*/ 0 w 505"/>
                <a:gd name="T19" fmla="*/ 0 h 339"/>
                <a:gd name="T20" fmla="*/ 0 w 505"/>
                <a:gd name="T21" fmla="*/ 0 h 339"/>
                <a:gd name="T22" fmla="*/ 0 w 505"/>
                <a:gd name="T23" fmla="*/ 0 h 339"/>
                <a:gd name="T24" fmla="*/ 0 w 505"/>
                <a:gd name="T25" fmla="*/ 0 h 339"/>
                <a:gd name="T26" fmla="*/ 0 w 505"/>
                <a:gd name="T27" fmla="*/ 0 h 339"/>
                <a:gd name="T28" fmla="*/ 0 w 505"/>
                <a:gd name="T29" fmla="*/ 0 h 339"/>
                <a:gd name="T30" fmla="*/ 0 w 505"/>
                <a:gd name="T31" fmla="*/ 0 h 339"/>
                <a:gd name="T32" fmla="*/ 0 w 505"/>
                <a:gd name="T33" fmla="*/ 0 h 339"/>
                <a:gd name="T34" fmla="*/ 0 w 505"/>
                <a:gd name="T35" fmla="*/ 0 h 339"/>
                <a:gd name="T36" fmla="*/ 0 w 505"/>
                <a:gd name="T37" fmla="*/ 0 h 339"/>
                <a:gd name="T38" fmla="*/ 0 w 505"/>
                <a:gd name="T39" fmla="*/ 0 h 339"/>
                <a:gd name="T40" fmla="*/ 0 w 505"/>
                <a:gd name="T41" fmla="*/ 0 h 339"/>
                <a:gd name="T42" fmla="*/ 0 w 505"/>
                <a:gd name="T43" fmla="*/ 0 h 339"/>
                <a:gd name="T44" fmla="*/ 0 w 505"/>
                <a:gd name="T45" fmla="*/ 0 h 339"/>
                <a:gd name="T46" fmla="*/ 0 w 505"/>
                <a:gd name="T47" fmla="*/ 0 h 339"/>
                <a:gd name="T48" fmla="*/ 0 w 505"/>
                <a:gd name="T49" fmla="*/ 0 h 339"/>
                <a:gd name="T50" fmla="*/ 0 w 505"/>
                <a:gd name="T51" fmla="*/ 0 h 339"/>
                <a:gd name="T52" fmla="*/ 0 w 505"/>
                <a:gd name="T53" fmla="*/ 0 h 339"/>
                <a:gd name="T54" fmla="*/ 0 w 505"/>
                <a:gd name="T55" fmla="*/ 0 h 339"/>
                <a:gd name="T56" fmla="*/ 0 w 505"/>
                <a:gd name="T57" fmla="*/ 0 h 339"/>
                <a:gd name="T58" fmla="*/ 0 w 505"/>
                <a:gd name="T59" fmla="*/ 0 h 339"/>
                <a:gd name="T60" fmla="*/ 0 w 505"/>
                <a:gd name="T61" fmla="*/ 0 h 339"/>
                <a:gd name="T62" fmla="*/ 0 w 505"/>
                <a:gd name="T63" fmla="*/ 0 h 339"/>
                <a:gd name="T64" fmla="*/ 0 w 505"/>
                <a:gd name="T65" fmla="*/ 0 h 339"/>
                <a:gd name="T66" fmla="*/ 0 w 505"/>
                <a:gd name="T67" fmla="*/ 0 h 339"/>
                <a:gd name="T68" fmla="*/ 0 w 505"/>
                <a:gd name="T69" fmla="*/ 0 h 339"/>
                <a:gd name="T70" fmla="*/ 0 w 505"/>
                <a:gd name="T71" fmla="*/ 0 h 339"/>
                <a:gd name="T72" fmla="*/ 0 w 505"/>
                <a:gd name="T73" fmla="*/ 0 h 339"/>
                <a:gd name="T74" fmla="*/ 0 w 505"/>
                <a:gd name="T75" fmla="*/ 0 h 339"/>
                <a:gd name="T76" fmla="*/ 0 w 505"/>
                <a:gd name="T77" fmla="*/ 0 h 339"/>
                <a:gd name="T78" fmla="*/ 0 w 505"/>
                <a:gd name="T79" fmla="*/ 0 h 339"/>
                <a:gd name="T80" fmla="*/ 0 w 505"/>
                <a:gd name="T81" fmla="*/ 0 h 339"/>
                <a:gd name="T82" fmla="*/ 0 w 505"/>
                <a:gd name="T83" fmla="*/ 0 h 339"/>
                <a:gd name="T84" fmla="*/ 0 w 505"/>
                <a:gd name="T85" fmla="*/ 0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05"/>
                <a:gd name="T130" fmla="*/ 0 h 339"/>
                <a:gd name="T131" fmla="*/ 505 w 505"/>
                <a:gd name="T132" fmla="*/ 339 h 33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98" name="Freeform 909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2984" y="1346"/>
              <a:ext cx="99" cy="45"/>
            </a:xfrm>
            <a:custGeom>
              <a:avLst/>
              <a:gdLst>
                <a:gd name="T0" fmla="*/ 0 w 338"/>
                <a:gd name="T1" fmla="*/ 0 h 141"/>
                <a:gd name="T2" fmla="*/ 0 w 338"/>
                <a:gd name="T3" fmla="*/ 0 h 141"/>
                <a:gd name="T4" fmla="*/ 0 w 338"/>
                <a:gd name="T5" fmla="*/ 0 h 141"/>
                <a:gd name="T6" fmla="*/ 0 w 338"/>
                <a:gd name="T7" fmla="*/ 0 h 141"/>
                <a:gd name="T8" fmla="*/ 0 w 338"/>
                <a:gd name="T9" fmla="*/ 0 h 141"/>
                <a:gd name="T10" fmla="*/ 0 w 338"/>
                <a:gd name="T11" fmla="*/ 0 h 141"/>
                <a:gd name="T12" fmla="*/ 0 w 338"/>
                <a:gd name="T13" fmla="*/ 0 h 141"/>
                <a:gd name="T14" fmla="*/ 0 w 338"/>
                <a:gd name="T15" fmla="*/ 0 h 141"/>
                <a:gd name="T16" fmla="*/ 0 w 338"/>
                <a:gd name="T17" fmla="*/ 0 h 141"/>
                <a:gd name="T18" fmla="*/ 0 w 338"/>
                <a:gd name="T19" fmla="*/ 0 h 141"/>
                <a:gd name="T20" fmla="*/ 0 w 338"/>
                <a:gd name="T21" fmla="*/ 0 h 141"/>
                <a:gd name="T22" fmla="*/ 0 w 338"/>
                <a:gd name="T23" fmla="*/ 0 h 141"/>
                <a:gd name="T24" fmla="*/ 0 w 338"/>
                <a:gd name="T25" fmla="*/ 0 h 141"/>
                <a:gd name="T26" fmla="*/ 0 w 338"/>
                <a:gd name="T27" fmla="*/ 0 h 141"/>
                <a:gd name="T28" fmla="*/ 0 w 338"/>
                <a:gd name="T29" fmla="*/ 0 h 141"/>
                <a:gd name="T30" fmla="*/ 0 w 338"/>
                <a:gd name="T31" fmla="*/ 0 h 141"/>
                <a:gd name="T32" fmla="*/ 0 w 338"/>
                <a:gd name="T33" fmla="*/ 0 h 141"/>
                <a:gd name="T34" fmla="*/ 0 w 338"/>
                <a:gd name="T35" fmla="*/ 0 h 141"/>
                <a:gd name="T36" fmla="*/ 0 w 338"/>
                <a:gd name="T37" fmla="*/ 0 h 141"/>
                <a:gd name="T38" fmla="*/ 0 w 338"/>
                <a:gd name="T39" fmla="*/ 0 h 141"/>
                <a:gd name="T40" fmla="*/ 0 w 338"/>
                <a:gd name="T41" fmla="*/ 0 h 141"/>
                <a:gd name="T42" fmla="*/ 0 w 338"/>
                <a:gd name="T43" fmla="*/ 0 h 141"/>
                <a:gd name="T44" fmla="*/ 0 w 338"/>
                <a:gd name="T45" fmla="*/ 0 h 141"/>
                <a:gd name="T46" fmla="*/ 0 w 338"/>
                <a:gd name="T47" fmla="*/ 0 h 141"/>
                <a:gd name="T48" fmla="*/ 0 w 338"/>
                <a:gd name="T49" fmla="*/ 0 h 141"/>
                <a:gd name="T50" fmla="*/ 0 w 338"/>
                <a:gd name="T51" fmla="*/ 0 h 141"/>
                <a:gd name="T52" fmla="*/ 0 w 338"/>
                <a:gd name="T53" fmla="*/ 0 h 141"/>
                <a:gd name="T54" fmla="*/ 0 w 338"/>
                <a:gd name="T55" fmla="*/ 0 h 141"/>
                <a:gd name="T56" fmla="*/ 0 w 338"/>
                <a:gd name="T57" fmla="*/ 0 h 141"/>
                <a:gd name="T58" fmla="*/ 0 w 338"/>
                <a:gd name="T59" fmla="*/ 0 h 141"/>
                <a:gd name="T60" fmla="*/ 0 w 338"/>
                <a:gd name="T61" fmla="*/ 0 h 141"/>
                <a:gd name="T62" fmla="*/ 0 w 338"/>
                <a:gd name="T63" fmla="*/ 0 h 141"/>
                <a:gd name="T64" fmla="*/ 0 w 338"/>
                <a:gd name="T65" fmla="*/ 0 h 141"/>
                <a:gd name="T66" fmla="*/ 0 w 338"/>
                <a:gd name="T67" fmla="*/ 0 h 141"/>
                <a:gd name="T68" fmla="*/ 0 w 338"/>
                <a:gd name="T69" fmla="*/ 0 h 141"/>
                <a:gd name="T70" fmla="*/ 0 w 338"/>
                <a:gd name="T71" fmla="*/ 0 h 141"/>
                <a:gd name="T72" fmla="*/ 0 w 338"/>
                <a:gd name="T73" fmla="*/ 0 h 141"/>
                <a:gd name="T74" fmla="*/ 0 w 338"/>
                <a:gd name="T75" fmla="*/ 0 h 141"/>
                <a:gd name="T76" fmla="*/ 0 w 338"/>
                <a:gd name="T77" fmla="*/ 0 h 141"/>
                <a:gd name="T78" fmla="*/ 0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38"/>
                <a:gd name="T121" fmla="*/ 0 h 141"/>
                <a:gd name="T122" fmla="*/ 338 w 338"/>
                <a:gd name="T123" fmla="*/ 141 h 14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699" name="Freeform 910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3052" y="1129"/>
              <a:ext cx="76" cy="41"/>
            </a:xfrm>
            <a:custGeom>
              <a:avLst/>
              <a:gdLst>
                <a:gd name="T0" fmla="*/ 0 w 259"/>
                <a:gd name="T1" fmla="*/ 0 h 129"/>
                <a:gd name="T2" fmla="*/ 0 w 259"/>
                <a:gd name="T3" fmla="*/ 0 h 129"/>
                <a:gd name="T4" fmla="*/ 0 w 259"/>
                <a:gd name="T5" fmla="*/ 0 h 129"/>
                <a:gd name="T6" fmla="*/ 0 w 259"/>
                <a:gd name="T7" fmla="*/ 0 h 129"/>
                <a:gd name="T8" fmla="*/ 0 w 259"/>
                <a:gd name="T9" fmla="*/ 0 h 129"/>
                <a:gd name="T10" fmla="*/ 0 w 259"/>
                <a:gd name="T11" fmla="*/ 0 h 129"/>
                <a:gd name="T12" fmla="*/ 0 w 259"/>
                <a:gd name="T13" fmla="*/ 0 h 129"/>
                <a:gd name="T14" fmla="*/ 0 w 259"/>
                <a:gd name="T15" fmla="*/ 0 h 129"/>
                <a:gd name="T16" fmla="*/ 0 w 259"/>
                <a:gd name="T17" fmla="*/ 0 h 129"/>
                <a:gd name="T18" fmla="*/ 0 w 259"/>
                <a:gd name="T19" fmla="*/ 0 h 129"/>
                <a:gd name="T20" fmla="*/ 0 w 259"/>
                <a:gd name="T21" fmla="*/ 0 h 129"/>
                <a:gd name="T22" fmla="*/ 0 w 259"/>
                <a:gd name="T23" fmla="*/ 0 h 129"/>
                <a:gd name="T24" fmla="*/ 0 w 259"/>
                <a:gd name="T25" fmla="*/ 0 h 129"/>
                <a:gd name="T26" fmla="*/ 0 w 259"/>
                <a:gd name="T27" fmla="*/ 0 h 129"/>
                <a:gd name="T28" fmla="*/ 0 w 259"/>
                <a:gd name="T29" fmla="*/ 0 h 129"/>
                <a:gd name="T30" fmla="*/ 0 w 259"/>
                <a:gd name="T31" fmla="*/ 0 h 129"/>
                <a:gd name="T32" fmla="*/ 0 w 259"/>
                <a:gd name="T33" fmla="*/ 0 h 129"/>
                <a:gd name="T34" fmla="*/ 0 w 259"/>
                <a:gd name="T35" fmla="*/ 0 h 129"/>
                <a:gd name="T36" fmla="*/ 0 w 259"/>
                <a:gd name="T37" fmla="*/ 0 h 129"/>
                <a:gd name="T38" fmla="*/ 0 w 259"/>
                <a:gd name="T39" fmla="*/ 0 h 129"/>
                <a:gd name="T40" fmla="*/ 0 w 259"/>
                <a:gd name="T41" fmla="*/ 0 h 129"/>
                <a:gd name="T42" fmla="*/ 0 w 259"/>
                <a:gd name="T43" fmla="*/ 0 h 129"/>
                <a:gd name="T44" fmla="*/ 0 w 259"/>
                <a:gd name="T45" fmla="*/ 0 h 129"/>
                <a:gd name="T46" fmla="*/ 0 w 259"/>
                <a:gd name="T47" fmla="*/ 0 h 129"/>
                <a:gd name="T48" fmla="*/ 0 w 259"/>
                <a:gd name="T49" fmla="*/ 0 h 129"/>
                <a:gd name="T50" fmla="*/ 0 w 259"/>
                <a:gd name="T51" fmla="*/ 0 h 129"/>
                <a:gd name="T52" fmla="*/ 0 w 259"/>
                <a:gd name="T53" fmla="*/ 0 h 129"/>
                <a:gd name="T54" fmla="*/ 0 w 259"/>
                <a:gd name="T55" fmla="*/ 0 h 129"/>
                <a:gd name="T56" fmla="*/ 0 w 259"/>
                <a:gd name="T57" fmla="*/ 0 h 129"/>
                <a:gd name="T58" fmla="*/ 0 w 259"/>
                <a:gd name="T59" fmla="*/ 0 h 129"/>
                <a:gd name="T60" fmla="*/ 0 w 259"/>
                <a:gd name="T61" fmla="*/ 0 h 129"/>
                <a:gd name="T62" fmla="*/ 0 w 259"/>
                <a:gd name="T63" fmla="*/ 0 h 129"/>
                <a:gd name="T64" fmla="*/ 0 w 259"/>
                <a:gd name="T65" fmla="*/ 0 h 129"/>
                <a:gd name="T66" fmla="*/ 0 w 259"/>
                <a:gd name="T67" fmla="*/ 0 h 129"/>
                <a:gd name="T68" fmla="*/ 0 w 259"/>
                <a:gd name="T69" fmla="*/ 0 h 129"/>
                <a:gd name="T70" fmla="*/ 0 w 259"/>
                <a:gd name="T71" fmla="*/ 0 h 129"/>
                <a:gd name="T72" fmla="*/ 0 w 259"/>
                <a:gd name="T73" fmla="*/ 0 h 129"/>
                <a:gd name="T74" fmla="*/ 0 w 259"/>
                <a:gd name="T75" fmla="*/ 0 h 129"/>
                <a:gd name="T76" fmla="*/ 0 w 259"/>
                <a:gd name="T77" fmla="*/ 0 h 129"/>
                <a:gd name="T78" fmla="*/ 0 w 259"/>
                <a:gd name="T79" fmla="*/ 0 h 129"/>
                <a:gd name="T80" fmla="*/ 0 w 259"/>
                <a:gd name="T81" fmla="*/ 0 h 129"/>
                <a:gd name="T82" fmla="*/ 0 w 259"/>
                <a:gd name="T83" fmla="*/ 0 h 129"/>
                <a:gd name="T84" fmla="*/ 0 w 259"/>
                <a:gd name="T85" fmla="*/ 0 h 129"/>
                <a:gd name="T86" fmla="*/ 0 w 259"/>
                <a:gd name="T87" fmla="*/ 0 h 129"/>
                <a:gd name="T88" fmla="*/ 0 w 259"/>
                <a:gd name="T89" fmla="*/ 0 h 129"/>
                <a:gd name="T90" fmla="*/ 0 w 259"/>
                <a:gd name="T91" fmla="*/ 0 h 129"/>
                <a:gd name="T92" fmla="*/ 0 w 259"/>
                <a:gd name="T93" fmla="*/ 0 h 129"/>
                <a:gd name="T94" fmla="*/ 0 w 259"/>
                <a:gd name="T95" fmla="*/ 0 h 129"/>
                <a:gd name="T96" fmla="*/ 0 w 259"/>
                <a:gd name="T97" fmla="*/ 0 h 129"/>
                <a:gd name="T98" fmla="*/ 0 w 259"/>
                <a:gd name="T99" fmla="*/ 0 h 129"/>
                <a:gd name="T100" fmla="*/ 0 w 259"/>
                <a:gd name="T101" fmla="*/ 0 h 129"/>
                <a:gd name="T102" fmla="*/ 0 w 259"/>
                <a:gd name="T103" fmla="*/ 0 h 129"/>
                <a:gd name="T104" fmla="*/ 0 w 259"/>
                <a:gd name="T105" fmla="*/ 0 h 129"/>
                <a:gd name="T106" fmla="*/ 0 w 259"/>
                <a:gd name="T107" fmla="*/ 0 h 129"/>
                <a:gd name="T108" fmla="*/ 0 w 259"/>
                <a:gd name="T109" fmla="*/ 0 h 129"/>
                <a:gd name="T110" fmla="*/ 0 w 259"/>
                <a:gd name="T111" fmla="*/ 0 h 129"/>
                <a:gd name="T112" fmla="*/ 0 w 259"/>
                <a:gd name="T113" fmla="*/ 0 h 129"/>
                <a:gd name="T114" fmla="*/ 0 w 259"/>
                <a:gd name="T115" fmla="*/ 0 h 129"/>
                <a:gd name="T116" fmla="*/ 0 w 259"/>
                <a:gd name="T117" fmla="*/ 0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59"/>
                <a:gd name="T178" fmla="*/ 0 h 129"/>
                <a:gd name="T179" fmla="*/ 259 w 259"/>
                <a:gd name="T180" fmla="*/ 129 h 12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00" name="Freeform 911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3060" y="1348"/>
              <a:ext cx="123" cy="90"/>
            </a:xfrm>
            <a:custGeom>
              <a:avLst/>
              <a:gdLst>
                <a:gd name="T0" fmla="*/ 0 w 425"/>
                <a:gd name="T1" fmla="*/ 0 h 272"/>
                <a:gd name="T2" fmla="*/ 0 w 425"/>
                <a:gd name="T3" fmla="*/ 0 h 272"/>
                <a:gd name="T4" fmla="*/ 0 w 425"/>
                <a:gd name="T5" fmla="*/ 0 h 272"/>
                <a:gd name="T6" fmla="*/ 0 w 425"/>
                <a:gd name="T7" fmla="*/ 0 h 272"/>
                <a:gd name="T8" fmla="*/ 0 w 425"/>
                <a:gd name="T9" fmla="*/ 0 h 272"/>
                <a:gd name="T10" fmla="*/ 0 w 425"/>
                <a:gd name="T11" fmla="*/ 0 h 272"/>
                <a:gd name="T12" fmla="*/ 0 w 425"/>
                <a:gd name="T13" fmla="*/ 0 h 272"/>
                <a:gd name="T14" fmla="*/ 0 w 425"/>
                <a:gd name="T15" fmla="*/ 0 h 272"/>
                <a:gd name="T16" fmla="*/ 0 w 425"/>
                <a:gd name="T17" fmla="*/ 0 h 272"/>
                <a:gd name="T18" fmla="*/ 0 w 425"/>
                <a:gd name="T19" fmla="*/ 0 h 272"/>
                <a:gd name="T20" fmla="*/ 0 w 425"/>
                <a:gd name="T21" fmla="*/ 0 h 272"/>
                <a:gd name="T22" fmla="*/ 0 w 425"/>
                <a:gd name="T23" fmla="*/ 0 h 272"/>
                <a:gd name="T24" fmla="*/ 0 w 425"/>
                <a:gd name="T25" fmla="*/ 0 h 272"/>
                <a:gd name="T26" fmla="*/ 0 w 425"/>
                <a:gd name="T27" fmla="*/ 0 h 272"/>
                <a:gd name="T28" fmla="*/ 0 w 425"/>
                <a:gd name="T29" fmla="*/ 0 h 272"/>
                <a:gd name="T30" fmla="*/ 0 w 425"/>
                <a:gd name="T31" fmla="*/ 0 h 272"/>
                <a:gd name="T32" fmla="*/ 0 w 425"/>
                <a:gd name="T33" fmla="*/ 0 h 272"/>
                <a:gd name="T34" fmla="*/ 0 w 425"/>
                <a:gd name="T35" fmla="*/ 0 h 272"/>
                <a:gd name="T36" fmla="*/ 0 w 425"/>
                <a:gd name="T37" fmla="*/ 0 h 272"/>
                <a:gd name="T38" fmla="*/ 0 w 425"/>
                <a:gd name="T39" fmla="*/ 0 h 272"/>
                <a:gd name="T40" fmla="*/ 0 w 425"/>
                <a:gd name="T41" fmla="*/ 0 h 272"/>
                <a:gd name="T42" fmla="*/ 0 w 425"/>
                <a:gd name="T43" fmla="*/ 0 h 272"/>
                <a:gd name="T44" fmla="*/ 0 w 425"/>
                <a:gd name="T45" fmla="*/ 0 h 272"/>
                <a:gd name="T46" fmla="*/ 0 w 425"/>
                <a:gd name="T47" fmla="*/ 0 h 272"/>
                <a:gd name="T48" fmla="*/ 0 w 425"/>
                <a:gd name="T49" fmla="*/ 0 h 272"/>
                <a:gd name="T50" fmla="*/ 0 w 425"/>
                <a:gd name="T51" fmla="*/ 0 h 272"/>
                <a:gd name="T52" fmla="*/ 0 w 425"/>
                <a:gd name="T53" fmla="*/ 0 h 272"/>
                <a:gd name="T54" fmla="*/ 0 w 425"/>
                <a:gd name="T55" fmla="*/ 0 h 272"/>
                <a:gd name="T56" fmla="*/ 0 w 425"/>
                <a:gd name="T57" fmla="*/ 0 h 272"/>
                <a:gd name="T58" fmla="*/ 0 w 425"/>
                <a:gd name="T59" fmla="*/ 0 h 272"/>
                <a:gd name="T60" fmla="*/ 0 w 425"/>
                <a:gd name="T61" fmla="*/ 0 h 272"/>
                <a:gd name="T62" fmla="*/ 0 w 425"/>
                <a:gd name="T63" fmla="*/ 0 h 272"/>
                <a:gd name="T64" fmla="*/ 0 w 425"/>
                <a:gd name="T65" fmla="*/ 0 h 272"/>
                <a:gd name="T66" fmla="*/ 0 w 425"/>
                <a:gd name="T67" fmla="*/ 0 h 272"/>
                <a:gd name="T68" fmla="*/ 0 w 425"/>
                <a:gd name="T69" fmla="*/ 0 h 272"/>
                <a:gd name="T70" fmla="*/ 0 w 425"/>
                <a:gd name="T71" fmla="*/ 0 h 272"/>
                <a:gd name="T72" fmla="*/ 0 w 425"/>
                <a:gd name="T73" fmla="*/ 0 h 272"/>
                <a:gd name="T74" fmla="*/ 0 w 425"/>
                <a:gd name="T75" fmla="*/ 0 h 272"/>
                <a:gd name="T76" fmla="*/ 0 w 425"/>
                <a:gd name="T77" fmla="*/ 0 h 272"/>
                <a:gd name="T78" fmla="*/ 0 w 425"/>
                <a:gd name="T79" fmla="*/ 0 h 272"/>
                <a:gd name="T80" fmla="*/ 0 w 425"/>
                <a:gd name="T81" fmla="*/ 0 h 272"/>
                <a:gd name="T82" fmla="*/ 0 w 425"/>
                <a:gd name="T83" fmla="*/ 0 h 272"/>
                <a:gd name="T84" fmla="*/ 0 w 425"/>
                <a:gd name="T85" fmla="*/ 0 h 272"/>
                <a:gd name="T86" fmla="*/ 0 w 425"/>
                <a:gd name="T87" fmla="*/ 0 h 272"/>
                <a:gd name="T88" fmla="*/ 0 w 425"/>
                <a:gd name="T89" fmla="*/ 0 h 272"/>
                <a:gd name="T90" fmla="*/ 0 w 425"/>
                <a:gd name="T91" fmla="*/ 0 h 272"/>
                <a:gd name="T92" fmla="*/ 0 w 425"/>
                <a:gd name="T93" fmla="*/ 0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25"/>
                <a:gd name="T142" fmla="*/ 0 h 272"/>
                <a:gd name="T143" fmla="*/ 425 w 425"/>
                <a:gd name="T144" fmla="*/ 272 h 27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01" name="Freeform 912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1695" y="2002"/>
              <a:ext cx="10" cy="35"/>
            </a:xfrm>
            <a:custGeom>
              <a:avLst/>
              <a:gdLst>
                <a:gd name="T0" fmla="*/ 0 w 33"/>
                <a:gd name="T1" fmla="*/ 68 h 31"/>
                <a:gd name="T2" fmla="*/ 0 w 33"/>
                <a:gd name="T3" fmla="*/ 209 h 31"/>
                <a:gd name="T4" fmla="*/ 0 w 33"/>
                <a:gd name="T5" fmla="*/ 236 h 31"/>
                <a:gd name="T6" fmla="*/ 0 w 33"/>
                <a:gd name="T7" fmla="*/ 289 h 31"/>
                <a:gd name="T8" fmla="*/ 0 w 33"/>
                <a:gd name="T9" fmla="*/ 300 h 31"/>
                <a:gd name="T10" fmla="*/ 0 w 33"/>
                <a:gd name="T11" fmla="*/ 330 h 31"/>
                <a:gd name="T12" fmla="*/ 0 w 33"/>
                <a:gd name="T13" fmla="*/ 339 h 31"/>
                <a:gd name="T14" fmla="*/ 0 w 33"/>
                <a:gd name="T15" fmla="*/ 353 h 31"/>
                <a:gd name="T16" fmla="*/ 0 w 33"/>
                <a:gd name="T17" fmla="*/ 0 h 31"/>
                <a:gd name="T18" fmla="*/ 0 w 33"/>
                <a:gd name="T19" fmla="*/ 0 h 31"/>
                <a:gd name="T20" fmla="*/ 0 w 33"/>
                <a:gd name="T21" fmla="*/ 68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02" name="Freeform 913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3132" y="1343"/>
              <a:ext cx="58" cy="50"/>
            </a:xfrm>
            <a:custGeom>
              <a:avLst/>
              <a:gdLst>
                <a:gd name="T0" fmla="*/ 0 w 192"/>
                <a:gd name="T1" fmla="*/ 0 h 154"/>
                <a:gd name="T2" fmla="*/ 0 w 192"/>
                <a:gd name="T3" fmla="*/ 0 h 154"/>
                <a:gd name="T4" fmla="*/ 0 w 192"/>
                <a:gd name="T5" fmla="*/ 0 h 154"/>
                <a:gd name="T6" fmla="*/ 0 w 192"/>
                <a:gd name="T7" fmla="*/ 0 h 154"/>
                <a:gd name="T8" fmla="*/ 0 w 192"/>
                <a:gd name="T9" fmla="*/ 0 h 154"/>
                <a:gd name="T10" fmla="*/ 0 w 192"/>
                <a:gd name="T11" fmla="*/ 0 h 154"/>
                <a:gd name="T12" fmla="*/ 0 w 192"/>
                <a:gd name="T13" fmla="*/ 0 h 154"/>
                <a:gd name="T14" fmla="*/ 0 w 192"/>
                <a:gd name="T15" fmla="*/ 0 h 154"/>
                <a:gd name="T16" fmla="*/ 0 w 192"/>
                <a:gd name="T17" fmla="*/ 0 h 154"/>
                <a:gd name="T18" fmla="*/ 0 w 192"/>
                <a:gd name="T19" fmla="*/ 0 h 154"/>
                <a:gd name="T20" fmla="*/ 0 w 192"/>
                <a:gd name="T21" fmla="*/ 0 h 154"/>
                <a:gd name="T22" fmla="*/ 0 w 192"/>
                <a:gd name="T23" fmla="*/ 0 h 154"/>
                <a:gd name="T24" fmla="*/ 0 w 192"/>
                <a:gd name="T25" fmla="*/ 0 h 154"/>
                <a:gd name="T26" fmla="*/ 0 w 192"/>
                <a:gd name="T27" fmla="*/ 0 h 154"/>
                <a:gd name="T28" fmla="*/ 0 w 192"/>
                <a:gd name="T29" fmla="*/ 0 h 154"/>
                <a:gd name="T30" fmla="*/ 0 w 192"/>
                <a:gd name="T31" fmla="*/ 0 h 154"/>
                <a:gd name="T32" fmla="*/ 0 w 192"/>
                <a:gd name="T33" fmla="*/ 0 h 154"/>
                <a:gd name="T34" fmla="*/ 0 w 192"/>
                <a:gd name="T35" fmla="*/ 0 h 154"/>
                <a:gd name="T36" fmla="*/ 0 w 192"/>
                <a:gd name="T37" fmla="*/ 0 h 154"/>
                <a:gd name="T38" fmla="*/ 0 w 192"/>
                <a:gd name="T39" fmla="*/ 0 h 154"/>
                <a:gd name="T40" fmla="*/ 0 w 192"/>
                <a:gd name="T41" fmla="*/ 0 h 154"/>
                <a:gd name="T42" fmla="*/ 0 w 192"/>
                <a:gd name="T43" fmla="*/ 0 h 154"/>
                <a:gd name="T44" fmla="*/ 0 w 192"/>
                <a:gd name="T45" fmla="*/ 0 h 154"/>
                <a:gd name="T46" fmla="*/ 0 w 192"/>
                <a:gd name="T47" fmla="*/ 0 h 154"/>
                <a:gd name="T48" fmla="*/ 0 w 192"/>
                <a:gd name="T49" fmla="*/ 0 h 154"/>
                <a:gd name="T50" fmla="*/ 0 w 192"/>
                <a:gd name="T51" fmla="*/ 0 h 154"/>
                <a:gd name="T52" fmla="*/ 0 w 192"/>
                <a:gd name="T53" fmla="*/ 0 h 154"/>
                <a:gd name="T54" fmla="*/ 0 w 192"/>
                <a:gd name="T55" fmla="*/ 0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92"/>
                <a:gd name="T85" fmla="*/ 0 h 154"/>
                <a:gd name="T86" fmla="*/ 192 w 192"/>
                <a:gd name="T87" fmla="*/ 154 h 15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03" name="Freeform 914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3076" y="1269"/>
              <a:ext cx="260" cy="156"/>
            </a:xfrm>
            <a:custGeom>
              <a:avLst/>
              <a:gdLst>
                <a:gd name="T0" fmla="*/ 0 w 877"/>
                <a:gd name="T1" fmla="*/ 0 h 469"/>
                <a:gd name="T2" fmla="*/ 0 w 877"/>
                <a:gd name="T3" fmla="*/ 0 h 469"/>
                <a:gd name="T4" fmla="*/ 0 w 877"/>
                <a:gd name="T5" fmla="*/ 0 h 469"/>
                <a:gd name="T6" fmla="*/ 0 w 877"/>
                <a:gd name="T7" fmla="*/ 0 h 469"/>
                <a:gd name="T8" fmla="*/ 0 w 877"/>
                <a:gd name="T9" fmla="*/ 0 h 469"/>
                <a:gd name="T10" fmla="*/ 0 w 877"/>
                <a:gd name="T11" fmla="*/ 0 h 469"/>
                <a:gd name="T12" fmla="*/ 0 w 877"/>
                <a:gd name="T13" fmla="*/ 0 h 469"/>
                <a:gd name="T14" fmla="*/ 0 w 877"/>
                <a:gd name="T15" fmla="*/ 0 h 469"/>
                <a:gd name="T16" fmla="*/ 0 w 877"/>
                <a:gd name="T17" fmla="*/ 0 h 469"/>
                <a:gd name="T18" fmla="*/ 0 w 877"/>
                <a:gd name="T19" fmla="*/ 0 h 469"/>
                <a:gd name="T20" fmla="*/ 0 w 877"/>
                <a:gd name="T21" fmla="*/ 0 h 469"/>
                <a:gd name="T22" fmla="*/ 0 w 877"/>
                <a:gd name="T23" fmla="*/ 0 h 469"/>
                <a:gd name="T24" fmla="*/ 0 w 877"/>
                <a:gd name="T25" fmla="*/ 0 h 469"/>
                <a:gd name="T26" fmla="*/ 0 w 877"/>
                <a:gd name="T27" fmla="*/ 0 h 469"/>
                <a:gd name="T28" fmla="*/ 0 w 877"/>
                <a:gd name="T29" fmla="*/ 0 h 469"/>
                <a:gd name="T30" fmla="*/ 0 w 877"/>
                <a:gd name="T31" fmla="*/ 0 h 469"/>
                <a:gd name="T32" fmla="*/ 0 w 877"/>
                <a:gd name="T33" fmla="*/ 0 h 469"/>
                <a:gd name="T34" fmla="*/ 0 w 877"/>
                <a:gd name="T35" fmla="*/ 0 h 469"/>
                <a:gd name="T36" fmla="*/ 0 w 877"/>
                <a:gd name="T37" fmla="*/ 0 h 469"/>
                <a:gd name="T38" fmla="*/ 0 w 877"/>
                <a:gd name="T39" fmla="*/ 0 h 469"/>
                <a:gd name="T40" fmla="*/ 0 w 877"/>
                <a:gd name="T41" fmla="*/ 0 h 469"/>
                <a:gd name="T42" fmla="*/ 0 w 877"/>
                <a:gd name="T43" fmla="*/ 0 h 469"/>
                <a:gd name="T44" fmla="*/ 0 w 877"/>
                <a:gd name="T45" fmla="*/ 0 h 469"/>
                <a:gd name="T46" fmla="*/ 0 w 877"/>
                <a:gd name="T47" fmla="*/ 0 h 469"/>
                <a:gd name="T48" fmla="*/ 0 w 877"/>
                <a:gd name="T49" fmla="*/ 0 h 469"/>
                <a:gd name="T50" fmla="*/ 0 w 877"/>
                <a:gd name="T51" fmla="*/ 0 h 469"/>
                <a:gd name="T52" fmla="*/ 0 w 877"/>
                <a:gd name="T53" fmla="*/ 0 h 469"/>
                <a:gd name="T54" fmla="*/ 0 w 877"/>
                <a:gd name="T55" fmla="*/ 0 h 469"/>
                <a:gd name="T56" fmla="*/ 0 w 877"/>
                <a:gd name="T57" fmla="*/ 0 h 469"/>
                <a:gd name="T58" fmla="*/ 0 w 877"/>
                <a:gd name="T59" fmla="*/ 0 h 469"/>
                <a:gd name="T60" fmla="*/ 0 w 877"/>
                <a:gd name="T61" fmla="*/ 0 h 469"/>
                <a:gd name="T62" fmla="*/ 0 w 877"/>
                <a:gd name="T63" fmla="*/ 0 h 469"/>
                <a:gd name="T64" fmla="*/ 0 w 877"/>
                <a:gd name="T65" fmla="*/ 0 h 469"/>
                <a:gd name="T66" fmla="*/ 0 w 877"/>
                <a:gd name="T67" fmla="*/ 0 h 469"/>
                <a:gd name="T68" fmla="*/ 0 w 877"/>
                <a:gd name="T69" fmla="*/ 0 h 469"/>
                <a:gd name="T70" fmla="*/ 0 w 877"/>
                <a:gd name="T71" fmla="*/ 0 h 469"/>
                <a:gd name="T72" fmla="*/ 0 w 877"/>
                <a:gd name="T73" fmla="*/ 0 h 469"/>
                <a:gd name="T74" fmla="*/ 0 w 877"/>
                <a:gd name="T75" fmla="*/ 0 h 469"/>
                <a:gd name="T76" fmla="*/ 0 w 877"/>
                <a:gd name="T77" fmla="*/ 0 h 469"/>
                <a:gd name="T78" fmla="*/ 0 w 877"/>
                <a:gd name="T79" fmla="*/ 0 h 469"/>
                <a:gd name="T80" fmla="*/ 0 w 877"/>
                <a:gd name="T81" fmla="*/ 0 h 469"/>
                <a:gd name="T82" fmla="*/ 0 w 877"/>
                <a:gd name="T83" fmla="*/ 0 h 469"/>
                <a:gd name="T84" fmla="*/ 0 w 877"/>
                <a:gd name="T85" fmla="*/ 0 h 469"/>
                <a:gd name="T86" fmla="*/ 0 w 877"/>
                <a:gd name="T87" fmla="*/ 0 h 469"/>
                <a:gd name="T88" fmla="*/ 0 w 877"/>
                <a:gd name="T89" fmla="*/ 0 h 469"/>
                <a:gd name="T90" fmla="*/ 0 w 877"/>
                <a:gd name="T91" fmla="*/ 0 h 469"/>
                <a:gd name="T92" fmla="*/ 0 w 877"/>
                <a:gd name="T93" fmla="*/ 0 h 469"/>
                <a:gd name="T94" fmla="*/ 0 w 877"/>
                <a:gd name="T95" fmla="*/ 0 h 469"/>
                <a:gd name="T96" fmla="*/ 0 w 877"/>
                <a:gd name="T97" fmla="*/ 0 h 469"/>
                <a:gd name="T98" fmla="*/ 0 w 877"/>
                <a:gd name="T99" fmla="*/ 0 h 469"/>
                <a:gd name="T100" fmla="*/ 0 w 877"/>
                <a:gd name="T101" fmla="*/ 0 h 469"/>
                <a:gd name="T102" fmla="*/ 0 w 877"/>
                <a:gd name="T103" fmla="*/ 0 h 469"/>
                <a:gd name="T104" fmla="*/ 0 w 877"/>
                <a:gd name="T105" fmla="*/ 0 h 469"/>
                <a:gd name="T106" fmla="*/ 0 w 877"/>
                <a:gd name="T107" fmla="*/ 0 h 469"/>
                <a:gd name="T108" fmla="*/ 0 w 877"/>
                <a:gd name="T109" fmla="*/ 0 h 469"/>
                <a:gd name="T110" fmla="*/ 0 w 877"/>
                <a:gd name="T111" fmla="*/ 0 h 469"/>
                <a:gd name="T112" fmla="*/ 0 w 877"/>
                <a:gd name="T113" fmla="*/ 0 h 469"/>
                <a:gd name="T114" fmla="*/ 0 w 877"/>
                <a:gd name="T115" fmla="*/ 0 h 469"/>
                <a:gd name="T116" fmla="*/ 0 w 877"/>
                <a:gd name="T117" fmla="*/ 0 h 469"/>
                <a:gd name="T118" fmla="*/ 0 w 877"/>
                <a:gd name="T119" fmla="*/ 0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7"/>
                <a:gd name="T181" fmla="*/ 0 h 469"/>
                <a:gd name="T182" fmla="*/ 877 w 877"/>
                <a:gd name="T183" fmla="*/ 469 h 46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04" name="Freeform 915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3424" y="1485"/>
              <a:ext cx="33" cy="40"/>
            </a:xfrm>
            <a:custGeom>
              <a:avLst/>
              <a:gdLst>
                <a:gd name="T0" fmla="*/ 0 w 107"/>
                <a:gd name="T1" fmla="*/ 0 h 123"/>
                <a:gd name="T2" fmla="*/ 0 w 107"/>
                <a:gd name="T3" fmla="*/ 0 h 123"/>
                <a:gd name="T4" fmla="*/ 0 w 107"/>
                <a:gd name="T5" fmla="*/ 0 h 123"/>
                <a:gd name="T6" fmla="*/ 0 w 107"/>
                <a:gd name="T7" fmla="*/ 0 h 123"/>
                <a:gd name="T8" fmla="*/ 0 w 107"/>
                <a:gd name="T9" fmla="*/ 0 h 123"/>
                <a:gd name="T10" fmla="*/ 0 w 107"/>
                <a:gd name="T11" fmla="*/ 0 h 123"/>
                <a:gd name="T12" fmla="*/ 0 w 107"/>
                <a:gd name="T13" fmla="*/ 0 h 123"/>
                <a:gd name="T14" fmla="*/ 0 w 107"/>
                <a:gd name="T15" fmla="*/ 0 h 123"/>
                <a:gd name="T16" fmla="*/ 0 w 107"/>
                <a:gd name="T17" fmla="*/ 0 h 123"/>
                <a:gd name="T18" fmla="*/ 0 w 107"/>
                <a:gd name="T19" fmla="*/ 0 h 123"/>
                <a:gd name="T20" fmla="*/ 0 w 107"/>
                <a:gd name="T21" fmla="*/ 0 h 123"/>
                <a:gd name="T22" fmla="*/ 0 w 107"/>
                <a:gd name="T23" fmla="*/ 0 h 123"/>
                <a:gd name="T24" fmla="*/ 0 w 107"/>
                <a:gd name="T25" fmla="*/ 0 h 123"/>
                <a:gd name="T26" fmla="*/ 0 w 107"/>
                <a:gd name="T27" fmla="*/ 0 h 123"/>
                <a:gd name="T28" fmla="*/ 0 w 107"/>
                <a:gd name="T29" fmla="*/ 0 h 123"/>
                <a:gd name="T30" fmla="*/ 0 w 107"/>
                <a:gd name="T31" fmla="*/ 0 h 123"/>
                <a:gd name="T32" fmla="*/ 0 w 107"/>
                <a:gd name="T33" fmla="*/ 0 h 123"/>
                <a:gd name="T34" fmla="*/ 0 w 107"/>
                <a:gd name="T35" fmla="*/ 0 h 123"/>
                <a:gd name="T36" fmla="*/ 0 w 107"/>
                <a:gd name="T37" fmla="*/ 0 h 123"/>
                <a:gd name="T38" fmla="*/ 0 w 107"/>
                <a:gd name="T39" fmla="*/ 0 h 123"/>
                <a:gd name="T40" fmla="*/ 0 w 107"/>
                <a:gd name="T41" fmla="*/ 0 h 123"/>
                <a:gd name="T42" fmla="*/ 0 w 107"/>
                <a:gd name="T43" fmla="*/ 0 h 123"/>
                <a:gd name="T44" fmla="*/ 0 w 107"/>
                <a:gd name="T45" fmla="*/ 0 h 123"/>
                <a:gd name="T46" fmla="*/ 0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7"/>
                <a:gd name="T73" fmla="*/ 0 h 123"/>
                <a:gd name="T74" fmla="*/ 107 w 107"/>
                <a:gd name="T75" fmla="*/ 123 h 1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05" name="Freeform 916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3795" y="1494"/>
              <a:ext cx="142" cy="77"/>
            </a:xfrm>
            <a:custGeom>
              <a:avLst/>
              <a:gdLst>
                <a:gd name="T0" fmla="*/ 0 w 471"/>
                <a:gd name="T1" fmla="*/ 0 h 234"/>
                <a:gd name="T2" fmla="*/ 0 w 471"/>
                <a:gd name="T3" fmla="*/ 0 h 234"/>
                <a:gd name="T4" fmla="*/ 0 w 471"/>
                <a:gd name="T5" fmla="*/ 0 h 234"/>
                <a:gd name="T6" fmla="*/ 0 w 471"/>
                <a:gd name="T7" fmla="*/ 0 h 234"/>
                <a:gd name="T8" fmla="*/ 0 w 471"/>
                <a:gd name="T9" fmla="*/ 0 h 234"/>
                <a:gd name="T10" fmla="*/ 0 w 471"/>
                <a:gd name="T11" fmla="*/ 0 h 234"/>
                <a:gd name="T12" fmla="*/ 0 w 471"/>
                <a:gd name="T13" fmla="*/ 0 h 234"/>
                <a:gd name="T14" fmla="*/ 0 w 471"/>
                <a:gd name="T15" fmla="*/ 0 h 234"/>
                <a:gd name="T16" fmla="*/ 0 w 471"/>
                <a:gd name="T17" fmla="*/ 0 h 234"/>
                <a:gd name="T18" fmla="*/ 0 w 471"/>
                <a:gd name="T19" fmla="*/ 0 h 234"/>
                <a:gd name="T20" fmla="*/ 0 w 471"/>
                <a:gd name="T21" fmla="*/ 0 h 234"/>
                <a:gd name="T22" fmla="*/ 0 w 471"/>
                <a:gd name="T23" fmla="*/ 0 h 234"/>
                <a:gd name="T24" fmla="*/ 0 w 471"/>
                <a:gd name="T25" fmla="*/ 0 h 234"/>
                <a:gd name="T26" fmla="*/ 0 w 471"/>
                <a:gd name="T27" fmla="*/ 0 h 234"/>
                <a:gd name="T28" fmla="*/ 0 w 471"/>
                <a:gd name="T29" fmla="*/ 0 h 234"/>
                <a:gd name="T30" fmla="*/ 0 w 471"/>
                <a:gd name="T31" fmla="*/ 0 h 234"/>
                <a:gd name="T32" fmla="*/ 0 w 471"/>
                <a:gd name="T33" fmla="*/ 0 h 234"/>
                <a:gd name="T34" fmla="*/ 0 w 471"/>
                <a:gd name="T35" fmla="*/ 0 h 234"/>
                <a:gd name="T36" fmla="*/ 0 w 471"/>
                <a:gd name="T37" fmla="*/ 0 h 234"/>
                <a:gd name="T38" fmla="*/ 0 w 471"/>
                <a:gd name="T39" fmla="*/ 0 h 234"/>
                <a:gd name="T40" fmla="*/ 0 w 471"/>
                <a:gd name="T41" fmla="*/ 0 h 234"/>
                <a:gd name="T42" fmla="*/ 0 w 471"/>
                <a:gd name="T43" fmla="*/ 0 h 234"/>
                <a:gd name="T44" fmla="*/ 0 w 471"/>
                <a:gd name="T45" fmla="*/ 0 h 234"/>
                <a:gd name="T46" fmla="*/ 0 w 471"/>
                <a:gd name="T47" fmla="*/ 0 h 234"/>
                <a:gd name="T48" fmla="*/ 0 w 471"/>
                <a:gd name="T49" fmla="*/ 0 h 234"/>
                <a:gd name="T50" fmla="*/ 0 w 471"/>
                <a:gd name="T51" fmla="*/ 0 h 234"/>
                <a:gd name="T52" fmla="*/ 0 w 471"/>
                <a:gd name="T53" fmla="*/ 0 h 234"/>
                <a:gd name="T54" fmla="*/ 0 w 471"/>
                <a:gd name="T55" fmla="*/ 0 h 234"/>
                <a:gd name="T56" fmla="*/ 0 w 471"/>
                <a:gd name="T57" fmla="*/ 0 h 234"/>
                <a:gd name="T58" fmla="*/ 0 w 471"/>
                <a:gd name="T59" fmla="*/ 0 h 234"/>
                <a:gd name="T60" fmla="*/ 0 w 471"/>
                <a:gd name="T61" fmla="*/ 0 h 234"/>
                <a:gd name="T62" fmla="*/ 0 w 471"/>
                <a:gd name="T63" fmla="*/ 0 h 234"/>
                <a:gd name="T64" fmla="*/ 0 w 471"/>
                <a:gd name="T65" fmla="*/ 0 h 234"/>
                <a:gd name="T66" fmla="*/ 0 w 471"/>
                <a:gd name="T67" fmla="*/ 0 h 234"/>
                <a:gd name="T68" fmla="*/ 0 w 471"/>
                <a:gd name="T69" fmla="*/ 0 h 234"/>
                <a:gd name="T70" fmla="*/ 0 w 471"/>
                <a:gd name="T71" fmla="*/ 0 h 234"/>
                <a:gd name="T72" fmla="*/ 0 w 471"/>
                <a:gd name="T73" fmla="*/ 0 h 234"/>
                <a:gd name="T74" fmla="*/ 0 w 471"/>
                <a:gd name="T75" fmla="*/ 0 h 234"/>
                <a:gd name="T76" fmla="*/ 0 w 471"/>
                <a:gd name="T77" fmla="*/ 0 h 234"/>
                <a:gd name="T78" fmla="*/ 0 w 471"/>
                <a:gd name="T79" fmla="*/ 0 h 234"/>
                <a:gd name="T80" fmla="*/ 0 w 471"/>
                <a:gd name="T81" fmla="*/ 0 h 234"/>
                <a:gd name="T82" fmla="*/ 0 w 471"/>
                <a:gd name="T83" fmla="*/ 0 h 234"/>
                <a:gd name="T84" fmla="*/ 0 w 471"/>
                <a:gd name="T85" fmla="*/ 0 h 234"/>
                <a:gd name="T86" fmla="*/ 0 w 471"/>
                <a:gd name="T87" fmla="*/ 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1"/>
                <a:gd name="T133" fmla="*/ 0 h 234"/>
                <a:gd name="T134" fmla="*/ 471 w 471"/>
                <a:gd name="T135" fmla="*/ 234 h 2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06" name="Freeform 917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3829" y="1449"/>
              <a:ext cx="153" cy="79"/>
            </a:xfrm>
            <a:custGeom>
              <a:avLst/>
              <a:gdLst>
                <a:gd name="T0" fmla="*/ 0 w 525"/>
                <a:gd name="T1" fmla="*/ 0 h 241"/>
                <a:gd name="T2" fmla="*/ 0 w 525"/>
                <a:gd name="T3" fmla="*/ 0 h 241"/>
                <a:gd name="T4" fmla="*/ 0 w 525"/>
                <a:gd name="T5" fmla="*/ 0 h 241"/>
                <a:gd name="T6" fmla="*/ 0 w 525"/>
                <a:gd name="T7" fmla="*/ 0 h 241"/>
                <a:gd name="T8" fmla="*/ 0 w 525"/>
                <a:gd name="T9" fmla="*/ 0 h 241"/>
                <a:gd name="T10" fmla="*/ 0 w 525"/>
                <a:gd name="T11" fmla="*/ 0 h 241"/>
                <a:gd name="T12" fmla="*/ 0 w 525"/>
                <a:gd name="T13" fmla="*/ 0 h 241"/>
                <a:gd name="T14" fmla="*/ 0 w 525"/>
                <a:gd name="T15" fmla="*/ 0 h 241"/>
                <a:gd name="T16" fmla="*/ 0 w 525"/>
                <a:gd name="T17" fmla="*/ 0 h 241"/>
                <a:gd name="T18" fmla="*/ 0 w 525"/>
                <a:gd name="T19" fmla="*/ 0 h 241"/>
                <a:gd name="T20" fmla="*/ 0 w 525"/>
                <a:gd name="T21" fmla="*/ 0 h 241"/>
                <a:gd name="T22" fmla="*/ 0 w 525"/>
                <a:gd name="T23" fmla="*/ 0 h 241"/>
                <a:gd name="T24" fmla="*/ 0 w 525"/>
                <a:gd name="T25" fmla="*/ 0 h 241"/>
                <a:gd name="T26" fmla="*/ 0 w 525"/>
                <a:gd name="T27" fmla="*/ 0 h 241"/>
                <a:gd name="T28" fmla="*/ 0 w 525"/>
                <a:gd name="T29" fmla="*/ 0 h 241"/>
                <a:gd name="T30" fmla="*/ 0 w 525"/>
                <a:gd name="T31" fmla="*/ 0 h 241"/>
                <a:gd name="T32" fmla="*/ 0 w 525"/>
                <a:gd name="T33" fmla="*/ 0 h 241"/>
                <a:gd name="T34" fmla="*/ 0 w 525"/>
                <a:gd name="T35" fmla="*/ 0 h 241"/>
                <a:gd name="T36" fmla="*/ 0 w 525"/>
                <a:gd name="T37" fmla="*/ 0 h 241"/>
                <a:gd name="T38" fmla="*/ 0 w 525"/>
                <a:gd name="T39" fmla="*/ 0 h 241"/>
                <a:gd name="T40" fmla="*/ 0 w 525"/>
                <a:gd name="T41" fmla="*/ 0 h 241"/>
                <a:gd name="T42" fmla="*/ 0 w 525"/>
                <a:gd name="T43" fmla="*/ 0 h 241"/>
                <a:gd name="T44" fmla="*/ 0 w 525"/>
                <a:gd name="T45" fmla="*/ 0 h 241"/>
                <a:gd name="T46" fmla="*/ 0 w 525"/>
                <a:gd name="T47" fmla="*/ 0 h 241"/>
                <a:gd name="T48" fmla="*/ 0 w 525"/>
                <a:gd name="T49" fmla="*/ 0 h 241"/>
                <a:gd name="T50" fmla="*/ 0 w 525"/>
                <a:gd name="T51" fmla="*/ 0 h 241"/>
                <a:gd name="T52" fmla="*/ 0 w 525"/>
                <a:gd name="T53" fmla="*/ 0 h 241"/>
                <a:gd name="T54" fmla="*/ 0 w 525"/>
                <a:gd name="T55" fmla="*/ 0 h 241"/>
                <a:gd name="T56" fmla="*/ 0 w 525"/>
                <a:gd name="T57" fmla="*/ 0 h 241"/>
                <a:gd name="T58" fmla="*/ 0 w 525"/>
                <a:gd name="T59" fmla="*/ 0 h 241"/>
                <a:gd name="T60" fmla="*/ 0 w 525"/>
                <a:gd name="T61" fmla="*/ 0 h 241"/>
                <a:gd name="T62" fmla="*/ 0 w 525"/>
                <a:gd name="T63" fmla="*/ 0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25"/>
                <a:gd name="T97" fmla="*/ 0 h 241"/>
                <a:gd name="T98" fmla="*/ 525 w 525"/>
                <a:gd name="T99" fmla="*/ 241 h 24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07" name="Freeform 918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3560" y="1459"/>
              <a:ext cx="234" cy="143"/>
            </a:xfrm>
            <a:custGeom>
              <a:avLst/>
              <a:gdLst>
                <a:gd name="T0" fmla="*/ 0 w 784"/>
                <a:gd name="T1" fmla="*/ 0 h 430"/>
                <a:gd name="T2" fmla="*/ 0 w 784"/>
                <a:gd name="T3" fmla="*/ 0 h 430"/>
                <a:gd name="T4" fmla="*/ 0 w 784"/>
                <a:gd name="T5" fmla="*/ 0 h 430"/>
                <a:gd name="T6" fmla="*/ 0 w 784"/>
                <a:gd name="T7" fmla="*/ 0 h 430"/>
                <a:gd name="T8" fmla="*/ 0 w 784"/>
                <a:gd name="T9" fmla="*/ 0 h 430"/>
                <a:gd name="T10" fmla="*/ 0 w 784"/>
                <a:gd name="T11" fmla="*/ 0 h 430"/>
                <a:gd name="T12" fmla="*/ 0 w 784"/>
                <a:gd name="T13" fmla="*/ 0 h 430"/>
                <a:gd name="T14" fmla="*/ 0 w 784"/>
                <a:gd name="T15" fmla="*/ 0 h 430"/>
                <a:gd name="T16" fmla="*/ 0 w 784"/>
                <a:gd name="T17" fmla="*/ 0 h 430"/>
                <a:gd name="T18" fmla="*/ 0 w 784"/>
                <a:gd name="T19" fmla="*/ 0 h 430"/>
                <a:gd name="T20" fmla="*/ 0 w 784"/>
                <a:gd name="T21" fmla="*/ 0 h 430"/>
                <a:gd name="T22" fmla="*/ 0 w 784"/>
                <a:gd name="T23" fmla="*/ 0 h 430"/>
                <a:gd name="T24" fmla="*/ 0 w 784"/>
                <a:gd name="T25" fmla="*/ 0 h 430"/>
                <a:gd name="T26" fmla="*/ 0 w 784"/>
                <a:gd name="T27" fmla="*/ 0 h 430"/>
                <a:gd name="T28" fmla="*/ 0 w 784"/>
                <a:gd name="T29" fmla="*/ 0 h 430"/>
                <a:gd name="T30" fmla="*/ 0 w 784"/>
                <a:gd name="T31" fmla="*/ 0 h 430"/>
                <a:gd name="T32" fmla="*/ 0 w 784"/>
                <a:gd name="T33" fmla="*/ 0 h 430"/>
                <a:gd name="T34" fmla="*/ 0 w 784"/>
                <a:gd name="T35" fmla="*/ 0 h 430"/>
                <a:gd name="T36" fmla="*/ 0 w 784"/>
                <a:gd name="T37" fmla="*/ 0 h 430"/>
                <a:gd name="T38" fmla="*/ 0 w 784"/>
                <a:gd name="T39" fmla="*/ 0 h 430"/>
                <a:gd name="T40" fmla="*/ 0 w 784"/>
                <a:gd name="T41" fmla="*/ 0 h 430"/>
                <a:gd name="T42" fmla="*/ 0 w 784"/>
                <a:gd name="T43" fmla="*/ 0 h 430"/>
                <a:gd name="T44" fmla="*/ 0 w 784"/>
                <a:gd name="T45" fmla="*/ 0 h 430"/>
                <a:gd name="T46" fmla="*/ 0 w 784"/>
                <a:gd name="T47" fmla="*/ 0 h 430"/>
                <a:gd name="T48" fmla="*/ 0 w 784"/>
                <a:gd name="T49" fmla="*/ 0 h 430"/>
                <a:gd name="T50" fmla="*/ 0 w 784"/>
                <a:gd name="T51" fmla="*/ 0 h 430"/>
                <a:gd name="T52" fmla="*/ 0 w 784"/>
                <a:gd name="T53" fmla="*/ 0 h 430"/>
                <a:gd name="T54" fmla="*/ 0 w 784"/>
                <a:gd name="T55" fmla="*/ 0 h 430"/>
                <a:gd name="T56" fmla="*/ 0 w 784"/>
                <a:gd name="T57" fmla="*/ 0 h 430"/>
                <a:gd name="T58" fmla="*/ 0 w 784"/>
                <a:gd name="T59" fmla="*/ 0 h 430"/>
                <a:gd name="T60" fmla="*/ 0 w 784"/>
                <a:gd name="T61" fmla="*/ 0 h 430"/>
                <a:gd name="T62" fmla="*/ 0 w 784"/>
                <a:gd name="T63" fmla="*/ 0 h 430"/>
                <a:gd name="T64" fmla="*/ 0 w 784"/>
                <a:gd name="T65" fmla="*/ 0 h 430"/>
                <a:gd name="T66" fmla="*/ 0 w 784"/>
                <a:gd name="T67" fmla="*/ 0 h 430"/>
                <a:gd name="T68" fmla="*/ 0 w 784"/>
                <a:gd name="T69" fmla="*/ 0 h 430"/>
                <a:gd name="T70" fmla="*/ 0 w 784"/>
                <a:gd name="T71" fmla="*/ 0 h 430"/>
                <a:gd name="T72" fmla="*/ 0 w 784"/>
                <a:gd name="T73" fmla="*/ 0 h 430"/>
                <a:gd name="T74" fmla="*/ 0 w 784"/>
                <a:gd name="T75" fmla="*/ 0 h 430"/>
                <a:gd name="T76" fmla="*/ 0 w 784"/>
                <a:gd name="T77" fmla="*/ 0 h 430"/>
                <a:gd name="T78" fmla="*/ 0 w 784"/>
                <a:gd name="T79" fmla="*/ 0 h 430"/>
                <a:gd name="T80" fmla="*/ 0 w 784"/>
                <a:gd name="T81" fmla="*/ 0 h 430"/>
                <a:gd name="T82" fmla="*/ 0 w 784"/>
                <a:gd name="T83" fmla="*/ 0 h 430"/>
                <a:gd name="T84" fmla="*/ 0 w 784"/>
                <a:gd name="T85" fmla="*/ 0 h 430"/>
                <a:gd name="T86" fmla="*/ 0 w 784"/>
                <a:gd name="T87" fmla="*/ 0 h 430"/>
                <a:gd name="T88" fmla="*/ 0 w 784"/>
                <a:gd name="T89" fmla="*/ 0 h 430"/>
                <a:gd name="T90" fmla="*/ 0 w 784"/>
                <a:gd name="T91" fmla="*/ 0 h 430"/>
                <a:gd name="T92" fmla="*/ 0 w 784"/>
                <a:gd name="T93" fmla="*/ 0 h 430"/>
                <a:gd name="T94" fmla="*/ 0 w 784"/>
                <a:gd name="T95" fmla="*/ 0 h 430"/>
                <a:gd name="T96" fmla="*/ 0 w 784"/>
                <a:gd name="T97" fmla="*/ 0 h 430"/>
                <a:gd name="T98" fmla="*/ 0 w 784"/>
                <a:gd name="T99" fmla="*/ 0 h 430"/>
                <a:gd name="T100" fmla="*/ 0 w 784"/>
                <a:gd name="T101" fmla="*/ 0 h 430"/>
                <a:gd name="T102" fmla="*/ 0 w 784"/>
                <a:gd name="T103" fmla="*/ 0 h 430"/>
                <a:gd name="T104" fmla="*/ 0 w 784"/>
                <a:gd name="T105" fmla="*/ 0 h 430"/>
                <a:gd name="T106" fmla="*/ 0 w 784"/>
                <a:gd name="T107" fmla="*/ 0 h 430"/>
                <a:gd name="T108" fmla="*/ 0 w 784"/>
                <a:gd name="T109" fmla="*/ 0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84"/>
                <a:gd name="T166" fmla="*/ 0 h 430"/>
                <a:gd name="T167" fmla="*/ 784 w 784"/>
                <a:gd name="T168" fmla="*/ 430 h 4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08" name="Freeform 919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3020" y="1388"/>
              <a:ext cx="74" cy="94"/>
            </a:xfrm>
            <a:custGeom>
              <a:avLst/>
              <a:gdLst>
                <a:gd name="T0" fmla="*/ 0 w 246"/>
                <a:gd name="T1" fmla="*/ 0 h 284"/>
                <a:gd name="T2" fmla="*/ 0 w 246"/>
                <a:gd name="T3" fmla="*/ 0 h 284"/>
                <a:gd name="T4" fmla="*/ 0 w 246"/>
                <a:gd name="T5" fmla="*/ 0 h 284"/>
                <a:gd name="T6" fmla="*/ 0 w 246"/>
                <a:gd name="T7" fmla="*/ 0 h 284"/>
                <a:gd name="T8" fmla="*/ 0 w 246"/>
                <a:gd name="T9" fmla="*/ 0 h 284"/>
                <a:gd name="T10" fmla="*/ 0 w 246"/>
                <a:gd name="T11" fmla="*/ 0 h 284"/>
                <a:gd name="T12" fmla="*/ 0 w 246"/>
                <a:gd name="T13" fmla="*/ 0 h 284"/>
                <a:gd name="T14" fmla="*/ 0 w 246"/>
                <a:gd name="T15" fmla="*/ 0 h 284"/>
                <a:gd name="T16" fmla="*/ 0 w 246"/>
                <a:gd name="T17" fmla="*/ 0 h 284"/>
                <a:gd name="T18" fmla="*/ 0 w 246"/>
                <a:gd name="T19" fmla="*/ 0 h 284"/>
                <a:gd name="T20" fmla="*/ 0 w 246"/>
                <a:gd name="T21" fmla="*/ 0 h 284"/>
                <a:gd name="T22" fmla="*/ 0 w 246"/>
                <a:gd name="T23" fmla="*/ 0 h 284"/>
                <a:gd name="T24" fmla="*/ 0 w 246"/>
                <a:gd name="T25" fmla="*/ 0 h 284"/>
                <a:gd name="T26" fmla="*/ 0 w 246"/>
                <a:gd name="T27" fmla="*/ 0 h 284"/>
                <a:gd name="T28" fmla="*/ 0 w 246"/>
                <a:gd name="T29" fmla="*/ 0 h 284"/>
                <a:gd name="T30" fmla="*/ 0 w 246"/>
                <a:gd name="T31" fmla="*/ 0 h 284"/>
                <a:gd name="T32" fmla="*/ 0 w 246"/>
                <a:gd name="T33" fmla="*/ 0 h 284"/>
                <a:gd name="T34" fmla="*/ 0 w 246"/>
                <a:gd name="T35" fmla="*/ 0 h 284"/>
                <a:gd name="T36" fmla="*/ 0 w 246"/>
                <a:gd name="T37" fmla="*/ 0 h 284"/>
                <a:gd name="T38" fmla="*/ 0 w 246"/>
                <a:gd name="T39" fmla="*/ 0 h 284"/>
                <a:gd name="T40" fmla="*/ 0 w 246"/>
                <a:gd name="T41" fmla="*/ 0 h 284"/>
                <a:gd name="T42" fmla="*/ 0 w 246"/>
                <a:gd name="T43" fmla="*/ 0 h 284"/>
                <a:gd name="T44" fmla="*/ 0 w 246"/>
                <a:gd name="T45" fmla="*/ 0 h 284"/>
                <a:gd name="T46" fmla="*/ 0 w 246"/>
                <a:gd name="T47" fmla="*/ 0 h 284"/>
                <a:gd name="T48" fmla="*/ 0 w 246"/>
                <a:gd name="T49" fmla="*/ 0 h 284"/>
                <a:gd name="T50" fmla="*/ 0 w 246"/>
                <a:gd name="T51" fmla="*/ 0 h 284"/>
                <a:gd name="T52" fmla="*/ 0 w 246"/>
                <a:gd name="T53" fmla="*/ 0 h 284"/>
                <a:gd name="T54" fmla="*/ 0 w 246"/>
                <a:gd name="T55" fmla="*/ 0 h 284"/>
                <a:gd name="T56" fmla="*/ 0 w 246"/>
                <a:gd name="T57" fmla="*/ 0 h 284"/>
                <a:gd name="T58" fmla="*/ 0 w 246"/>
                <a:gd name="T59" fmla="*/ 0 h 284"/>
                <a:gd name="T60" fmla="*/ 0 w 246"/>
                <a:gd name="T61" fmla="*/ 0 h 284"/>
                <a:gd name="T62" fmla="*/ 0 w 246"/>
                <a:gd name="T63" fmla="*/ 0 h 284"/>
                <a:gd name="T64" fmla="*/ 0 w 246"/>
                <a:gd name="T65" fmla="*/ 0 h 284"/>
                <a:gd name="T66" fmla="*/ 0 w 246"/>
                <a:gd name="T67" fmla="*/ 0 h 284"/>
                <a:gd name="T68" fmla="*/ 0 w 246"/>
                <a:gd name="T69" fmla="*/ 0 h 284"/>
                <a:gd name="T70" fmla="*/ 0 w 246"/>
                <a:gd name="T71" fmla="*/ 0 h 284"/>
                <a:gd name="T72" fmla="*/ 0 w 246"/>
                <a:gd name="T73" fmla="*/ 0 h 284"/>
                <a:gd name="T74" fmla="*/ 0 w 246"/>
                <a:gd name="T75" fmla="*/ 0 h 284"/>
                <a:gd name="T76" fmla="*/ 0 w 246"/>
                <a:gd name="T77" fmla="*/ 0 h 284"/>
                <a:gd name="T78" fmla="*/ 0 w 246"/>
                <a:gd name="T79" fmla="*/ 0 h 284"/>
                <a:gd name="T80" fmla="*/ 0 w 246"/>
                <a:gd name="T81" fmla="*/ 0 h 284"/>
                <a:gd name="T82" fmla="*/ 0 w 246"/>
                <a:gd name="T83" fmla="*/ 0 h 284"/>
                <a:gd name="T84" fmla="*/ 0 w 246"/>
                <a:gd name="T85" fmla="*/ 0 h 284"/>
                <a:gd name="T86" fmla="*/ 0 w 246"/>
                <a:gd name="T87" fmla="*/ 0 h 284"/>
                <a:gd name="T88" fmla="*/ 0 w 246"/>
                <a:gd name="T89" fmla="*/ 0 h 284"/>
                <a:gd name="T90" fmla="*/ 0 w 246"/>
                <a:gd name="T91" fmla="*/ 0 h 284"/>
                <a:gd name="T92" fmla="*/ 0 w 246"/>
                <a:gd name="T93" fmla="*/ 0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46"/>
                <a:gd name="T142" fmla="*/ 0 h 284"/>
                <a:gd name="T143" fmla="*/ 246 w 246"/>
                <a:gd name="T144" fmla="*/ 284 h 28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09" name="Freeform 920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3053" y="1456"/>
              <a:ext cx="46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0 h 117"/>
                <a:gd name="T4" fmla="*/ 0 w 160"/>
                <a:gd name="T5" fmla="*/ 0 h 117"/>
                <a:gd name="T6" fmla="*/ 0 w 160"/>
                <a:gd name="T7" fmla="*/ 0 h 117"/>
                <a:gd name="T8" fmla="*/ 0 w 160"/>
                <a:gd name="T9" fmla="*/ 0 h 117"/>
                <a:gd name="T10" fmla="*/ 0 w 160"/>
                <a:gd name="T11" fmla="*/ 0 h 117"/>
                <a:gd name="T12" fmla="*/ 0 w 160"/>
                <a:gd name="T13" fmla="*/ 0 h 117"/>
                <a:gd name="T14" fmla="*/ 0 w 160"/>
                <a:gd name="T15" fmla="*/ 0 h 117"/>
                <a:gd name="T16" fmla="*/ 0 w 160"/>
                <a:gd name="T17" fmla="*/ 0 h 117"/>
                <a:gd name="T18" fmla="*/ 0 w 160"/>
                <a:gd name="T19" fmla="*/ 0 h 117"/>
                <a:gd name="T20" fmla="*/ 0 w 160"/>
                <a:gd name="T21" fmla="*/ 0 h 117"/>
                <a:gd name="T22" fmla="*/ 0 w 160"/>
                <a:gd name="T23" fmla="*/ 0 h 117"/>
                <a:gd name="T24" fmla="*/ 0 w 160"/>
                <a:gd name="T25" fmla="*/ 0 h 117"/>
                <a:gd name="T26" fmla="*/ 0 w 160"/>
                <a:gd name="T27" fmla="*/ 0 h 117"/>
                <a:gd name="T28" fmla="*/ 0 w 160"/>
                <a:gd name="T29" fmla="*/ 0 h 117"/>
                <a:gd name="T30" fmla="*/ 0 w 160"/>
                <a:gd name="T31" fmla="*/ 0 h 117"/>
                <a:gd name="T32" fmla="*/ 0 w 160"/>
                <a:gd name="T33" fmla="*/ 0 h 117"/>
                <a:gd name="T34" fmla="*/ 0 w 160"/>
                <a:gd name="T35" fmla="*/ 0 h 117"/>
                <a:gd name="T36" fmla="*/ 0 w 160"/>
                <a:gd name="T37" fmla="*/ 0 h 117"/>
                <a:gd name="T38" fmla="*/ 0 w 160"/>
                <a:gd name="T39" fmla="*/ 0 h 117"/>
                <a:gd name="T40" fmla="*/ 0 w 160"/>
                <a:gd name="T41" fmla="*/ 0 h 117"/>
                <a:gd name="T42" fmla="*/ 0 w 160"/>
                <a:gd name="T43" fmla="*/ 0 h 117"/>
                <a:gd name="T44" fmla="*/ 0 w 160"/>
                <a:gd name="T45" fmla="*/ 0 h 117"/>
                <a:gd name="T46" fmla="*/ 0 w 160"/>
                <a:gd name="T47" fmla="*/ 0 h 117"/>
                <a:gd name="T48" fmla="*/ 0 w 160"/>
                <a:gd name="T49" fmla="*/ 0 h 117"/>
                <a:gd name="T50" fmla="*/ 0 w 160"/>
                <a:gd name="T51" fmla="*/ 0 h 117"/>
                <a:gd name="T52" fmla="*/ 0 w 160"/>
                <a:gd name="T53" fmla="*/ 0 h 117"/>
                <a:gd name="T54" fmla="*/ 0 w 160"/>
                <a:gd name="T55" fmla="*/ 0 h 117"/>
                <a:gd name="T56" fmla="*/ 0 w 160"/>
                <a:gd name="T57" fmla="*/ 0 h 117"/>
                <a:gd name="T58" fmla="*/ 0 w 160"/>
                <a:gd name="T59" fmla="*/ 0 h 117"/>
                <a:gd name="T60" fmla="*/ 0 w 160"/>
                <a:gd name="T61" fmla="*/ 0 h 117"/>
                <a:gd name="T62" fmla="*/ 0 w 160"/>
                <a:gd name="T63" fmla="*/ 0 h 117"/>
                <a:gd name="T64" fmla="*/ 0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0"/>
                <a:gd name="T100" fmla="*/ 0 h 117"/>
                <a:gd name="T101" fmla="*/ 160 w 160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10" name="Freeform 921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3110" y="1849"/>
              <a:ext cx="281" cy="385"/>
            </a:xfrm>
            <a:custGeom>
              <a:avLst/>
              <a:gdLst>
                <a:gd name="T0" fmla="*/ 0 w 943"/>
                <a:gd name="T1" fmla="*/ 0 h 1172"/>
                <a:gd name="T2" fmla="*/ 0 w 943"/>
                <a:gd name="T3" fmla="*/ 0 h 1172"/>
                <a:gd name="T4" fmla="*/ 0 w 943"/>
                <a:gd name="T5" fmla="*/ 0 h 1172"/>
                <a:gd name="T6" fmla="*/ 0 w 943"/>
                <a:gd name="T7" fmla="*/ 0 h 1172"/>
                <a:gd name="T8" fmla="*/ 0 w 943"/>
                <a:gd name="T9" fmla="*/ 0 h 1172"/>
                <a:gd name="T10" fmla="*/ 0 w 943"/>
                <a:gd name="T11" fmla="*/ 0 h 1172"/>
                <a:gd name="T12" fmla="*/ 0 w 943"/>
                <a:gd name="T13" fmla="*/ 0 h 1172"/>
                <a:gd name="T14" fmla="*/ 0 w 943"/>
                <a:gd name="T15" fmla="*/ 0 h 1172"/>
                <a:gd name="T16" fmla="*/ 0 w 943"/>
                <a:gd name="T17" fmla="*/ 0 h 1172"/>
                <a:gd name="T18" fmla="*/ 0 w 943"/>
                <a:gd name="T19" fmla="*/ 0 h 1172"/>
                <a:gd name="T20" fmla="*/ 0 w 943"/>
                <a:gd name="T21" fmla="*/ 0 h 1172"/>
                <a:gd name="T22" fmla="*/ 0 w 943"/>
                <a:gd name="T23" fmla="*/ 0 h 1172"/>
                <a:gd name="T24" fmla="*/ 0 w 943"/>
                <a:gd name="T25" fmla="*/ 0 h 1172"/>
                <a:gd name="T26" fmla="*/ 0 w 943"/>
                <a:gd name="T27" fmla="*/ 0 h 1172"/>
                <a:gd name="T28" fmla="*/ 0 w 943"/>
                <a:gd name="T29" fmla="*/ 0 h 1172"/>
                <a:gd name="T30" fmla="*/ 0 w 943"/>
                <a:gd name="T31" fmla="*/ 0 h 1172"/>
                <a:gd name="T32" fmla="*/ 0 w 943"/>
                <a:gd name="T33" fmla="*/ 0 h 1172"/>
                <a:gd name="T34" fmla="*/ 0 w 943"/>
                <a:gd name="T35" fmla="*/ 0 h 1172"/>
                <a:gd name="T36" fmla="*/ 0 w 943"/>
                <a:gd name="T37" fmla="*/ 0 h 1172"/>
                <a:gd name="T38" fmla="*/ 0 w 943"/>
                <a:gd name="T39" fmla="*/ 0 h 1172"/>
                <a:gd name="T40" fmla="*/ 0 w 943"/>
                <a:gd name="T41" fmla="*/ 0 h 1172"/>
                <a:gd name="T42" fmla="*/ 0 w 943"/>
                <a:gd name="T43" fmla="*/ 0 h 1172"/>
                <a:gd name="T44" fmla="*/ 0 w 943"/>
                <a:gd name="T45" fmla="*/ 0 h 1172"/>
                <a:gd name="T46" fmla="*/ 0 w 943"/>
                <a:gd name="T47" fmla="*/ 0 h 1172"/>
                <a:gd name="T48" fmla="*/ 0 w 943"/>
                <a:gd name="T49" fmla="*/ 0 h 1172"/>
                <a:gd name="T50" fmla="*/ 0 w 943"/>
                <a:gd name="T51" fmla="*/ 0 h 1172"/>
                <a:gd name="T52" fmla="*/ 0 w 943"/>
                <a:gd name="T53" fmla="*/ 0 h 1172"/>
                <a:gd name="T54" fmla="*/ 0 w 943"/>
                <a:gd name="T55" fmla="*/ 0 h 1172"/>
                <a:gd name="T56" fmla="*/ 0 w 943"/>
                <a:gd name="T57" fmla="*/ 0 h 1172"/>
                <a:gd name="T58" fmla="*/ 0 w 943"/>
                <a:gd name="T59" fmla="*/ 0 h 1172"/>
                <a:gd name="T60" fmla="*/ 0 w 943"/>
                <a:gd name="T61" fmla="*/ 0 h 1172"/>
                <a:gd name="T62" fmla="*/ 0 w 943"/>
                <a:gd name="T63" fmla="*/ 0 h 1172"/>
                <a:gd name="T64" fmla="*/ 0 w 943"/>
                <a:gd name="T65" fmla="*/ 0 h 1172"/>
                <a:gd name="T66" fmla="*/ 0 w 943"/>
                <a:gd name="T67" fmla="*/ 0 h 1172"/>
                <a:gd name="T68" fmla="*/ 0 w 943"/>
                <a:gd name="T69" fmla="*/ 0 h 1172"/>
                <a:gd name="T70" fmla="*/ 0 w 943"/>
                <a:gd name="T71" fmla="*/ 0 h 1172"/>
                <a:gd name="T72" fmla="*/ 0 w 943"/>
                <a:gd name="T73" fmla="*/ 0 h 1172"/>
                <a:gd name="T74" fmla="*/ 0 w 943"/>
                <a:gd name="T75" fmla="*/ 0 h 1172"/>
                <a:gd name="T76" fmla="*/ 0 w 943"/>
                <a:gd name="T77" fmla="*/ 0 h 1172"/>
                <a:gd name="T78" fmla="*/ 0 w 943"/>
                <a:gd name="T79" fmla="*/ 0 h 1172"/>
                <a:gd name="T80" fmla="*/ 0 w 943"/>
                <a:gd name="T81" fmla="*/ 0 h 1172"/>
                <a:gd name="T82" fmla="*/ 0 w 943"/>
                <a:gd name="T83" fmla="*/ 0 h 1172"/>
                <a:gd name="T84" fmla="*/ 0 w 943"/>
                <a:gd name="T85" fmla="*/ 0 h 1172"/>
                <a:gd name="T86" fmla="*/ 0 w 943"/>
                <a:gd name="T87" fmla="*/ 0 h 1172"/>
                <a:gd name="T88" fmla="*/ 0 w 943"/>
                <a:gd name="T89" fmla="*/ 0 h 1172"/>
                <a:gd name="T90" fmla="*/ 0 w 943"/>
                <a:gd name="T91" fmla="*/ 0 h 1172"/>
                <a:gd name="T92" fmla="*/ 0 w 943"/>
                <a:gd name="T93" fmla="*/ 0 h 1172"/>
                <a:gd name="T94" fmla="*/ 0 w 943"/>
                <a:gd name="T95" fmla="*/ 0 h 1172"/>
                <a:gd name="T96" fmla="*/ 0 w 943"/>
                <a:gd name="T97" fmla="*/ 0 h 1172"/>
                <a:gd name="T98" fmla="*/ 0 w 943"/>
                <a:gd name="T99" fmla="*/ 0 h 1172"/>
                <a:gd name="T100" fmla="*/ 0 w 943"/>
                <a:gd name="T101" fmla="*/ 0 h 1172"/>
                <a:gd name="T102" fmla="*/ 0 w 943"/>
                <a:gd name="T103" fmla="*/ 0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3"/>
                <a:gd name="T157" fmla="*/ 0 h 1172"/>
                <a:gd name="T158" fmla="*/ 943 w 943"/>
                <a:gd name="T159" fmla="*/ 1172 h 11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11" name="Freeform 922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3441" y="2063"/>
              <a:ext cx="167" cy="272"/>
            </a:xfrm>
            <a:custGeom>
              <a:avLst/>
              <a:gdLst>
                <a:gd name="T0" fmla="*/ 0 w 556"/>
                <a:gd name="T1" fmla="*/ 0 h 819"/>
                <a:gd name="T2" fmla="*/ 0 w 556"/>
                <a:gd name="T3" fmla="*/ 0 h 819"/>
                <a:gd name="T4" fmla="*/ 0 w 556"/>
                <a:gd name="T5" fmla="*/ 0 h 819"/>
                <a:gd name="T6" fmla="*/ 0 w 556"/>
                <a:gd name="T7" fmla="*/ 0 h 819"/>
                <a:gd name="T8" fmla="*/ 0 w 556"/>
                <a:gd name="T9" fmla="*/ 0 h 819"/>
                <a:gd name="T10" fmla="*/ 0 w 556"/>
                <a:gd name="T11" fmla="*/ 0 h 819"/>
                <a:gd name="T12" fmla="*/ 0 w 556"/>
                <a:gd name="T13" fmla="*/ 0 h 819"/>
                <a:gd name="T14" fmla="*/ 0 w 556"/>
                <a:gd name="T15" fmla="*/ 0 h 819"/>
                <a:gd name="T16" fmla="*/ 0 w 556"/>
                <a:gd name="T17" fmla="*/ 0 h 819"/>
                <a:gd name="T18" fmla="*/ 0 w 556"/>
                <a:gd name="T19" fmla="*/ 0 h 819"/>
                <a:gd name="T20" fmla="*/ 0 w 556"/>
                <a:gd name="T21" fmla="*/ 0 h 819"/>
                <a:gd name="T22" fmla="*/ 0 w 556"/>
                <a:gd name="T23" fmla="*/ 0 h 819"/>
                <a:gd name="T24" fmla="*/ 0 w 556"/>
                <a:gd name="T25" fmla="*/ 0 h 819"/>
                <a:gd name="T26" fmla="*/ 0 w 556"/>
                <a:gd name="T27" fmla="*/ 0 h 819"/>
                <a:gd name="T28" fmla="*/ 0 w 556"/>
                <a:gd name="T29" fmla="*/ 0 h 819"/>
                <a:gd name="T30" fmla="*/ 0 w 556"/>
                <a:gd name="T31" fmla="*/ 0 h 819"/>
                <a:gd name="T32" fmla="*/ 0 w 556"/>
                <a:gd name="T33" fmla="*/ 0 h 819"/>
                <a:gd name="T34" fmla="*/ 0 w 556"/>
                <a:gd name="T35" fmla="*/ 0 h 819"/>
                <a:gd name="T36" fmla="*/ 0 w 556"/>
                <a:gd name="T37" fmla="*/ 0 h 819"/>
                <a:gd name="T38" fmla="*/ 0 w 556"/>
                <a:gd name="T39" fmla="*/ 0 h 819"/>
                <a:gd name="T40" fmla="*/ 0 w 556"/>
                <a:gd name="T41" fmla="*/ 0 h 819"/>
                <a:gd name="T42" fmla="*/ 0 w 556"/>
                <a:gd name="T43" fmla="*/ 0 h 819"/>
                <a:gd name="T44" fmla="*/ 0 w 556"/>
                <a:gd name="T45" fmla="*/ 0 h 819"/>
                <a:gd name="T46" fmla="*/ 0 w 556"/>
                <a:gd name="T47" fmla="*/ 0 h 819"/>
                <a:gd name="T48" fmla="*/ 0 w 556"/>
                <a:gd name="T49" fmla="*/ 0 h 819"/>
                <a:gd name="T50" fmla="*/ 0 w 556"/>
                <a:gd name="T51" fmla="*/ 0 h 819"/>
                <a:gd name="T52" fmla="*/ 0 w 556"/>
                <a:gd name="T53" fmla="*/ 0 h 819"/>
                <a:gd name="T54" fmla="*/ 0 w 556"/>
                <a:gd name="T55" fmla="*/ 0 h 819"/>
                <a:gd name="T56" fmla="*/ 0 w 556"/>
                <a:gd name="T57" fmla="*/ 0 h 819"/>
                <a:gd name="T58" fmla="*/ 0 w 556"/>
                <a:gd name="T59" fmla="*/ 0 h 819"/>
                <a:gd name="T60" fmla="*/ 0 w 556"/>
                <a:gd name="T61" fmla="*/ 0 h 819"/>
                <a:gd name="T62" fmla="*/ 0 w 556"/>
                <a:gd name="T63" fmla="*/ 0 h 819"/>
                <a:gd name="T64" fmla="*/ 0 w 556"/>
                <a:gd name="T65" fmla="*/ 0 h 819"/>
                <a:gd name="T66" fmla="*/ 0 w 556"/>
                <a:gd name="T67" fmla="*/ 0 h 819"/>
                <a:gd name="T68" fmla="*/ 0 w 556"/>
                <a:gd name="T69" fmla="*/ 0 h 819"/>
                <a:gd name="T70" fmla="*/ 0 w 556"/>
                <a:gd name="T71" fmla="*/ 0 h 819"/>
                <a:gd name="T72" fmla="*/ 0 w 556"/>
                <a:gd name="T73" fmla="*/ 0 h 819"/>
                <a:gd name="T74" fmla="*/ 0 w 556"/>
                <a:gd name="T75" fmla="*/ 0 h 819"/>
                <a:gd name="T76" fmla="*/ 0 w 556"/>
                <a:gd name="T77" fmla="*/ 0 h 819"/>
                <a:gd name="T78" fmla="*/ 0 w 556"/>
                <a:gd name="T79" fmla="*/ 0 h 819"/>
                <a:gd name="T80" fmla="*/ 0 w 556"/>
                <a:gd name="T81" fmla="*/ 0 h 819"/>
                <a:gd name="T82" fmla="*/ 0 w 556"/>
                <a:gd name="T83" fmla="*/ 0 h 819"/>
                <a:gd name="T84" fmla="*/ 0 w 556"/>
                <a:gd name="T85" fmla="*/ 0 h 819"/>
                <a:gd name="T86" fmla="*/ 0 w 556"/>
                <a:gd name="T87" fmla="*/ 0 h 819"/>
                <a:gd name="T88" fmla="*/ 0 w 556"/>
                <a:gd name="T89" fmla="*/ 0 h 819"/>
                <a:gd name="T90" fmla="*/ 0 w 556"/>
                <a:gd name="T91" fmla="*/ 0 h 819"/>
                <a:gd name="T92" fmla="*/ 0 w 556"/>
                <a:gd name="T93" fmla="*/ 0 h 819"/>
                <a:gd name="T94" fmla="*/ 0 w 556"/>
                <a:gd name="T95" fmla="*/ 0 h 819"/>
                <a:gd name="T96" fmla="*/ 0 w 556"/>
                <a:gd name="T97" fmla="*/ 0 h 819"/>
                <a:gd name="T98" fmla="*/ 0 w 556"/>
                <a:gd name="T99" fmla="*/ 0 h 819"/>
                <a:gd name="T100" fmla="*/ 0 w 556"/>
                <a:gd name="T101" fmla="*/ 0 h 819"/>
                <a:gd name="T102" fmla="*/ 0 w 556"/>
                <a:gd name="T103" fmla="*/ 0 h 819"/>
                <a:gd name="T104" fmla="*/ 0 w 556"/>
                <a:gd name="T105" fmla="*/ 0 h 819"/>
                <a:gd name="T106" fmla="*/ 0 w 556"/>
                <a:gd name="T107" fmla="*/ 0 h 819"/>
                <a:gd name="T108" fmla="*/ 0 w 556"/>
                <a:gd name="T109" fmla="*/ 0 h 819"/>
                <a:gd name="T110" fmla="*/ 0 w 556"/>
                <a:gd name="T111" fmla="*/ 0 h 819"/>
                <a:gd name="T112" fmla="*/ 0 w 556"/>
                <a:gd name="T113" fmla="*/ 0 h 819"/>
                <a:gd name="T114" fmla="*/ 0 w 556"/>
                <a:gd name="T115" fmla="*/ 0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56"/>
                <a:gd name="T175" fmla="*/ 0 h 819"/>
                <a:gd name="T176" fmla="*/ 556 w 556"/>
                <a:gd name="T177" fmla="*/ 819 h 81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12" name="Freeform 923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3446" y="2055"/>
              <a:ext cx="26" cy="37"/>
            </a:xfrm>
            <a:custGeom>
              <a:avLst/>
              <a:gdLst>
                <a:gd name="T0" fmla="*/ 0 w 86"/>
                <a:gd name="T1" fmla="*/ 0 h 97"/>
                <a:gd name="T2" fmla="*/ 0 w 86"/>
                <a:gd name="T3" fmla="*/ 0 h 97"/>
                <a:gd name="T4" fmla="*/ 0 w 86"/>
                <a:gd name="T5" fmla="*/ 0 h 97"/>
                <a:gd name="T6" fmla="*/ 0 w 86"/>
                <a:gd name="T7" fmla="*/ 0 h 97"/>
                <a:gd name="T8" fmla="*/ 0 w 86"/>
                <a:gd name="T9" fmla="*/ 0 h 97"/>
                <a:gd name="T10" fmla="*/ 0 w 86"/>
                <a:gd name="T11" fmla="*/ 0 h 97"/>
                <a:gd name="T12" fmla="*/ 0 w 86"/>
                <a:gd name="T13" fmla="*/ 0 h 97"/>
                <a:gd name="T14" fmla="*/ 0 w 86"/>
                <a:gd name="T15" fmla="*/ 0 h 97"/>
                <a:gd name="T16" fmla="*/ 0 w 86"/>
                <a:gd name="T17" fmla="*/ 0 h 97"/>
                <a:gd name="T18" fmla="*/ 0 w 86"/>
                <a:gd name="T19" fmla="*/ 0 h 97"/>
                <a:gd name="T20" fmla="*/ 0 w 86"/>
                <a:gd name="T21" fmla="*/ 0 h 97"/>
                <a:gd name="T22" fmla="*/ 0 w 86"/>
                <a:gd name="T23" fmla="*/ 0 h 97"/>
                <a:gd name="T24" fmla="*/ 0 w 86"/>
                <a:gd name="T25" fmla="*/ 0 h 97"/>
                <a:gd name="T26" fmla="*/ 0 w 86"/>
                <a:gd name="T27" fmla="*/ 0 h 97"/>
                <a:gd name="T28" fmla="*/ 0 w 86"/>
                <a:gd name="T29" fmla="*/ 0 h 97"/>
                <a:gd name="T30" fmla="*/ 0 w 86"/>
                <a:gd name="T31" fmla="*/ 0 h 97"/>
                <a:gd name="T32" fmla="*/ 0 w 86"/>
                <a:gd name="T33" fmla="*/ 0 h 97"/>
                <a:gd name="T34" fmla="*/ 0 w 86"/>
                <a:gd name="T35" fmla="*/ 0 h 97"/>
                <a:gd name="T36" fmla="*/ 0 w 86"/>
                <a:gd name="T37" fmla="*/ 0 h 97"/>
                <a:gd name="T38" fmla="*/ 0 w 86"/>
                <a:gd name="T39" fmla="*/ 0 h 97"/>
                <a:gd name="T40" fmla="*/ 0 w 86"/>
                <a:gd name="T41" fmla="*/ 0 h 97"/>
                <a:gd name="T42" fmla="*/ 0 w 86"/>
                <a:gd name="T43" fmla="*/ 0 h 97"/>
                <a:gd name="T44" fmla="*/ 0 w 86"/>
                <a:gd name="T45" fmla="*/ 0 h 97"/>
                <a:gd name="T46" fmla="*/ 0 w 86"/>
                <a:gd name="T47" fmla="*/ 0 h 97"/>
                <a:gd name="T48" fmla="*/ 0 w 86"/>
                <a:gd name="T49" fmla="*/ 0 h 97"/>
                <a:gd name="T50" fmla="*/ 0 w 86"/>
                <a:gd name="T51" fmla="*/ 0 h 97"/>
                <a:gd name="T52" fmla="*/ 0 w 86"/>
                <a:gd name="T53" fmla="*/ 0 h 97"/>
                <a:gd name="T54" fmla="*/ 0 w 86"/>
                <a:gd name="T55" fmla="*/ 0 h 97"/>
                <a:gd name="T56" fmla="*/ 0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97"/>
                <a:gd name="T89" fmla="*/ 86 w 86"/>
                <a:gd name="T90" fmla="*/ 97 h 9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13" name="Freeform 924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3309" y="1999"/>
              <a:ext cx="248" cy="237"/>
            </a:xfrm>
            <a:custGeom>
              <a:avLst/>
              <a:gdLst>
                <a:gd name="T0" fmla="*/ 0 w 845"/>
                <a:gd name="T1" fmla="*/ 0 h 720"/>
                <a:gd name="T2" fmla="*/ 0 w 845"/>
                <a:gd name="T3" fmla="*/ 0 h 720"/>
                <a:gd name="T4" fmla="*/ 0 w 845"/>
                <a:gd name="T5" fmla="*/ 0 h 720"/>
                <a:gd name="T6" fmla="*/ 0 w 845"/>
                <a:gd name="T7" fmla="*/ 0 h 720"/>
                <a:gd name="T8" fmla="*/ 0 w 845"/>
                <a:gd name="T9" fmla="*/ 0 h 720"/>
                <a:gd name="T10" fmla="*/ 0 w 845"/>
                <a:gd name="T11" fmla="*/ 0 h 720"/>
                <a:gd name="T12" fmla="*/ 0 w 845"/>
                <a:gd name="T13" fmla="*/ 0 h 720"/>
                <a:gd name="T14" fmla="*/ 0 w 845"/>
                <a:gd name="T15" fmla="*/ 0 h 720"/>
                <a:gd name="T16" fmla="*/ 0 w 845"/>
                <a:gd name="T17" fmla="*/ 0 h 720"/>
                <a:gd name="T18" fmla="*/ 0 w 845"/>
                <a:gd name="T19" fmla="*/ 0 h 720"/>
                <a:gd name="T20" fmla="*/ 0 w 845"/>
                <a:gd name="T21" fmla="*/ 0 h 720"/>
                <a:gd name="T22" fmla="*/ 0 w 845"/>
                <a:gd name="T23" fmla="*/ 0 h 720"/>
                <a:gd name="T24" fmla="*/ 0 w 845"/>
                <a:gd name="T25" fmla="*/ 0 h 720"/>
                <a:gd name="T26" fmla="*/ 0 w 845"/>
                <a:gd name="T27" fmla="*/ 0 h 720"/>
                <a:gd name="T28" fmla="*/ 0 w 845"/>
                <a:gd name="T29" fmla="*/ 0 h 720"/>
                <a:gd name="T30" fmla="*/ 0 w 845"/>
                <a:gd name="T31" fmla="*/ 0 h 720"/>
                <a:gd name="T32" fmla="*/ 0 w 845"/>
                <a:gd name="T33" fmla="*/ 0 h 720"/>
                <a:gd name="T34" fmla="*/ 0 w 845"/>
                <a:gd name="T35" fmla="*/ 0 h 720"/>
                <a:gd name="T36" fmla="*/ 0 w 845"/>
                <a:gd name="T37" fmla="*/ 0 h 720"/>
                <a:gd name="T38" fmla="*/ 0 w 845"/>
                <a:gd name="T39" fmla="*/ 0 h 720"/>
                <a:gd name="T40" fmla="*/ 0 w 845"/>
                <a:gd name="T41" fmla="*/ 0 h 720"/>
                <a:gd name="T42" fmla="*/ 0 w 845"/>
                <a:gd name="T43" fmla="*/ 0 h 720"/>
                <a:gd name="T44" fmla="*/ 0 w 845"/>
                <a:gd name="T45" fmla="*/ 0 h 720"/>
                <a:gd name="T46" fmla="*/ 0 w 845"/>
                <a:gd name="T47" fmla="*/ 0 h 720"/>
                <a:gd name="T48" fmla="*/ 0 w 845"/>
                <a:gd name="T49" fmla="*/ 0 h 720"/>
                <a:gd name="T50" fmla="*/ 0 w 845"/>
                <a:gd name="T51" fmla="*/ 0 h 720"/>
                <a:gd name="T52" fmla="*/ 0 w 845"/>
                <a:gd name="T53" fmla="*/ 0 h 720"/>
                <a:gd name="T54" fmla="*/ 0 w 845"/>
                <a:gd name="T55" fmla="*/ 0 h 720"/>
                <a:gd name="T56" fmla="*/ 0 w 845"/>
                <a:gd name="T57" fmla="*/ 0 h 720"/>
                <a:gd name="T58" fmla="*/ 0 w 845"/>
                <a:gd name="T59" fmla="*/ 0 h 720"/>
                <a:gd name="T60" fmla="*/ 0 w 845"/>
                <a:gd name="T61" fmla="*/ 0 h 720"/>
                <a:gd name="T62" fmla="*/ 0 w 845"/>
                <a:gd name="T63" fmla="*/ 0 h 720"/>
                <a:gd name="T64" fmla="*/ 0 w 845"/>
                <a:gd name="T65" fmla="*/ 0 h 720"/>
                <a:gd name="T66" fmla="*/ 0 w 845"/>
                <a:gd name="T67" fmla="*/ 0 h 720"/>
                <a:gd name="T68" fmla="*/ 0 w 845"/>
                <a:gd name="T69" fmla="*/ 0 h 720"/>
                <a:gd name="T70" fmla="*/ 0 w 845"/>
                <a:gd name="T71" fmla="*/ 0 h 720"/>
                <a:gd name="T72" fmla="*/ 0 w 845"/>
                <a:gd name="T73" fmla="*/ 0 h 720"/>
                <a:gd name="T74" fmla="*/ 0 w 845"/>
                <a:gd name="T75" fmla="*/ 0 h 720"/>
                <a:gd name="T76" fmla="*/ 0 w 845"/>
                <a:gd name="T77" fmla="*/ 0 h 720"/>
                <a:gd name="T78" fmla="*/ 0 w 845"/>
                <a:gd name="T79" fmla="*/ 0 h 720"/>
                <a:gd name="T80" fmla="*/ 0 w 845"/>
                <a:gd name="T81" fmla="*/ 0 h 720"/>
                <a:gd name="T82" fmla="*/ 0 w 845"/>
                <a:gd name="T83" fmla="*/ 0 h 720"/>
                <a:gd name="T84" fmla="*/ 0 w 845"/>
                <a:gd name="T85" fmla="*/ 0 h 720"/>
                <a:gd name="T86" fmla="*/ 0 w 845"/>
                <a:gd name="T87" fmla="*/ 0 h 720"/>
                <a:gd name="T88" fmla="*/ 0 w 845"/>
                <a:gd name="T89" fmla="*/ 0 h 720"/>
                <a:gd name="T90" fmla="*/ 0 w 845"/>
                <a:gd name="T91" fmla="*/ 0 h 720"/>
                <a:gd name="T92" fmla="*/ 0 w 845"/>
                <a:gd name="T93" fmla="*/ 0 h 720"/>
                <a:gd name="T94" fmla="*/ 0 w 845"/>
                <a:gd name="T95" fmla="*/ 0 h 720"/>
                <a:gd name="T96" fmla="*/ 0 w 845"/>
                <a:gd name="T97" fmla="*/ 0 h 720"/>
                <a:gd name="T98" fmla="*/ 0 w 845"/>
                <a:gd name="T99" fmla="*/ 0 h 720"/>
                <a:gd name="T100" fmla="*/ 0 w 845"/>
                <a:gd name="T101" fmla="*/ 0 h 720"/>
                <a:gd name="T102" fmla="*/ 0 w 845"/>
                <a:gd name="T103" fmla="*/ 0 h 720"/>
                <a:gd name="T104" fmla="*/ 0 w 845"/>
                <a:gd name="T105" fmla="*/ 0 h 720"/>
                <a:gd name="T106" fmla="*/ 0 w 845"/>
                <a:gd name="T107" fmla="*/ 0 h 720"/>
                <a:gd name="T108" fmla="*/ 0 w 845"/>
                <a:gd name="T109" fmla="*/ 0 h 720"/>
                <a:gd name="T110" fmla="*/ 0 w 845"/>
                <a:gd name="T111" fmla="*/ 0 h 720"/>
                <a:gd name="T112" fmla="*/ 0 w 845"/>
                <a:gd name="T113" fmla="*/ 0 h 720"/>
                <a:gd name="T114" fmla="*/ 0 w 845"/>
                <a:gd name="T115" fmla="*/ 0 h 720"/>
                <a:gd name="T116" fmla="*/ 0 w 845"/>
                <a:gd name="T117" fmla="*/ 0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45"/>
                <a:gd name="T178" fmla="*/ 0 h 720"/>
                <a:gd name="T179" fmla="*/ 845 w 845"/>
                <a:gd name="T180" fmla="*/ 720 h 72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14" name="Line 925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1166" y="2326"/>
              <a:ext cx="3" cy="5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15" name="Freeform 926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166" y="2331"/>
              <a:ext cx="8" cy="37"/>
            </a:xfrm>
            <a:custGeom>
              <a:avLst/>
              <a:gdLst>
                <a:gd name="T0" fmla="*/ 0 w 33"/>
                <a:gd name="T1" fmla="*/ 0 h 6"/>
                <a:gd name="T2" fmla="*/ 0 w 33"/>
                <a:gd name="T3" fmla="*/ 2147483647 h 6"/>
                <a:gd name="T4" fmla="*/ 0 w 33"/>
                <a:gd name="T5" fmla="*/ 2147483647 h 6"/>
                <a:gd name="T6" fmla="*/ 0 w 33"/>
                <a:gd name="T7" fmla="*/ 2147483647 h 6"/>
                <a:gd name="T8" fmla="*/ 0 w 3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6"/>
                <a:gd name="T17" fmla="*/ 33 w 3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16" name="Freeform 927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171" y="2323"/>
              <a:ext cx="3" cy="36"/>
            </a:xfrm>
            <a:custGeom>
              <a:avLst/>
              <a:gdLst>
                <a:gd name="T0" fmla="*/ 0 w 13"/>
                <a:gd name="T1" fmla="*/ 1144 h 30"/>
                <a:gd name="T2" fmla="*/ 0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  <a:gd name="T9" fmla="*/ 0 w 13"/>
                <a:gd name="T10" fmla="*/ 0 h 30"/>
                <a:gd name="T11" fmla="*/ 13 w 13"/>
                <a:gd name="T12" fmla="*/ 30 h 3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grpSp>
          <p:nvGrpSpPr>
            <p:cNvPr id="12" name="Group 928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1166" y="2282"/>
              <a:ext cx="285" cy="127"/>
              <a:chOff x="912" y="2626"/>
              <a:chExt cx="311" cy="127"/>
            </a:xfrm>
            <a:grpFill/>
          </p:grpSpPr>
          <p:sp>
            <p:nvSpPr>
              <p:cNvPr id="18903" name="Freeform 929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0 w 352"/>
                  <a:gd name="T1" fmla="*/ 0 h 387"/>
                  <a:gd name="T2" fmla="*/ 0 w 352"/>
                  <a:gd name="T3" fmla="*/ 0 h 387"/>
                  <a:gd name="T4" fmla="*/ 0 w 352"/>
                  <a:gd name="T5" fmla="*/ 0 h 387"/>
                  <a:gd name="T6" fmla="*/ 0 w 352"/>
                  <a:gd name="T7" fmla="*/ 0 h 387"/>
                  <a:gd name="T8" fmla="*/ 0 w 352"/>
                  <a:gd name="T9" fmla="*/ 0 h 387"/>
                  <a:gd name="T10" fmla="*/ 0 w 352"/>
                  <a:gd name="T11" fmla="*/ 0 h 387"/>
                  <a:gd name="T12" fmla="*/ 0 w 352"/>
                  <a:gd name="T13" fmla="*/ 0 h 387"/>
                  <a:gd name="T14" fmla="*/ 0 w 352"/>
                  <a:gd name="T15" fmla="*/ 0 h 387"/>
                  <a:gd name="T16" fmla="*/ 0 w 352"/>
                  <a:gd name="T17" fmla="*/ 0 h 387"/>
                  <a:gd name="T18" fmla="*/ 0 w 352"/>
                  <a:gd name="T19" fmla="*/ 0 h 387"/>
                  <a:gd name="T20" fmla="*/ 0 w 352"/>
                  <a:gd name="T21" fmla="*/ 0 h 387"/>
                  <a:gd name="T22" fmla="*/ 0 w 352"/>
                  <a:gd name="T23" fmla="*/ 0 h 387"/>
                  <a:gd name="T24" fmla="*/ 0 w 352"/>
                  <a:gd name="T25" fmla="*/ 0 h 387"/>
                  <a:gd name="T26" fmla="*/ 0 w 352"/>
                  <a:gd name="T27" fmla="*/ 0 h 387"/>
                  <a:gd name="T28" fmla="*/ 0 w 352"/>
                  <a:gd name="T29" fmla="*/ 0 h 387"/>
                  <a:gd name="T30" fmla="*/ 0 w 352"/>
                  <a:gd name="T31" fmla="*/ 0 h 387"/>
                  <a:gd name="T32" fmla="*/ 0 w 352"/>
                  <a:gd name="T33" fmla="*/ 0 h 387"/>
                  <a:gd name="T34" fmla="*/ 0 w 352"/>
                  <a:gd name="T35" fmla="*/ 0 h 387"/>
                  <a:gd name="T36" fmla="*/ 0 w 352"/>
                  <a:gd name="T37" fmla="*/ 0 h 387"/>
                  <a:gd name="T38" fmla="*/ 0 w 352"/>
                  <a:gd name="T39" fmla="*/ 0 h 387"/>
                  <a:gd name="T40" fmla="*/ 0 w 352"/>
                  <a:gd name="T41" fmla="*/ 0 h 387"/>
                  <a:gd name="T42" fmla="*/ 0 w 352"/>
                  <a:gd name="T43" fmla="*/ 0 h 387"/>
                  <a:gd name="T44" fmla="*/ 0 w 352"/>
                  <a:gd name="T45" fmla="*/ 0 h 387"/>
                  <a:gd name="T46" fmla="*/ 0 w 352"/>
                  <a:gd name="T47" fmla="*/ 0 h 387"/>
                  <a:gd name="T48" fmla="*/ 0 w 352"/>
                  <a:gd name="T49" fmla="*/ 0 h 387"/>
                  <a:gd name="T50" fmla="*/ 0 w 352"/>
                  <a:gd name="T51" fmla="*/ 0 h 387"/>
                  <a:gd name="T52" fmla="*/ 0 w 352"/>
                  <a:gd name="T53" fmla="*/ 0 h 387"/>
                  <a:gd name="T54" fmla="*/ 0 w 352"/>
                  <a:gd name="T55" fmla="*/ 0 h 387"/>
                  <a:gd name="T56" fmla="*/ 0 w 352"/>
                  <a:gd name="T57" fmla="*/ 0 h 387"/>
                  <a:gd name="T58" fmla="*/ 0 w 352"/>
                  <a:gd name="T59" fmla="*/ 0 h 387"/>
                  <a:gd name="T60" fmla="*/ 0 w 352"/>
                  <a:gd name="T61" fmla="*/ 0 h 387"/>
                  <a:gd name="T62" fmla="*/ 0 w 352"/>
                  <a:gd name="T63" fmla="*/ 0 h 387"/>
                  <a:gd name="T64" fmla="*/ 0 w 352"/>
                  <a:gd name="T65" fmla="*/ 0 h 387"/>
                  <a:gd name="T66" fmla="*/ 0 w 352"/>
                  <a:gd name="T67" fmla="*/ 0 h 387"/>
                  <a:gd name="T68" fmla="*/ 0 w 352"/>
                  <a:gd name="T69" fmla="*/ 0 h 387"/>
                  <a:gd name="T70" fmla="*/ 0 w 352"/>
                  <a:gd name="T71" fmla="*/ 0 h 387"/>
                  <a:gd name="T72" fmla="*/ 0 w 352"/>
                  <a:gd name="T73" fmla="*/ 0 h 387"/>
                  <a:gd name="T74" fmla="*/ 0 w 352"/>
                  <a:gd name="T75" fmla="*/ 0 h 387"/>
                  <a:gd name="T76" fmla="*/ 0 w 352"/>
                  <a:gd name="T77" fmla="*/ 0 h 387"/>
                  <a:gd name="T78" fmla="*/ 0 w 352"/>
                  <a:gd name="T79" fmla="*/ 0 h 387"/>
                  <a:gd name="T80" fmla="*/ 0 w 352"/>
                  <a:gd name="T81" fmla="*/ 0 h 387"/>
                  <a:gd name="T82" fmla="*/ 0 w 352"/>
                  <a:gd name="T83" fmla="*/ 0 h 387"/>
                  <a:gd name="T84" fmla="*/ 0 w 352"/>
                  <a:gd name="T85" fmla="*/ 0 h 387"/>
                  <a:gd name="T86" fmla="*/ 0 w 352"/>
                  <a:gd name="T87" fmla="*/ 0 h 387"/>
                  <a:gd name="T88" fmla="*/ 0 w 352"/>
                  <a:gd name="T89" fmla="*/ 0 h 387"/>
                  <a:gd name="T90" fmla="*/ 0 w 352"/>
                  <a:gd name="T91" fmla="*/ 0 h 387"/>
                  <a:gd name="T92" fmla="*/ 0 w 352"/>
                  <a:gd name="T93" fmla="*/ 0 h 387"/>
                  <a:gd name="T94" fmla="*/ 0 w 352"/>
                  <a:gd name="T95" fmla="*/ 0 h 387"/>
                  <a:gd name="T96" fmla="*/ 0 w 352"/>
                  <a:gd name="T97" fmla="*/ 0 h 387"/>
                  <a:gd name="T98" fmla="*/ 0 w 352"/>
                  <a:gd name="T99" fmla="*/ 0 h 387"/>
                  <a:gd name="T100" fmla="*/ 0 w 352"/>
                  <a:gd name="T101" fmla="*/ 0 h 387"/>
                  <a:gd name="T102" fmla="*/ 0 w 352"/>
                  <a:gd name="T103" fmla="*/ 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352"/>
                  <a:gd name="T157" fmla="*/ 0 h 387"/>
                  <a:gd name="T158" fmla="*/ 352 w 352"/>
                  <a:gd name="T159" fmla="*/ 387 h 387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04" name="Freeform 930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0 w 52"/>
                  <a:gd name="T1" fmla="*/ 0 h 78"/>
                  <a:gd name="T2" fmla="*/ 0 w 52"/>
                  <a:gd name="T3" fmla="*/ 0 h 78"/>
                  <a:gd name="T4" fmla="*/ 0 w 52"/>
                  <a:gd name="T5" fmla="*/ 0 h 78"/>
                  <a:gd name="T6" fmla="*/ 0 w 52"/>
                  <a:gd name="T7" fmla="*/ 0 h 78"/>
                  <a:gd name="T8" fmla="*/ 0 w 52"/>
                  <a:gd name="T9" fmla="*/ 0 h 78"/>
                  <a:gd name="T10" fmla="*/ 0 w 52"/>
                  <a:gd name="T11" fmla="*/ 0 h 78"/>
                  <a:gd name="T12" fmla="*/ 0 w 52"/>
                  <a:gd name="T13" fmla="*/ 0 h 78"/>
                  <a:gd name="T14" fmla="*/ 0 w 52"/>
                  <a:gd name="T15" fmla="*/ 0 h 78"/>
                  <a:gd name="T16" fmla="*/ 0 w 52"/>
                  <a:gd name="T17" fmla="*/ 0 h 78"/>
                  <a:gd name="T18" fmla="*/ 0 w 52"/>
                  <a:gd name="T19" fmla="*/ 0 h 78"/>
                  <a:gd name="T20" fmla="*/ 0 w 52"/>
                  <a:gd name="T21" fmla="*/ 0 h 78"/>
                  <a:gd name="T22" fmla="*/ 0 w 52"/>
                  <a:gd name="T23" fmla="*/ 0 h 78"/>
                  <a:gd name="T24" fmla="*/ 0 w 52"/>
                  <a:gd name="T25" fmla="*/ 0 h 78"/>
                  <a:gd name="T26" fmla="*/ 0 w 52"/>
                  <a:gd name="T27" fmla="*/ 0 h 78"/>
                  <a:gd name="T28" fmla="*/ 0 w 52"/>
                  <a:gd name="T29" fmla="*/ 0 h 78"/>
                  <a:gd name="T30" fmla="*/ 0 w 52"/>
                  <a:gd name="T31" fmla="*/ 0 h 78"/>
                  <a:gd name="T32" fmla="*/ 0 w 52"/>
                  <a:gd name="T33" fmla="*/ 0 h 78"/>
                  <a:gd name="T34" fmla="*/ 0 w 52"/>
                  <a:gd name="T35" fmla="*/ 0 h 78"/>
                  <a:gd name="T36" fmla="*/ 0 w 52"/>
                  <a:gd name="T37" fmla="*/ 0 h 78"/>
                  <a:gd name="T38" fmla="*/ 0 w 52"/>
                  <a:gd name="T39" fmla="*/ 0 h 78"/>
                  <a:gd name="T40" fmla="*/ 0 w 52"/>
                  <a:gd name="T41" fmla="*/ 0 h 78"/>
                  <a:gd name="T42" fmla="*/ 0 w 52"/>
                  <a:gd name="T43" fmla="*/ 0 h 78"/>
                  <a:gd name="T44" fmla="*/ 0 w 52"/>
                  <a:gd name="T45" fmla="*/ 0 h 78"/>
                  <a:gd name="T46" fmla="*/ 0 w 52"/>
                  <a:gd name="T47" fmla="*/ 0 h 78"/>
                  <a:gd name="T48" fmla="*/ 0 w 52"/>
                  <a:gd name="T49" fmla="*/ 0 h 78"/>
                  <a:gd name="T50" fmla="*/ 0 w 52"/>
                  <a:gd name="T51" fmla="*/ 0 h 78"/>
                  <a:gd name="T52" fmla="*/ 0 w 52"/>
                  <a:gd name="T53" fmla="*/ 0 h 78"/>
                  <a:gd name="T54" fmla="*/ 0 w 52"/>
                  <a:gd name="T55" fmla="*/ 0 h 78"/>
                  <a:gd name="T56" fmla="*/ 0 w 52"/>
                  <a:gd name="T57" fmla="*/ 0 h 78"/>
                  <a:gd name="T58" fmla="*/ 0 w 52"/>
                  <a:gd name="T59" fmla="*/ 0 h 78"/>
                  <a:gd name="T60" fmla="*/ 0 w 52"/>
                  <a:gd name="T61" fmla="*/ 0 h 78"/>
                  <a:gd name="T62" fmla="*/ 0 w 52"/>
                  <a:gd name="T63" fmla="*/ 0 h 78"/>
                  <a:gd name="T64" fmla="*/ 0 w 52"/>
                  <a:gd name="T65" fmla="*/ 0 h 78"/>
                  <a:gd name="T66" fmla="*/ 0 w 52"/>
                  <a:gd name="T67" fmla="*/ 0 h 78"/>
                  <a:gd name="T68" fmla="*/ 0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2"/>
                  <a:gd name="T106" fmla="*/ 0 h 78"/>
                  <a:gd name="T107" fmla="*/ 52 w 52"/>
                  <a:gd name="T108" fmla="*/ 78 h 7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05" name="Freeform 931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0 w 33"/>
                  <a:gd name="T1" fmla="*/ 0 h 30"/>
                  <a:gd name="T2" fmla="*/ 0 w 33"/>
                  <a:gd name="T3" fmla="*/ 0 h 30"/>
                  <a:gd name="T4" fmla="*/ 0 w 33"/>
                  <a:gd name="T5" fmla="*/ 0 h 30"/>
                  <a:gd name="T6" fmla="*/ 0 w 33"/>
                  <a:gd name="T7" fmla="*/ 0 h 30"/>
                  <a:gd name="T8" fmla="*/ 0 w 33"/>
                  <a:gd name="T9" fmla="*/ 0 h 30"/>
                  <a:gd name="T10" fmla="*/ 0 w 33"/>
                  <a:gd name="T11" fmla="*/ 0 h 30"/>
                  <a:gd name="T12" fmla="*/ 0 w 33"/>
                  <a:gd name="T13" fmla="*/ 0 h 30"/>
                  <a:gd name="T14" fmla="*/ 0 w 33"/>
                  <a:gd name="T15" fmla="*/ 0 h 30"/>
                  <a:gd name="T16" fmla="*/ 0 w 33"/>
                  <a:gd name="T17" fmla="*/ 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"/>
                  <a:gd name="T28" fmla="*/ 0 h 30"/>
                  <a:gd name="T29" fmla="*/ 33 w 33"/>
                  <a:gd name="T30" fmla="*/ 30 h 3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</p:grpSp>
        <p:sp>
          <p:nvSpPr>
            <p:cNvPr id="18718" name="Freeform 932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3655" y="2734"/>
              <a:ext cx="13" cy="37"/>
            </a:xfrm>
            <a:custGeom>
              <a:avLst/>
              <a:gdLst>
                <a:gd name="T0" fmla="*/ 0 w 47"/>
                <a:gd name="T1" fmla="*/ 0 h 28"/>
                <a:gd name="T2" fmla="*/ 0 w 47"/>
                <a:gd name="T3" fmla="*/ 0 h 28"/>
                <a:gd name="T4" fmla="*/ 0 w 47"/>
                <a:gd name="T5" fmla="*/ 609 h 28"/>
                <a:gd name="T6" fmla="*/ 0 w 47"/>
                <a:gd name="T7" fmla="*/ 1064 h 28"/>
                <a:gd name="T8" fmla="*/ 0 w 47"/>
                <a:gd name="T9" fmla="*/ 1672 h 28"/>
                <a:gd name="T10" fmla="*/ 0 w 47"/>
                <a:gd name="T11" fmla="*/ 2209 h 28"/>
                <a:gd name="T12" fmla="*/ 0 w 47"/>
                <a:gd name="T13" fmla="*/ 2474 h 28"/>
                <a:gd name="T14" fmla="*/ 0 w 47"/>
                <a:gd name="T15" fmla="*/ 3244 h 28"/>
                <a:gd name="T16" fmla="*/ 0 w 47"/>
                <a:gd name="T17" fmla="*/ 3244 h 28"/>
                <a:gd name="T18" fmla="*/ 0 w 47"/>
                <a:gd name="T19" fmla="*/ 5053 h 28"/>
                <a:gd name="T20" fmla="*/ 0 w 47"/>
                <a:gd name="T21" fmla="*/ 6677 h 28"/>
                <a:gd name="T22" fmla="*/ 0 w 47"/>
                <a:gd name="T23" fmla="*/ 7208 h 28"/>
                <a:gd name="T24" fmla="*/ 0 w 47"/>
                <a:gd name="T25" fmla="*/ 7486 h 28"/>
                <a:gd name="T26" fmla="*/ 0 w 47"/>
                <a:gd name="T27" fmla="*/ 7208 h 28"/>
                <a:gd name="T28" fmla="*/ 0 w 47"/>
                <a:gd name="T29" fmla="*/ 6677 h 28"/>
                <a:gd name="T30" fmla="*/ 0 w 47"/>
                <a:gd name="T31" fmla="*/ 5053 h 28"/>
                <a:gd name="T32" fmla="*/ 0 w 47"/>
                <a:gd name="T33" fmla="*/ 3857 h 28"/>
                <a:gd name="T34" fmla="*/ 0 w 47"/>
                <a:gd name="T35" fmla="*/ 3269 h 28"/>
                <a:gd name="T36" fmla="*/ 0 w 47"/>
                <a:gd name="T37" fmla="*/ 3244 h 28"/>
                <a:gd name="T38" fmla="*/ 0 w 47"/>
                <a:gd name="T39" fmla="*/ 2919 h 28"/>
                <a:gd name="T40" fmla="*/ 0 w 47"/>
                <a:gd name="T41" fmla="*/ 2455 h 28"/>
                <a:gd name="T42" fmla="*/ 0 w 47"/>
                <a:gd name="T43" fmla="*/ 1406 h 28"/>
                <a:gd name="T44" fmla="*/ 0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7"/>
                <a:gd name="T70" fmla="*/ 0 h 28"/>
                <a:gd name="T71" fmla="*/ 47 w 47"/>
                <a:gd name="T72" fmla="*/ 28 h 2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19" name="Freeform 933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3636" y="2751"/>
              <a:ext cx="16" cy="36"/>
            </a:xfrm>
            <a:custGeom>
              <a:avLst/>
              <a:gdLst>
                <a:gd name="T0" fmla="*/ 0 w 53"/>
                <a:gd name="T1" fmla="*/ 0 h 33"/>
                <a:gd name="T2" fmla="*/ 0 w 53"/>
                <a:gd name="T3" fmla="*/ 1 h 33"/>
                <a:gd name="T4" fmla="*/ 0 w 53"/>
                <a:gd name="T5" fmla="*/ 1 h 33"/>
                <a:gd name="T6" fmla="*/ 0 w 53"/>
                <a:gd name="T7" fmla="*/ 3 h 33"/>
                <a:gd name="T8" fmla="*/ 0 w 53"/>
                <a:gd name="T9" fmla="*/ 4 h 33"/>
                <a:gd name="T10" fmla="*/ 0 w 53"/>
                <a:gd name="T11" fmla="*/ 38 h 33"/>
                <a:gd name="T12" fmla="*/ 0 w 53"/>
                <a:gd name="T13" fmla="*/ 45 h 33"/>
                <a:gd name="T14" fmla="*/ 0 w 53"/>
                <a:gd name="T15" fmla="*/ 53 h 33"/>
                <a:gd name="T16" fmla="*/ 0 w 53"/>
                <a:gd name="T17" fmla="*/ 63 h 33"/>
                <a:gd name="T18" fmla="*/ 0 w 53"/>
                <a:gd name="T19" fmla="*/ 125 h 33"/>
                <a:gd name="T20" fmla="*/ 0 w 53"/>
                <a:gd name="T21" fmla="*/ 161 h 33"/>
                <a:gd name="T22" fmla="*/ 0 w 53"/>
                <a:gd name="T23" fmla="*/ 176 h 33"/>
                <a:gd name="T24" fmla="*/ 0 w 53"/>
                <a:gd name="T25" fmla="*/ 181 h 33"/>
                <a:gd name="T26" fmla="*/ 0 w 53"/>
                <a:gd name="T27" fmla="*/ 189 h 33"/>
                <a:gd name="T28" fmla="*/ 0 w 53"/>
                <a:gd name="T29" fmla="*/ 189 h 33"/>
                <a:gd name="T30" fmla="*/ 0 w 53"/>
                <a:gd name="T31" fmla="*/ 173 h 33"/>
                <a:gd name="T32" fmla="*/ 0 w 53"/>
                <a:gd name="T33" fmla="*/ 136 h 33"/>
                <a:gd name="T34" fmla="*/ 0 w 53"/>
                <a:gd name="T35" fmla="*/ 106 h 33"/>
                <a:gd name="T36" fmla="*/ 0 w 53"/>
                <a:gd name="T37" fmla="*/ 89 h 33"/>
                <a:gd name="T38" fmla="*/ 0 w 53"/>
                <a:gd name="T39" fmla="*/ 75 h 33"/>
                <a:gd name="T40" fmla="*/ 0 w 53"/>
                <a:gd name="T41" fmla="*/ 63 h 33"/>
                <a:gd name="T42" fmla="*/ 0 w 53"/>
                <a:gd name="T43" fmla="*/ 58 h 33"/>
                <a:gd name="T44" fmla="*/ 0 w 53"/>
                <a:gd name="T45" fmla="*/ 49 h 33"/>
                <a:gd name="T46" fmla="*/ 0 w 53"/>
                <a:gd name="T47" fmla="*/ 38 h 33"/>
                <a:gd name="T48" fmla="*/ 0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3"/>
                <a:gd name="T76" fmla="*/ 0 h 33"/>
                <a:gd name="T77" fmla="*/ 53 w 53"/>
                <a:gd name="T78" fmla="*/ 33 h 3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grpSp>
          <p:nvGrpSpPr>
            <p:cNvPr id="13" name="Group 934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3527" y="2431"/>
              <a:ext cx="115" cy="65"/>
              <a:chOff x="3481" y="2773"/>
              <a:chExt cx="125" cy="65"/>
            </a:xfrm>
            <a:grpFill/>
          </p:grpSpPr>
          <p:sp>
            <p:nvSpPr>
              <p:cNvPr id="18892" name="Freeform 935"/>
              <p:cNvSpPr>
                <a:spLocks/>
              </p:cNvSpPr>
              <p:nvPr/>
            </p:nvSpPr>
            <p:spPr bwMode="auto">
              <a:xfrm>
                <a:off x="3583" y="2798"/>
                <a:ext cx="4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18"/>
                  <a:gd name="T23" fmla="*/ 13 w 13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93" name="Line 936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94" name="Freeform 937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0 w 14"/>
                  <a:gd name="T1" fmla="*/ 0 h 19"/>
                  <a:gd name="T2" fmla="*/ 0 w 14"/>
                  <a:gd name="T3" fmla="*/ 0 h 19"/>
                  <a:gd name="T4" fmla="*/ 0 w 14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19"/>
                  <a:gd name="T11" fmla="*/ 14 w 14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95" name="Freeform 93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8"/>
                  <a:gd name="T17" fmla="*/ 7 w 7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96" name="Freeform 939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0 w 20"/>
                  <a:gd name="T1" fmla="*/ 0 h 12"/>
                  <a:gd name="T2" fmla="*/ 0 w 20"/>
                  <a:gd name="T3" fmla="*/ 0 h 12"/>
                  <a:gd name="T4" fmla="*/ 0 w 20"/>
                  <a:gd name="T5" fmla="*/ 0 h 12"/>
                  <a:gd name="T6" fmla="*/ 0 w 20"/>
                  <a:gd name="T7" fmla="*/ 0 h 12"/>
                  <a:gd name="T8" fmla="*/ 0 w 20"/>
                  <a:gd name="T9" fmla="*/ 0 h 12"/>
                  <a:gd name="T10" fmla="*/ 0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0"/>
                  <a:gd name="T22" fmla="*/ 0 h 12"/>
                  <a:gd name="T23" fmla="*/ 20 w 20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97" name="Line 940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98" name="Freeform 941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8"/>
                  <a:gd name="T11" fmla="*/ 20 w 20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99" name="Freeform 942"/>
              <p:cNvSpPr>
                <a:spLocks/>
              </p:cNvSpPr>
              <p:nvPr/>
            </p:nvSpPr>
            <p:spPr bwMode="auto">
              <a:xfrm>
                <a:off x="3485" y="2830"/>
                <a:ext cx="2" cy="4"/>
              </a:xfrm>
              <a:custGeom>
                <a:avLst/>
                <a:gdLst>
                  <a:gd name="T0" fmla="*/ 0 w 7"/>
                  <a:gd name="T1" fmla="*/ 0 h 12"/>
                  <a:gd name="T2" fmla="*/ 0 w 7"/>
                  <a:gd name="T3" fmla="*/ 0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7"/>
                  <a:gd name="T10" fmla="*/ 0 h 12"/>
                  <a:gd name="T11" fmla="*/ 7 w 7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00" name="Freeform 943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w 20"/>
                  <a:gd name="T9" fmla="*/ 0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"/>
                  <a:gd name="T19" fmla="*/ 0 h 18"/>
                  <a:gd name="T20" fmla="*/ 20 w 20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01" name="Freeform 944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w 7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18"/>
                  <a:gd name="T20" fmla="*/ 7 w 7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902" name="Freeform 945"/>
              <p:cNvSpPr>
                <a:spLocks/>
              </p:cNvSpPr>
              <p:nvPr/>
            </p:nvSpPr>
            <p:spPr bwMode="auto">
              <a:xfrm>
                <a:off x="3583" y="2798"/>
                <a:ext cx="4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w 13"/>
                  <a:gd name="T15" fmla="*/ 0 h 18"/>
                  <a:gd name="T16" fmla="*/ 0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18"/>
                  <a:gd name="T29" fmla="*/ 13 w 13"/>
                  <a:gd name="T30" fmla="*/ 18 h 1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</p:grpSp>
        <p:sp>
          <p:nvSpPr>
            <p:cNvPr id="18721" name="Freeform 946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2933" y="2426"/>
              <a:ext cx="217" cy="239"/>
            </a:xfrm>
            <a:custGeom>
              <a:avLst/>
              <a:gdLst>
                <a:gd name="T0" fmla="*/ 0 w 736"/>
                <a:gd name="T1" fmla="*/ 0 h 721"/>
                <a:gd name="T2" fmla="*/ 0 w 736"/>
                <a:gd name="T3" fmla="*/ 0 h 721"/>
                <a:gd name="T4" fmla="*/ 0 w 736"/>
                <a:gd name="T5" fmla="*/ 0 h 721"/>
                <a:gd name="T6" fmla="*/ 0 w 736"/>
                <a:gd name="T7" fmla="*/ 0 h 721"/>
                <a:gd name="T8" fmla="*/ 0 w 736"/>
                <a:gd name="T9" fmla="*/ 0 h 721"/>
                <a:gd name="T10" fmla="*/ 0 w 736"/>
                <a:gd name="T11" fmla="*/ 0 h 721"/>
                <a:gd name="T12" fmla="*/ 0 w 736"/>
                <a:gd name="T13" fmla="*/ 0 h 721"/>
                <a:gd name="T14" fmla="*/ 0 w 736"/>
                <a:gd name="T15" fmla="*/ 0 h 721"/>
                <a:gd name="T16" fmla="*/ 0 w 736"/>
                <a:gd name="T17" fmla="*/ 0 h 721"/>
                <a:gd name="T18" fmla="*/ 0 w 736"/>
                <a:gd name="T19" fmla="*/ 0 h 721"/>
                <a:gd name="T20" fmla="*/ 0 w 736"/>
                <a:gd name="T21" fmla="*/ 0 h 721"/>
                <a:gd name="T22" fmla="*/ 0 w 736"/>
                <a:gd name="T23" fmla="*/ 0 h 721"/>
                <a:gd name="T24" fmla="*/ 0 w 736"/>
                <a:gd name="T25" fmla="*/ 0 h 721"/>
                <a:gd name="T26" fmla="*/ 0 w 736"/>
                <a:gd name="T27" fmla="*/ 0 h 721"/>
                <a:gd name="T28" fmla="*/ 0 w 736"/>
                <a:gd name="T29" fmla="*/ 0 h 721"/>
                <a:gd name="T30" fmla="*/ 0 w 736"/>
                <a:gd name="T31" fmla="*/ 0 h 721"/>
                <a:gd name="T32" fmla="*/ 0 w 736"/>
                <a:gd name="T33" fmla="*/ 0 h 721"/>
                <a:gd name="T34" fmla="*/ 0 w 736"/>
                <a:gd name="T35" fmla="*/ 0 h 721"/>
                <a:gd name="T36" fmla="*/ 0 w 736"/>
                <a:gd name="T37" fmla="*/ 0 h 721"/>
                <a:gd name="T38" fmla="*/ 0 w 736"/>
                <a:gd name="T39" fmla="*/ 0 h 721"/>
                <a:gd name="T40" fmla="*/ 0 w 736"/>
                <a:gd name="T41" fmla="*/ 0 h 721"/>
                <a:gd name="T42" fmla="*/ 0 w 736"/>
                <a:gd name="T43" fmla="*/ 0 h 721"/>
                <a:gd name="T44" fmla="*/ 0 w 736"/>
                <a:gd name="T45" fmla="*/ 0 h 721"/>
                <a:gd name="T46" fmla="*/ 0 w 736"/>
                <a:gd name="T47" fmla="*/ 0 h 721"/>
                <a:gd name="T48" fmla="*/ 0 w 736"/>
                <a:gd name="T49" fmla="*/ 0 h 721"/>
                <a:gd name="T50" fmla="*/ 0 w 736"/>
                <a:gd name="T51" fmla="*/ 0 h 721"/>
                <a:gd name="T52" fmla="*/ 0 w 736"/>
                <a:gd name="T53" fmla="*/ 0 h 721"/>
                <a:gd name="T54" fmla="*/ 0 w 736"/>
                <a:gd name="T55" fmla="*/ 0 h 721"/>
                <a:gd name="T56" fmla="*/ 0 w 736"/>
                <a:gd name="T57" fmla="*/ 0 h 721"/>
                <a:gd name="T58" fmla="*/ 0 w 736"/>
                <a:gd name="T59" fmla="*/ 0 h 721"/>
                <a:gd name="T60" fmla="*/ 0 w 736"/>
                <a:gd name="T61" fmla="*/ 0 h 721"/>
                <a:gd name="T62" fmla="*/ 0 w 736"/>
                <a:gd name="T63" fmla="*/ 0 h 721"/>
                <a:gd name="T64" fmla="*/ 0 w 736"/>
                <a:gd name="T65" fmla="*/ 0 h 721"/>
                <a:gd name="T66" fmla="*/ 0 w 736"/>
                <a:gd name="T67" fmla="*/ 0 h 721"/>
                <a:gd name="T68" fmla="*/ 0 w 736"/>
                <a:gd name="T69" fmla="*/ 0 h 721"/>
                <a:gd name="T70" fmla="*/ 0 w 736"/>
                <a:gd name="T71" fmla="*/ 0 h 721"/>
                <a:gd name="T72" fmla="*/ 0 w 736"/>
                <a:gd name="T73" fmla="*/ 0 h 721"/>
                <a:gd name="T74" fmla="*/ 0 w 736"/>
                <a:gd name="T75" fmla="*/ 0 h 721"/>
                <a:gd name="T76" fmla="*/ 0 w 736"/>
                <a:gd name="T77" fmla="*/ 0 h 721"/>
                <a:gd name="T78" fmla="*/ 0 w 736"/>
                <a:gd name="T79" fmla="*/ 0 h 721"/>
                <a:gd name="T80" fmla="*/ 0 w 736"/>
                <a:gd name="T81" fmla="*/ 0 h 721"/>
                <a:gd name="T82" fmla="*/ 0 w 736"/>
                <a:gd name="T83" fmla="*/ 0 h 721"/>
                <a:gd name="T84" fmla="*/ 0 w 736"/>
                <a:gd name="T85" fmla="*/ 0 h 721"/>
                <a:gd name="T86" fmla="*/ 0 w 736"/>
                <a:gd name="T87" fmla="*/ 0 h 721"/>
                <a:gd name="T88" fmla="*/ 0 w 736"/>
                <a:gd name="T89" fmla="*/ 0 h 721"/>
                <a:gd name="T90" fmla="*/ 0 w 736"/>
                <a:gd name="T91" fmla="*/ 0 h 721"/>
                <a:gd name="T92" fmla="*/ 0 w 736"/>
                <a:gd name="T93" fmla="*/ 0 h 721"/>
                <a:gd name="T94" fmla="*/ 0 w 736"/>
                <a:gd name="T95" fmla="*/ 0 h 721"/>
                <a:gd name="T96" fmla="*/ 0 w 736"/>
                <a:gd name="T97" fmla="*/ 0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36"/>
                <a:gd name="T148" fmla="*/ 0 h 721"/>
                <a:gd name="T149" fmla="*/ 736 w 736"/>
                <a:gd name="T150" fmla="*/ 721 h 72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22" name="Freeform 947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2940" y="2409"/>
              <a:ext cx="11" cy="38"/>
            </a:xfrm>
            <a:custGeom>
              <a:avLst/>
              <a:gdLst>
                <a:gd name="T0" fmla="*/ 0 w 39"/>
                <a:gd name="T1" fmla="*/ 1847 h 31"/>
                <a:gd name="T2" fmla="*/ 0 w 39"/>
                <a:gd name="T3" fmla="*/ 1625 h 31"/>
                <a:gd name="T4" fmla="*/ 0 w 39"/>
                <a:gd name="T5" fmla="*/ 1625 h 31"/>
                <a:gd name="T6" fmla="*/ 0 w 39"/>
                <a:gd name="T7" fmla="*/ 1625 h 31"/>
                <a:gd name="T8" fmla="*/ 0 w 39"/>
                <a:gd name="T9" fmla="*/ 1625 h 31"/>
                <a:gd name="T10" fmla="*/ 0 w 39"/>
                <a:gd name="T11" fmla="*/ 1581 h 31"/>
                <a:gd name="T12" fmla="*/ 0 w 39"/>
                <a:gd name="T13" fmla="*/ 1507 h 31"/>
                <a:gd name="T14" fmla="*/ 0 w 39"/>
                <a:gd name="T15" fmla="*/ 0 h 31"/>
                <a:gd name="T16" fmla="*/ 0 w 39"/>
                <a:gd name="T17" fmla="*/ 0 h 31"/>
                <a:gd name="T18" fmla="*/ 0 w 39"/>
                <a:gd name="T19" fmla="*/ 0 h 31"/>
                <a:gd name="T20" fmla="*/ 0 w 39"/>
                <a:gd name="T21" fmla="*/ 0 h 31"/>
                <a:gd name="T22" fmla="*/ 0 w 39"/>
                <a:gd name="T23" fmla="*/ 0 h 31"/>
                <a:gd name="T24" fmla="*/ 0 w 39"/>
                <a:gd name="T25" fmla="*/ 18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31"/>
                <a:gd name="T41" fmla="*/ 39 w 39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23" name="Freeform 948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3010" y="2751"/>
              <a:ext cx="270" cy="251"/>
            </a:xfrm>
            <a:custGeom>
              <a:avLst/>
              <a:gdLst>
                <a:gd name="T0" fmla="*/ 0 w 903"/>
                <a:gd name="T1" fmla="*/ 0 h 759"/>
                <a:gd name="T2" fmla="*/ 0 w 903"/>
                <a:gd name="T3" fmla="*/ 0 h 759"/>
                <a:gd name="T4" fmla="*/ 0 w 903"/>
                <a:gd name="T5" fmla="*/ 0 h 759"/>
                <a:gd name="T6" fmla="*/ 0 w 903"/>
                <a:gd name="T7" fmla="*/ 0 h 759"/>
                <a:gd name="T8" fmla="*/ 0 w 903"/>
                <a:gd name="T9" fmla="*/ 0 h 759"/>
                <a:gd name="T10" fmla="*/ 0 w 903"/>
                <a:gd name="T11" fmla="*/ 0 h 759"/>
                <a:gd name="T12" fmla="*/ 0 w 903"/>
                <a:gd name="T13" fmla="*/ 0 h 759"/>
                <a:gd name="T14" fmla="*/ 0 w 903"/>
                <a:gd name="T15" fmla="*/ 0 h 759"/>
                <a:gd name="T16" fmla="*/ 0 w 903"/>
                <a:gd name="T17" fmla="*/ 0 h 759"/>
                <a:gd name="T18" fmla="*/ 0 w 903"/>
                <a:gd name="T19" fmla="*/ 0 h 759"/>
                <a:gd name="T20" fmla="*/ 0 w 903"/>
                <a:gd name="T21" fmla="*/ 0 h 759"/>
                <a:gd name="T22" fmla="*/ 0 w 903"/>
                <a:gd name="T23" fmla="*/ 0 h 759"/>
                <a:gd name="T24" fmla="*/ 0 w 903"/>
                <a:gd name="T25" fmla="*/ 0 h 759"/>
                <a:gd name="T26" fmla="*/ 0 w 903"/>
                <a:gd name="T27" fmla="*/ 0 h 759"/>
                <a:gd name="T28" fmla="*/ 0 w 903"/>
                <a:gd name="T29" fmla="*/ 0 h 759"/>
                <a:gd name="T30" fmla="*/ 0 w 903"/>
                <a:gd name="T31" fmla="*/ 0 h 759"/>
                <a:gd name="T32" fmla="*/ 0 w 903"/>
                <a:gd name="T33" fmla="*/ 0 h 759"/>
                <a:gd name="T34" fmla="*/ 0 w 903"/>
                <a:gd name="T35" fmla="*/ 0 h 759"/>
                <a:gd name="T36" fmla="*/ 0 w 903"/>
                <a:gd name="T37" fmla="*/ 0 h 759"/>
                <a:gd name="T38" fmla="*/ 0 w 903"/>
                <a:gd name="T39" fmla="*/ 0 h 759"/>
                <a:gd name="T40" fmla="*/ 0 w 903"/>
                <a:gd name="T41" fmla="*/ 0 h 759"/>
                <a:gd name="T42" fmla="*/ 0 w 903"/>
                <a:gd name="T43" fmla="*/ 0 h 759"/>
                <a:gd name="T44" fmla="*/ 0 w 903"/>
                <a:gd name="T45" fmla="*/ 0 h 759"/>
                <a:gd name="T46" fmla="*/ 0 w 903"/>
                <a:gd name="T47" fmla="*/ 0 h 759"/>
                <a:gd name="T48" fmla="*/ 0 w 903"/>
                <a:gd name="T49" fmla="*/ 0 h 759"/>
                <a:gd name="T50" fmla="*/ 0 w 903"/>
                <a:gd name="T51" fmla="*/ 0 h 759"/>
                <a:gd name="T52" fmla="*/ 0 w 903"/>
                <a:gd name="T53" fmla="*/ 0 h 759"/>
                <a:gd name="T54" fmla="*/ 0 w 903"/>
                <a:gd name="T55" fmla="*/ 0 h 759"/>
                <a:gd name="T56" fmla="*/ 0 w 903"/>
                <a:gd name="T57" fmla="*/ 0 h 759"/>
                <a:gd name="T58" fmla="*/ 0 w 903"/>
                <a:gd name="T59" fmla="*/ 0 h 759"/>
                <a:gd name="T60" fmla="*/ 0 w 903"/>
                <a:gd name="T61" fmla="*/ 0 h 759"/>
                <a:gd name="T62" fmla="*/ 0 w 903"/>
                <a:gd name="T63" fmla="*/ 0 h 759"/>
                <a:gd name="T64" fmla="*/ 0 w 903"/>
                <a:gd name="T65" fmla="*/ 0 h 759"/>
                <a:gd name="T66" fmla="*/ 0 w 903"/>
                <a:gd name="T67" fmla="*/ 0 h 759"/>
                <a:gd name="T68" fmla="*/ 0 w 903"/>
                <a:gd name="T69" fmla="*/ 0 h 759"/>
                <a:gd name="T70" fmla="*/ 0 w 903"/>
                <a:gd name="T71" fmla="*/ 0 h 759"/>
                <a:gd name="T72" fmla="*/ 0 w 903"/>
                <a:gd name="T73" fmla="*/ 0 h 759"/>
                <a:gd name="T74" fmla="*/ 0 w 903"/>
                <a:gd name="T75" fmla="*/ 0 h 759"/>
                <a:gd name="T76" fmla="*/ 0 w 903"/>
                <a:gd name="T77" fmla="*/ 0 h 759"/>
                <a:gd name="T78" fmla="*/ 0 w 903"/>
                <a:gd name="T79" fmla="*/ 0 h 759"/>
                <a:gd name="T80" fmla="*/ 0 w 903"/>
                <a:gd name="T81" fmla="*/ 0 h 759"/>
                <a:gd name="T82" fmla="*/ 0 w 903"/>
                <a:gd name="T83" fmla="*/ 0 h 759"/>
                <a:gd name="T84" fmla="*/ 0 w 903"/>
                <a:gd name="T85" fmla="*/ 0 h 759"/>
                <a:gd name="T86" fmla="*/ 0 w 903"/>
                <a:gd name="T87" fmla="*/ 0 h 759"/>
                <a:gd name="T88" fmla="*/ 0 w 903"/>
                <a:gd name="T89" fmla="*/ 0 h 759"/>
                <a:gd name="T90" fmla="*/ 0 w 903"/>
                <a:gd name="T91" fmla="*/ 0 h 759"/>
                <a:gd name="T92" fmla="*/ 0 w 903"/>
                <a:gd name="T93" fmla="*/ 0 h 759"/>
                <a:gd name="T94" fmla="*/ 0 w 903"/>
                <a:gd name="T95" fmla="*/ 0 h 759"/>
                <a:gd name="T96" fmla="*/ 0 w 903"/>
                <a:gd name="T97" fmla="*/ 0 h 759"/>
                <a:gd name="T98" fmla="*/ 0 w 903"/>
                <a:gd name="T99" fmla="*/ 0 h 759"/>
                <a:gd name="T100" fmla="*/ 0 w 903"/>
                <a:gd name="T101" fmla="*/ 0 h 759"/>
                <a:gd name="T102" fmla="*/ 0 w 903"/>
                <a:gd name="T103" fmla="*/ 0 h 759"/>
                <a:gd name="T104" fmla="*/ 0 w 903"/>
                <a:gd name="T105" fmla="*/ 0 h 759"/>
                <a:gd name="T106" fmla="*/ 0 w 903"/>
                <a:gd name="T107" fmla="*/ 0 h 759"/>
                <a:gd name="T108" fmla="*/ 0 w 903"/>
                <a:gd name="T109" fmla="*/ 0 h 759"/>
                <a:gd name="T110" fmla="*/ 0 w 903"/>
                <a:gd name="T111" fmla="*/ 0 h 759"/>
                <a:gd name="T112" fmla="*/ 0 w 903"/>
                <a:gd name="T113" fmla="*/ 0 h 759"/>
                <a:gd name="T114" fmla="*/ 0 w 903"/>
                <a:gd name="T115" fmla="*/ 0 h 759"/>
                <a:gd name="T116" fmla="*/ 0 w 903"/>
                <a:gd name="T117" fmla="*/ 0 h 759"/>
                <a:gd name="T118" fmla="*/ 0 w 903"/>
                <a:gd name="T119" fmla="*/ 0 h 759"/>
                <a:gd name="T120" fmla="*/ 0 w 903"/>
                <a:gd name="T121" fmla="*/ 0 h 759"/>
                <a:gd name="T122" fmla="*/ 0 w 903"/>
                <a:gd name="T123" fmla="*/ 0 h 759"/>
                <a:gd name="T124" fmla="*/ 0 w 903"/>
                <a:gd name="T125" fmla="*/ 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3"/>
                <a:gd name="T190" fmla="*/ 0 h 759"/>
                <a:gd name="T191" fmla="*/ 903 w 903"/>
                <a:gd name="T192" fmla="*/ 759 h 75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24" name="Freeform 949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3110" y="1849"/>
              <a:ext cx="281" cy="385"/>
            </a:xfrm>
            <a:custGeom>
              <a:avLst/>
              <a:gdLst>
                <a:gd name="T0" fmla="*/ 0 w 943"/>
                <a:gd name="T1" fmla="*/ 0 h 1172"/>
                <a:gd name="T2" fmla="*/ 0 w 943"/>
                <a:gd name="T3" fmla="*/ 0 h 1172"/>
                <a:gd name="T4" fmla="*/ 0 w 943"/>
                <a:gd name="T5" fmla="*/ 0 h 1172"/>
                <a:gd name="T6" fmla="*/ 0 w 943"/>
                <a:gd name="T7" fmla="*/ 0 h 1172"/>
                <a:gd name="T8" fmla="*/ 0 w 943"/>
                <a:gd name="T9" fmla="*/ 0 h 1172"/>
                <a:gd name="T10" fmla="*/ 0 w 943"/>
                <a:gd name="T11" fmla="*/ 0 h 1172"/>
                <a:gd name="T12" fmla="*/ 0 w 943"/>
                <a:gd name="T13" fmla="*/ 0 h 1172"/>
                <a:gd name="T14" fmla="*/ 0 w 943"/>
                <a:gd name="T15" fmla="*/ 0 h 1172"/>
                <a:gd name="T16" fmla="*/ 0 w 943"/>
                <a:gd name="T17" fmla="*/ 0 h 1172"/>
                <a:gd name="T18" fmla="*/ 0 w 943"/>
                <a:gd name="T19" fmla="*/ 0 h 1172"/>
                <a:gd name="T20" fmla="*/ 0 w 943"/>
                <a:gd name="T21" fmla="*/ 0 h 1172"/>
                <a:gd name="T22" fmla="*/ 0 w 943"/>
                <a:gd name="T23" fmla="*/ 0 h 1172"/>
                <a:gd name="T24" fmla="*/ 0 w 943"/>
                <a:gd name="T25" fmla="*/ 0 h 1172"/>
                <a:gd name="T26" fmla="*/ 0 w 943"/>
                <a:gd name="T27" fmla="*/ 0 h 1172"/>
                <a:gd name="T28" fmla="*/ 0 w 943"/>
                <a:gd name="T29" fmla="*/ 0 h 1172"/>
                <a:gd name="T30" fmla="*/ 0 w 943"/>
                <a:gd name="T31" fmla="*/ 0 h 1172"/>
                <a:gd name="T32" fmla="*/ 0 w 943"/>
                <a:gd name="T33" fmla="*/ 0 h 1172"/>
                <a:gd name="T34" fmla="*/ 0 w 943"/>
                <a:gd name="T35" fmla="*/ 0 h 1172"/>
                <a:gd name="T36" fmla="*/ 0 w 943"/>
                <a:gd name="T37" fmla="*/ 0 h 1172"/>
                <a:gd name="T38" fmla="*/ 0 w 943"/>
                <a:gd name="T39" fmla="*/ 0 h 1172"/>
                <a:gd name="T40" fmla="*/ 0 w 943"/>
                <a:gd name="T41" fmla="*/ 0 h 1172"/>
                <a:gd name="T42" fmla="*/ 0 w 943"/>
                <a:gd name="T43" fmla="*/ 0 h 1172"/>
                <a:gd name="T44" fmla="*/ 0 w 943"/>
                <a:gd name="T45" fmla="*/ 0 h 1172"/>
                <a:gd name="T46" fmla="*/ 0 w 943"/>
                <a:gd name="T47" fmla="*/ 0 h 1172"/>
                <a:gd name="T48" fmla="*/ 0 w 943"/>
                <a:gd name="T49" fmla="*/ 0 h 1172"/>
                <a:gd name="T50" fmla="*/ 0 w 943"/>
                <a:gd name="T51" fmla="*/ 0 h 1172"/>
                <a:gd name="T52" fmla="*/ 0 w 943"/>
                <a:gd name="T53" fmla="*/ 0 h 1172"/>
                <a:gd name="T54" fmla="*/ 0 w 943"/>
                <a:gd name="T55" fmla="*/ 0 h 1172"/>
                <a:gd name="T56" fmla="*/ 0 w 943"/>
                <a:gd name="T57" fmla="*/ 0 h 1172"/>
                <a:gd name="T58" fmla="*/ 0 w 943"/>
                <a:gd name="T59" fmla="*/ 0 h 1172"/>
                <a:gd name="T60" fmla="*/ 0 w 943"/>
                <a:gd name="T61" fmla="*/ 0 h 1172"/>
                <a:gd name="T62" fmla="*/ 0 w 943"/>
                <a:gd name="T63" fmla="*/ 0 h 1172"/>
                <a:gd name="T64" fmla="*/ 0 w 943"/>
                <a:gd name="T65" fmla="*/ 0 h 1172"/>
                <a:gd name="T66" fmla="*/ 0 w 943"/>
                <a:gd name="T67" fmla="*/ 0 h 1172"/>
                <a:gd name="T68" fmla="*/ 0 w 943"/>
                <a:gd name="T69" fmla="*/ 0 h 1172"/>
                <a:gd name="T70" fmla="*/ 0 w 943"/>
                <a:gd name="T71" fmla="*/ 0 h 1172"/>
                <a:gd name="T72" fmla="*/ 0 w 943"/>
                <a:gd name="T73" fmla="*/ 0 h 1172"/>
                <a:gd name="T74" fmla="*/ 0 w 943"/>
                <a:gd name="T75" fmla="*/ 0 h 1172"/>
                <a:gd name="T76" fmla="*/ 0 w 943"/>
                <a:gd name="T77" fmla="*/ 0 h 1172"/>
                <a:gd name="T78" fmla="*/ 0 w 943"/>
                <a:gd name="T79" fmla="*/ 0 h 1172"/>
                <a:gd name="T80" fmla="*/ 0 w 943"/>
                <a:gd name="T81" fmla="*/ 0 h 1172"/>
                <a:gd name="T82" fmla="*/ 0 w 943"/>
                <a:gd name="T83" fmla="*/ 0 h 1172"/>
                <a:gd name="T84" fmla="*/ 0 w 943"/>
                <a:gd name="T85" fmla="*/ 0 h 1172"/>
                <a:gd name="T86" fmla="*/ 0 w 943"/>
                <a:gd name="T87" fmla="*/ 0 h 1172"/>
                <a:gd name="T88" fmla="*/ 0 w 943"/>
                <a:gd name="T89" fmla="*/ 0 h 1172"/>
                <a:gd name="T90" fmla="*/ 0 w 943"/>
                <a:gd name="T91" fmla="*/ 0 h 1172"/>
                <a:gd name="T92" fmla="*/ 0 w 943"/>
                <a:gd name="T93" fmla="*/ 0 h 1172"/>
                <a:gd name="T94" fmla="*/ 0 w 943"/>
                <a:gd name="T95" fmla="*/ 0 h 1172"/>
                <a:gd name="T96" fmla="*/ 0 w 943"/>
                <a:gd name="T97" fmla="*/ 0 h 1172"/>
                <a:gd name="T98" fmla="*/ 0 w 943"/>
                <a:gd name="T99" fmla="*/ 0 h 1172"/>
                <a:gd name="T100" fmla="*/ 0 w 943"/>
                <a:gd name="T101" fmla="*/ 0 h 1172"/>
                <a:gd name="T102" fmla="*/ 0 w 943"/>
                <a:gd name="T103" fmla="*/ 0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3"/>
                <a:gd name="T157" fmla="*/ 0 h 1172"/>
                <a:gd name="T158" fmla="*/ 943 w 943"/>
                <a:gd name="T159" fmla="*/ 1172 h 11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grpSp>
          <p:nvGrpSpPr>
            <p:cNvPr id="14" name="Group 950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2280" y="1976"/>
              <a:ext cx="56" cy="52"/>
              <a:chOff x="2352" y="2343"/>
              <a:chExt cx="65" cy="53"/>
            </a:xfrm>
            <a:grpFill/>
          </p:grpSpPr>
          <p:sp>
            <p:nvSpPr>
              <p:cNvPr id="18886" name="Freeform 951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0 w 51"/>
                  <a:gd name="T1" fmla="*/ 0 h 33"/>
                  <a:gd name="T2" fmla="*/ 0 w 51"/>
                  <a:gd name="T3" fmla="*/ 0 h 33"/>
                  <a:gd name="T4" fmla="*/ 0 w 51"/>
                  <a:gd name="T5" fmla="*/ 0 h 33"/>
                  <a:gd name="T6" fmla="*/ 0 w 51"/>
                  <a:gd name="T7" fmla="*/ 0 h 33"/>
                  <a:gd name="T8" fmla="*/ 0 w 51"/>
                  <a:gd name="T9" fmla="*/ 0 h 33"/>
                  <a:gd name="T10" fmla="*/ 0 w 51"/>
                  <a:gd name="T11" fmla="*/ 0 h 33"/>
                  <a:gd name="T12" fmla="*/ 0 w 51"/>
                  <a:gd name="T13" fmla="*/ 0 h 33"/>
                  <a:gd name="T14" fmla="*/ 0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1"/>
                  <a:gd name="T25" fmla="*/ 0 h 33"/>
                  <a:gd name="T26" fmla="*/ 51 w 51"/>
                  <a:gd name="T27" fmla="*/ 33 h 3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87" name="Freeform 952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0 w 61"/>
                  <a:gd name="T1" fmla="*/ 0 h 20"/>
                  <a:gd name="T2" fmla="*/ 0 w 61"/>
                  <a:gd name="T3" fmla="*/ 0 h 20"/>
                  <a:gd name="T4" fmla="*/ 0 w 61"/>
                  <a:gd name="T5" fmla="*/ 0 h 20"/>
                  <a:gd name="T6" fmla="*/ 0 w 61"/>
                  <a:gd name="T7" fmla="*/ 0 h 20"/>
                  <a:gd name="T8" fmla="*/ 0 w 61"/>
                  <a:gd name="T9" fmla="*/ 0 h 20"/>
                  <a:gd name="T10" fmla="*/ 0 w 61"/>
                  <a:gd name="T11" fmla="*/ 0 h 20"/>
                  <a:gd name="T12" fmla="*/ 0 w 61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1"/>
                  <a:gd name="T22" fmla="*/ 0 h 20"/>
                  <a:gd name="T23" fmla="*/ 61 w 61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88" name="Freeform 953"/>
              <p:cNvSpPr>
                <a:spLocks/>
              </p:cNvSpPr>
              <p:nvPr/>
            </p:nvSpPr>
            <p:spPr bwMode="auto">
              <a:xfrm>
                <a:off x="2407" y="2346"/>
                <a:ext cx="7" cy="12"/>
              </a:xfrm>
              <a:custGeom>
                <a:avLst/>
                <a:gdLst>
                  <a:gd name="T0" fmla="*/ 0 w 15"/>
                  <a:gd name="T1" fmla="*/ 0 h 36"/>
                  <a:gd name="T2" fmla="*/ 0 w 15"/>
                  <a:gd name="T3" fmla="*/ 0 h 36"/>
                  <a:gd name="T4" fmla="*/ 0 w 15"/>
                  <a:gd name="T5" fmla="*/ 0 h 36"/>
                  <a:gd name="T6" fmla="*/ 0 w 15"/>
                  <a:gd name="T7" fmla="*/ 0 h 36"/>
                  <a:gd name="T8" fmla="*/ 0 w 15"/>
                  <a:gd name="T9" fmla="*/ 0 h 36"/>
                  <a:gd name="T10" fmla="*/ 0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36"/>
                  <a:gd name="T20" fmla="*/ 15 w 15"/>
                  <a:gd name="T21" fmla="*/ 36 h 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89" name="Freeform 954"/>
              <p:cNvSpPr>
                <a:spLocks/>
              </p:cNvSpPr>
              <p:nvPr/>
            </p:nvSpPr>
            <p:spPr bwMode="auto">
              <a:xfrm>
                <a:off x="2407" y="2361"/>
                <a:ext cx="10" cy="8"/>
              </a:xfrm>
              <a:custGeom>
                <a:avLst/>
                <a:gdLst>
                  <a:gd name="T0" fmla="*/ 0 w 37"/>
                  <a:gd name="T1" fmla="*/ 0 h 33"/>
                  <a:gd name="T2" fmla="*/ 0 w 37"/>
                  <a:gd name="T3" fmla="*/ 0 h 33"/>
                  <a:gd name="T4" fmla="*/ 0 w 37"/>
                  <a:gd name="T5" fmla="*/ 0 h 33"/>
                  <a:gd name="T6" fmla="*/ 0 w 37"/>
                  <a:gd name="T7" fmla="*/ 0 h 33"/>
                  <a:gd name="T8" fmla="*/ 0 w 37"/>
                  <a:gd name="T9" fmla="*/ 0 h 33"/>
                  <a:gd name="T10" fmla="*/ 0 w 37"/>
                  <a:gd name="T11" fmla="*/ 0 h 33"/>
                  <a:gd name="T12" fmla="*/ 0 w 37"/>
                  <a:gd name="T13" fmla="*/ 0 h 33"/>
                  <a:gd name="T14" fmla="*/ 0 w 37"/>
                  <a:gd name="T15" fmla="*/ 0 h 33"/>
                  <a:gd name="T16" fmla="*/ 0 w 37"/>
                  <a:gd name="T17" fmla="*/ 0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7"/>
                  <a:gd name="T28" fmla="*/ 0 h 33"/>
                  <a:gd name="T29" fmla="*/ 37 w 37"/>
                  <a:gd name="T30" fmla="*/ 33 h 3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90" name="Freeform 955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0 w 49"/>
                  <a:gd name="T1" fmla="*/ 0 h 54"/>
                  <a:gd name="T2" fmla="*/ 0 w 49"/>
                  <a:gd name="T3" fmla="*/ 0 h 54"/>
                  <a:gd name="T4" fmla="*/ 0 w 49"/>
                  <a:gd name="T5" fmla="*/ 0 h 54"/>
                  <a:gd name="T6" fmla="*/ 0 w 49"/>
                  <a:gd name="T7" fmla="*/ 0 h 54"/>
                  <a:gd name="T8" fmla="*/ 0 w 49"/>
                  <a:gd name="T9" fmla="*/ 0 h 54"/>
                  <a:gd name="T10" fmla="*/ 0 w 49"/>
                  <a:gd name="T11" fmla="*/ 0 h 54"/>
                  <a:gd name="T12" fmla="*/ 0 w 49"/>
                  <a:gd name="T13" fmla="*/ 0 h 54"/>
                  <a:gd name="T14" fmla="*/ 0 w 49"/>
                  <a:gd name="T15" fmla="*/ 0 h 54"/>
                  <a:gd name="T16" fmla="*/ 0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9"/>
                  <a:gd name="T28" fmla="*/ 0 h 54"/>
                  <a:gd name="T29" fmla="*/ 49 w 49"/>
                  <a:gd name="T30" fmla="*/ 54 h 5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91" name="Freeform 956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0 w 26"/>
                  <a:gd name="T1" fmla="*/ 0 h 22"/>
                  <a:gd name="T2" fmla="*/ 0 w 26"/>
                  <a:gd name="T3" fmla="*/ 0 h 22"/>
                  <a:gd name="T4" fmla="*/ 0 w 26"/>
                  <a:gd name="T5" fmla="*/ 0 h 22"/>
                  <a:gd name="T6" fmla="*/ 0 w 26"/>
                  <a:gd name="T7" fmla="*/ 0 h 22"/>
                  <a:gd name="T8" fmla="*/ 0 w 26"/>
                  <a:gd name="T9" fmla="*/ 0 h 22"/>
                  <a:gd name="T10" fmla="*/ 0 w 26"/>
                  <a:gd name="T11" fmla="*/ 0 h 22"/>
                  <a:gd name="T12" fmla="*/ 0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6"/>
                  <a:gd name="T22" fmla="*/ 0 h 22"/>
                  <a:gd name="T23" fmla="*/ 26 w 26"/>
                  <a:gd name="T24" fmla="*/ 22 h 2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</p:grpSp>
        <p:grpSp>
          <p:nvGrpSpPr>
            <p:cNvPr id="15" name="Group 957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810" y="754"/>
              <a:ext cx="1295" cy="714"/>
              <a:chOff x="527" y="1110"/>
              <a:chExt cx="1410" cy="709"/>
            </a:xfrm>
            <a:grpFill/>
          </p:grpSpPr>
          <p:sp>
            <p:nvSpPr>
              <p:cNvPr id="18844" name="Freeform 958"/>
              <p:cNvSpPr>
                <a:spLocks/>
              </p:cNvSpPr>
              <p:nvPr/>
            </p:nvSpPr>
            <p:spPr bwMode="auto">
              <a:xfrm>
                <a:off x="1401" y="1427"/>
                <a:ext cx="27" cy="17"/>
              </a:xfrm>
              <a:custGeom>
                <a:avLst/>
                <a:gdLst>
                  <a:gd name="T0" fmla="*/ 0 w 98"/>
                  <a:gd name="T1" fmla="*/ 0 h 54"/>
                  <a:gd name="T2" fmla="*/ 0 w 98"/>
                  <a:gd name="T3" fmla="*/ 0 h 54"/>
                  <a:gd name="T4" fmla="*/ 0 w 98"/>
                  <a:gd name="T5" fmla="*/ 0 h 54"/>
                  <a:gd name="T6" fmla="*/ 0 w 98"/>
                  <a:gd name="T7" fmla="*/ 0 h 54"/>
                  <a:gd name="T8" fmla="*/ 0 w 98"/>
                  <a:gd name="T9" fmla="*/ 0 h 54"/>
                  <a:gd name="T10" fmla="*/ 0 w 98"/>
                  <a:gd name="T11" fmla="*/ 0 h 54"/>
                  <a:gd name="T12" fmla="*/ 0 w 98"/>
                  <a:gd name="T13" fmla="*/ 0 h 54"/>
                  <a:gd name="T14" fmla="*/ 0 w 98"/>
                  <a:gd name="T15" fmla="*/ 0 h 54"/>
                  <a:gd name="T16" fmla="*/ 0 w 98"/>
                  <a:gd name="T17" fmla="*/ 0 h 54"/>
                  <a:gd name="T18" fmla="*/ 0 w 98"/>
                  <a:gd name="T19" fmla="*/ 0 h 54"/>
                  <a:gd name="T20" fmla="*/ 0 w 98"/>
                  <a:gd name="T21" fmla="*/ 0 h 54"/>
                  <a:gd name="T22" fmla="*/ 0 w 98"/>
                  <a:gd name="T23" fmla="*/ 0 h 54"/>
                  <a:gd name="T24" fmla="*/ 0 w 98"/>
                  <a:gd name="T25" fmla="*/ 0 h 54"/>
                  <a:gd name="T26" fmla="*/ 0 w 98"/>
                  <a:gd name="T27" fmla="*/ 0 h 54"/>
                  <a:gd name="T28" fmla="*/ 0 w 98"/>
                  <a:gd name="T29" fmla="*/ 0 h 54"/>
                  <a:gd name="T30" fmla="*/ 0 w 98"/>
                  <a:gd name="T31" fmla="*/ 0 h 54"/>
                  <a:gd name="T32" fmla="*/ 0 w 98"/>
                  <a:gd name="T33" fmla="*/ 0 h 54"/>
                  <a:gd name="T34" fmla="*/ 0 w 98"/>
                  <a:gd name="T35" fmla="*/ 0 h 54"/>
                  <a:gd name="T36" fmla="*/ 0 w 98"/>
                  <a:gd name="T37" fmla="*/ 0 h 54"/>
                  <a:gd name="T38" fmla="*/ 0 w 98"/>
                  <a:gd name="T39" fmla="*/ 0 h 54"/>
                  <a:gd name="T40" fmla="*/ 0 w 98"/>
                  <a:gd name="T41" fmla="*/ 0 h 54"/>
                  <a:gd name="T42" fmla="*/ 0 w 98"/>
                  <a:gd name="T43" fmla="*/ 0 h 54"/>
                  <a:gd name="T44" fmla="*/ 0 w 98"/>
                  <a:gd name="T45" fmla="*/ 0 h 54"/>
                  <a:gd name="T46" fmla="*/ 0 w 98"/>
                  <a:gd name="T47" fmla="*/ 0 h 54"/>
                  <a:gd name="T48" fmla="*/ 0 w 98"/>
                  <a:gd name="T49" fmla="*/ 0 h 54"/>
                  <a:gd name="T50" fmla="*/ 0 w 98"/>
                  <a:gd name="T51" fmla="*/ 0 h 54"/>
                  <a:gd name="T52" fmla="*/ 0 w 98"/>
                  <a:gd name="T53" fmla="*/ 0 h 54"/>
                  <a:gd name="T54" fmla="*/ 0 w 98"/>
                  <a:gd name="T55" fmla="*/ 0 h 54"/>
                  <a:gd name="T56" fmla="*/ 0 w 98"/>
                  <a:gd name="T57" fmla="*/ 0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98"/>
                  <a:gd name="T88" fmla="*/ 0 h 54"/>
                  <a:gd name="T89" fmla="*/ 98 w 98"/>
                  <a:gd name="T90" fmla="*/ 54 h 54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45" name="Freeform 959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0 h 28"/>
                  <a:gd name="T2" fmla="*/ 0 w 67"/>
                  <a:gd name="T3" fmla="*/ 0 h 28"/>
                  <a:gd name="T4" fmla="*/ 0 w 67"/>
                  <a:gd name="T5" fmla="*/ 0 h 28"/>
                  <a:gd name="T6" fmla="*/ 0 w 67"/>
                  <a:gd name="T7" fmla="*/ 0 h 28"/>
                  <a:gd name="T8" fmla="*/ 0 w 67"/>
                  <a:gd name="T9" fmla="*/ 0 h 28"/>
                  <a:gd name="T10" fmla="*/ 0 w 67"/>
                  <a:gd name="T11" fmla="*/ 0 h 28"/>
                  <a:gd name="T12" fmla="*/ 0 w 67"/>
                  <a:gd name="T13" fmla="*/ 0 h 28"/>
                  <a:gd name="T14" fmla="*/ 0 w 67"/>
                  <a:gd name="T15" fmla="*/ 0 h 28"/>
                  <a:gd name="T16" fmla="*/ 0 w 67"/>
                  <a:gd name="T17" fmla="*/ 0 h 28"/>
                  <a:gd name="T18" fmla="*/ 0 w 67"/>
                  <a:gd name="T19" fmla="*/ 0 h 28"/>
                  <a:gd name="T20" fmla="*/ 0 w 67"/>
                  <a:gd name="T21" fmla="*/ 0 h 28"/>
                  <a:gd name="T22" fmla="*/ 0 w 67"/>
                  <a:gd name="T23" fmla="*/ 0 h 28"/>
                  <a:gd name="T24" fmla="*/ 0 w 67"/>
                  <a:gd name="T25" fmla="*/ 0 h 28"/>
                  <a:gd name="T26" fmla="*/ 0 w 67"/>
                  <a:gd name="T27" fmla="*/ 0 h 28"/>
                  <a:gd name="T28" fmla="*/ 0 w 67"/>
                  <a:gd name="T29" fmla="*/ 0 h 28"/>
                  <a:gd name="T30" fmla="*/ 0 w 67"/>
                  <a:gd name="T31" fmla="*/ 0 h 28"/>
                  <a:gd name="T32" fmla="*/ 0 w 67"/>
                  <a:gd name="T33" fmla="*/ 0 h 28"/>
                  <a:gd name="T34" fmla="*/ 0 w 67"/>
                  <a:gd name="T35" fmla="*/ 0 h 28"/>
                  <a:gd name="T36" fmla="*/ 0 w 67"/>
                  <a:gd name="T37" fmla="*/ 0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7"/>
                  <a:gd name="T58" fmla="*/ 0 h 28"/>
                  <a:gd name="T59" fmla="*/ 67 w 67"/>
                  <a:gd name="T60" fmla="*/ 28 h 2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46" name="Freeform 960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0 h 36"/>
                  <a:gd name="T2" fmla="*/ 0 w 32"/>
                  <a:gd name="T3" fmla="*/ 0 h 36"/>
                  <a:gd name="T4" fmla="*/ 0 w 32"/>
                  <a:gd name="T5" fmla="*/ 0 h 36"/>
                  <a:gd name="T6" fmla="*/ 0 w 32"/>
                  <a:gd name="T7" fmla="*/ 0 h 36"/>
                  <a:gd name="T8" fmla="*/ 0 w 32"/>
                  <a:gd name="T9" fmla="*/ 0 h 36"/>
                  <a:gd name="T10" fmla="*/ 0 w 32"/>
                  <a:gd name="T11" fmla="*/ 0 h 36"/>
                  <a:gd name="T12" fmla="*/ 0 w 32"/>
                  <a:gd name="T13" fmla="*/ 0 h 36"/>
                  <a:gd name="T14" fmla="*/ 0 w 32"/>
                  <a:gd name="T15" fmla="*/ 0 h 36"/>
                  <a:gd name="T16" fmla="*/ 0 w 32"/>
                  <a:gd name="T17" fmla="*/ 0 h 36"/>
                  <a:gd name="T18" fmla="*/ 0 w 32"/>
                  <a:gd name="T19" fmla="*/ 0 h 36"/>
                  <a:gd name="T20" fmla="*/ 0 w 32"/>
                  <a:gd name="T21" fmla="*/ 0 h 36"/>
                  <a:gd name="T22" fmla="*/ 0 w 32"/>
                  <a:gd name="T23" fmla="*/ 0 h 36"/>
                  <a:gd name="T24" fmla="*/ 0 w 32"/>
                  <a:gd name="T25" fmla="*/ 0 h 36"/>
                  <a:gd name="T26" fmla="*/ 0 w 32"/>
                  <a:gd name="T27" fmla="*/ 0 h 36"/>
                  <a:gd name="T28" fmla="*/ 0 w 32"/>
                  <a:gd name="T29" fmla="*/ 0 h 36"/>
                  <a:gd name="T30" fmla="*/ 0 w 32"/>
                  <a:gd name="T31" fmla="*/ 0 h 36"/>
                  <a:gd name="T32" fmla="*/ 0 w 32"/>
                  <a:gd name="T33" fmla="*/ 0 h 36"/>
                  <a:gd name="T34" fmla="*/ 0 w 32"/>
                  <a:gd name="T35" fmla="*/ 0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2"/>
                  <a:gd name="T55" fmla="*/ 0 h 36"/>
                  <a:gd name="T56" fmla="*/ 32 w 32"/>
                  <a:gd name="T57" fmla="*/ 36 h 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47" name="Freeform 961"/>
              <p:cNvSpPr>
                <a:spLocks/>
              </p:cNvSpPr>
              <p:nvPr/>
            </p:nvSpPr>
            <p:spPr bwMode="auto">
              <a:xfrm>
                <a:off x="1279" y="1314"/>
                <a:ext cx="46" cy="25"/>
              </a:xfrm>
              <a:custGeom>
                <a:avLst/>
                <a:gdLst>
                  <a:gd name="T0" fmla="*/ 0 w 146"/>
                  <a:gd name="T1" fmla="*/ 0 h 52"/>
                  <a:gd name="T2" fmla="*/ 0 w 146"/>
                  <a:gd name="T3" fmla="*/ 0 h 52"/>
                  <a:gd name="T4" fmla="*/ 0 w 146"/>
                  <a:gd name="T5" fmla="*/ 0 h 52"/>
                  <a:gd name="T6" fmla="*/ 0 w 146"/>
                  <a:gd name="T7" fmla="*/ 0 h 52"/>
                  <a:gd name="T8" fmla="*/ 0 w 146"/>
                  <a:gd name="T9" fmla="*/ 0 h 52"/>
                  <a:gd name="T10" fmla="*/ 0 w 146"/>
                  <a:gd name="T11" fmla="*/ 0 h 52"/>
                  <a:gd name="T12" fmla="*/ 0 w 146"/>
                  <a:gd name="T13" fmla="*/ 0 h 52"/>
                  <a:gd name="T14" fmla="*/ 0 w 146"/>
                  <a:gd name="T15" fmla="*/ 0 h 52"/>
                  <a:gd name="T16" fmla="*/ 0 w 146"/>
                  <a:gd name="T17" fmla="*/ 0 h 52"/>
                  <a:gd name="T18" fmla="*/ 0 w 146"/>
                  <a:gd name="T19" fmla="*/ 0 h 52"/>
                  <a:gd name="T20" fmla="*/ 0 w 146"/>
                  <a:gd name="T21" fmla="*/ 0 h 52"/>
                  <a:gd name="T22" fmla="*/ 0 w 146"/>
                  <a:gd name="T23" fmla="*/ 0 h 52"/>
                  <a:gd name="T24" fmla="*/ 0 w 146"/>
                  <a:gd name="T25" fmla="*/ 0 h 52"/>
                  <a:gd name="T26" fmla="*/ 0 w 146"/>
                  <a:gd name="T27" fmla="*/ 0 h 52"/>
                  <a:gd name="T28" fmla="*/ 0 w 146"/>
                  <a:gd name="T29" fmla="*/ 0 h 52"/>
                  <a:gd name="T30" fmla="*/ 0 w 146"/>
                  <a:gd name="T31" fmla="*/ 0 h 52"/>
                  <a:gd name="T32" fmla="*/ 0 w 146"/>
                  <a:gd name="T33" fmla="*/ 0 h 52"/>
                  <a:gd name="T34" fmla="*/ 0 w 146"/>
                  <a:gd name="T35" fmla="*/ 0 h 52"/>
                  <a:gd name="T36" fmla="*/ 0 w 146"/>
                  <a:gd name="T37" fmla="*/ 0 h 52"/>
                  <a:gd name="T38" fmla="*/ 0 w 146"/>
                  <a:gd name="T39" fmla="*/ 0 h 52"/>
                  <a:gd name="T40" fmla="*/ 0 w 146"/>
                  <a:gd name="T41" fmla="*/ 0 h 52"/>
                  <a:gd name="T42" fmla="*/ 0 w 146"/>
                  <a:gd name="T43" fmla="*/ 0 h 52"/>
                  <a:gd name="T44" fmla="*/ 0 w 146"/>
                  <a:gd name="T45" fmla="*/ 0 h 52"/>
                  <a:gd name="T46" fmla="*/ 0 w 146"/>
                  <a:gd name="T47" fmla="*/ 0 h 52"/>
                  <a:gd name="T48" fmla="*/ 0 w 146"/>
                  <a:gd name="T49" fmla="*/ 0 h 52"/>
                  <a:gd name="T50" fmla="*/ 0 w 146"/>
                  <a:gd name="T51" fmla="*/ 0 h 52"/>
                  <a:gd name="T52" fmla="*/ 0 w 146"/>
                  <a:gd name="T53" fmla="*/ 0 h 52"/>
                  <a:gd name="T54" fmla="*/ 0 w 146"/>
                  <a:gd name="T55" fmla="*/ 0 h 52"/>
                  <a:gd name="T56" fmla="*/ 0 w 146"/>
                  <a:gd name="T57" fmla="*/ 0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46"/>
                  <a:gd name="T88" fmla="*/ 0 h 52"/>
                  <a:gd name="T89" fmla="*/ 146 w 146"/>
                  <a:gd name="T90" fmla="*/ 52 h 52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48" name="Freeform 962"/>
              <p:cNvSpPr>
                <a:spLocks/>
              </p:cNvSpPr>
              <p:nvPr/>
            </p:nvSpPr>
            <p:spPr bwMode="auto">
              <a:xfrm>
                <a:off x="1261" y="1252"/>
                <a:ext cx="21" cy="10"/>
              </a:xfrm>
              <a:custGeom>
                <a:avLst/>
                <a:gdLst>
                  <a:gd name="T0" fmla="*/ 0 w 60"/>
                  <a:gd name="T1" fmla="*/ 0 h 31"/>
                  <a:gd name="T2" fmla="*/ 0 w 60"/>
                  <a:gd name="T3" fmla="*/ 0 h 31"/>
                  <a:gd name="T4" fmla="*/ 0 w 60"/>
                  <a:gd name="T5" fmla="*/ 0 h 31"/>
                  <a:gd name="T6" fmla="*/ 0 w 60"/>
                  <a:gd name="T7" fmla="*/ 0 h 31"/>
                  <a:gd name="T8" fmla="*/ 0 w 60"/>
                  <a:gd name="T9" fmla="*/ 0 h 31"/>
                  <a:gd name="T10" fmla="*/ 0 w 60"/>
                  <a:gd name="T11" fmla="*/ 0 h 31"/>
                  <a:gd name="T12" fmla="*/ 0 w 60"/>
                  <a:gd name="T13" fmla="*/ 0 h 31"/>
                  <a:gd name="T14" fmla="*/ 0 w 60"/>
                  <a:gd name="T15" fmla="*/ 0 h 31"/>
                  <a:gd name="T16" fmla="*/ 0 w 60"/>
                  <a:gd name="T17" fmla="*/ 0 h 31"/>
                  <a:gd name="T18" fmla="*/ 0 w 60"/>
                  <a:gd name="T19" fmla="*/ 0 h 31"/>
                  <a:gd name="T20" fmla="*/ 0 w 60"/>
                  <a:gd name="T21" fmla="*/ 0 h 31"/>
                  <a:gd name="T22" fmla="*/ 0 w 60"/>
                  <a:gd name="T23" fmla="*/ 0 h 31"/>
                  <a:gd name="T24" fmla="*/ 0 w 60"/>
                  <a:gd name="T25" fmla="*/ 0 h 31"/>
                  <a:gd name="T26" fmla="*/ 0 w 60"/>
                  <a:gd name="T27" fmla="*/ 0 h 31"/>
                  <a:gd name="T28" fmla="*/ 0 w 60"/>
                  <a:gd name="T29" fmla="*/ 0 h 31"/>
                  <a:gd name="T30" fmla="*/ 0 w 60"/>
                  <a:gd name="T31" fmla="*/ 0 h 31"/>
                  <a:gd name="T32" fmla="*/ 0 w 60"/>
                  <a:gd name="T33" fmla="*/ 0 h 31"/>
                  <a:gd name="T34" fmla="*/ 0 w 60"/>
                  <a:gd name="T35" fmla="*/ 0 h 31"/>
                  <a:gd name="T36" fmla="*/ 0 w 60"/>
                  <a:gd name="T37" fmla="*/ 0 h 31"/>
                  <a:gd name="T38" fmla="*/ 0 w 60"/>
                  <a:gd name="T39" fmla="*/ 0 h 31"/>
                  <a:gd name="T40" fmla="*/ 0 w 60"/>
                  <a:gd name="T41" fmla="*/ 0 h 31"/>
                  <a:gd name="T42" fmla="*/ 0 w 60"/>
                  <a:gd name="T43" fmla="*/ 0 h 31"/>
                  <a:gd name="T44" fmla="*/ 0 w 60"/>
                  <a:gd name="T45" fmla="*/ 0 h 31"/>
                  <a:gd name="T46" fmla="*/ 0 w 60"/>
                  <a:gd name="T47" fmla="*/ 0 h 31"/>
                  <a:gd name="T48" fmla="*/ 0 w 60"/>
                  <a:gd name="T49" fmla="*/ 0 h 31"/>
                  <a:gd name="T50" fmla="*/ 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60"/>
                  <a:gd name="T79" fmla="*/ 0 h 31"/>
                  <a:gd name="T80" fmla="*/ 60 w 60"/>
                  <a:gd name="T81" fmla="*/ 31 h 31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49" name="Freeform 963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0 h 62"/>
                  <a:gd name="T2" fmla="*/ 0 w 80"/>
                  <a:gd name="T3" fmla="*/ 0 h 62"/>
                  <a:gd name="T4" fmla="*/ 0 w 80"/>
                  <a:gd name="T5" fmla="*/ 0 h 62"/>
                  <a:gd name="T6" fmla="*/ 0 w 80"/>
                  <a:gd name="T7" fmla="*/ 0 h 62"/>
                  <a:gd name="T8" fmla="*/ 0 w 80"/>
                  <a:gd name="T9" fmla="*/ 0 h 62"/>
                  <a:gd name="T10" fmla="*/ 0 w 80"/>
                  <a:gd name="T11" fmla="*/ 0 h 62"/>
                  <a:gd name="T12" fmla="*/ 0 w 80"/>
                  <a:gd name="T13" fmla="*/ 0 h 62"/>
                  <a:gd name="T14" fmla="*/ 0 w 80"/>
                  <a:gd name="T15" fmla="*/ 0 h 62"/>
                  <a:gd name="T16" fmla="*/ 0 w 80"/>
                  <a:gd name="T17" fmla="*/ 0 h 62"/>
                  <a:gd name="T18" fmla="*/ 0 w 80"/>
                  <a:gd name="T19" fmla="*/ 0 h 62"/>
                  <a:gd name="T20" fmla="*/ 0 w 80"/>
                  <a:gd name="T21" fmla="*/ 0 h 62"/>
                  <a:gd name="T22" fmla="*/ 0 w 80"/>
                  <a:gd name="T23" fmla="*/ 0 h 62"/>
                  <a:gd name="T24" fmla="*/ 0 w 80"/>
                  <a:gd name="T25" fmla="*/ 0 h 62"/>
                  <a:gd name="T26" fmla="*/ 0 w 80"/>
                  <a:gd name="T27" fmla="*/ 0 h 62"/>
                  <a:gd name="T28" fmla="*/ 0 w 80"/>
                  <a:gd name="T29" fmla="*/ 0 h 62"/>
                  <a:gd name="T30" fmla="*/ 0 w 80"/>
                  <a:gd name="T31" fmla="*/ 0 h 62"/>
                  <a:gd name="T32" fmla="*/ 0 w 80"/>
                  <a:gd name="T33" fmla="*/ 0 h 62"/>
                  <a:gd name="T34" fmla="*/ 0 w 80"/>
                  <a:gd name="T35" fmla="*/ 0 h 62"/>
                  <a:gd name="T36" fmla="*/ 0 w 80"/>
                  <a:gd name="T37" fmla="*/ 0 h 62"/>
                  <a:gd name="T38" fmla="*/ 0 w 80"/>
                  <a:gd name="T39" fmla="*/ 0 h 62"/>
                  <a:gd name="T40" fmla="*/ 0 w 80"/>
                  <a:gd name="T41" fmla="*/ 0 h 62"/>
                  <a:gd name="T42" fmla="*/ 0 w 80"/>
                  <a:gd name="T43" fmla="*/ 0 h 62"/>
                  <a:gd name="T44" fmla="*/ 0 w 80"/>
                  <a:gd name="T45" fmla="*/ 0 h 62"/>
                  <a:gd name="T46" fmla="*/ 0 w 80"/>
                  <a:gd name="T47" fmla="*/ 0 h 62"/>
                  <a:gd name="T48" fmla="*/ 0 w 80"/>
                  <a:gd name="T49" fmla="*/ 0 h 62"/>
                  <a:gd name="T50" fmla="*/ 0 w 80"/>
                  <a:gd name="T51" fmla="*/ 0 h 62"/>
                  <a:gd name="T52" fmla="*/ 0 w 80"/>
                  <a:gd name="T53" fmla="*/ 0 h 62"/>
                  <a:gd name="T54" fmla="*/ 0 w 80"/>
                  <a:gd name="T55" fmla="*/ 0 h 62"/>
                  <a:gd name="T56" fmla="*/ 0 w 80"/>
                  <a:gd name="T57" fmla="*/ 0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80"/>
                  <a:gd name="T88" fmla="*/ 0 h 62"/>
                  <a:gd name="T89" fmla="*/ 80 w 80"/>
                  <a:gd name="T90" fmla="*/ 62 h 62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50" name="Freeform 964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0 w 106"/>
                  <a:gd name="T1" fmla="*/ 0 h 49"/>
                  <a:gd name="T2" fmla="*/ 0 w 106"/>
                  <a:gd name="T3" fmla="*/ 0 h 49"/>
                  <a:gd name="T4" fmla="*/ 0 w 106"/>
                  <a:gd name="T5" fmla="*/ 0 h 49"/>
                  <a:gd name="T6" fmla="*/ 0 w 106"/>
                  <a:gd name="T7" fmla="*/ 0 h 49"/>
                  <a:gd name="T8" fmla="*/ 0 w 106"/>
                  <a:gd name="T9" fmla="*/ 0 h 49"/>
                  <a:gd name="T10" fmla="*/ 0 w 106"/>
                  <a:gd name="T11" fmla="*/ 0 h 49"/>
                  <a:gd name="T12" fmla="*/ 0 w 106"/>
                  <a:gd name="T13" fmla="*/ 0 h 49"/>
                  <a:gd name="T14" fmla="*/ 0 w 106"/>
                  <a:gd name="T15" fmla="*/ 0 h 49"/>
                  <a:gd name="T16" fmla="*/ 0 w 106"/>
                  <a:gd name="T17" fmla="*/ 0 h 49"/>
                  <a:gd name="T18" fmla="*/ 0 w 106"/>
                  <a:gd name="T19" fmla="*/ 0 h 49"/>
                  <a:gd name="T20" fmla="*/ 0 w 106"/>
                  <a:gd name="T21" fmla="*/ 0 h 49"/>
                  <a:gd name="T22" fmla="*/ 0 w 106"/>
                  <a:gd name="T23" fmla="*/ 0 h 49"/>
                  <a:gd name="T24" fmla="*/ 0 w 106"/>
                  <a:gd name="T25" fmla="*/ 0 h 49"/>
                  <a:gd name="T26" fmla="*/ 0 w 106"/>
                  <a:gd name="T27" fmla="*/ 0 h 49"/>
                  <a:gd name="T28" fmla="*/ 0 w 106"/>
                  <a:gd name="T29" fmla="*/ 0 h 49"/>
                  <a:gd name="T30" fmla="*/ 0 w 106"/>
                  <a:gd name="T31" fmla="*/ 0 h 49"/>
                  <a:gd name="T32" fmla="*/ 0 w 106"/>
                  <a:gd name="T33" fmla="*/ 0 h 49"/>
                  <a:gd name="T34" fmla="*/ 0 w 106"/>
                  <a:gd name="T35" fmla="*/ 0 h 49"/>
                  <a:gd name="T36" fmla="*/ 0 w 106"/>
                  <a:gd name="T37" fmla="*/ 0 h 49"/>
                  <a:gd name="T38" fmla="*/ 0 w 106"/>
                  <a:gd name="T39" fmla="*/ 0 h 49"/>
                  <a:gd name="T40" fmla="*/ 0 w 106"/>
                  <a:gd name="T41" fmla="*/ 0 h 49"/>
                  <a:gd name="T42" fmla="*/ 0 w 106"/>
                  <a:gd name="T43" fmla="*/ 0 h 49"/>
                  <a:gd name="T44" fmla="*/ 0 w 106"/>
                  <a:gd name="T45" fmla="*/ 0 h 49"/>
                  <a:gd name="T46" fmla="*/ 0 w 106"/>
                  <a:gd name="T47" fmla="*/ 0 h 49"/>
                  <a:gd name="T48" fmla="*/ 0 w 106"/>
                  <a:gd name="T49" fmla="*/ 0 h 49"/>
                  <a:gd name="T50" fmla="*/ 0 w 106"/>
                  <a:gd name="T51" fmla="*/ 0 h 49"/>
                  <a:gd name="T52" fmla="*/ 0 w 106"/>
                  <a:gd name="T53" fmla="*/ 0 h 49"/>
                  <a:gd name="T54" fmla="*/ 0 w 106"/>
                  <a:gd name="T55" fmla="*/ 0 h 49"/>
                  <a:gd name="T56" fmla="*/ 0 w 106"/>
                  <a:gd name="T57" fmla="*/ 0 h 49"/>
                  <a:gd name="T58" fmla="*/ 0 w 106"/>
                  <a:gd name="T59" fmla="*/ 0 h 49"/>
                  <a:gd name="T60" fmla="*/ 0 w 106"/>
                  <a:gd name="T61" fmla="*/ 0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06"/>
                  <a:gd name="T94" fmla="*/ 0 h 49"/>
                  <a:gd name="T95" fmla="*/ 106 w 106"/>
                  <a:gd name="T96" fmla="*/ 49 h 49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51" name="Freeform 965"/>
              <p:cNvSpPr>
                <a:spLocks/>
              </p:cNvSpPr>
              <p:nvPr/>
            </p:nvSpPr>
            <p:spPr bwMode="auto">
              <a:xfrm>
                <a:off x="1599" y="1713"/>
                <a:ext cx="13" cy="7"/>
              </a:xfrm>
              <a:custGeom>
                <a:avLst/>
                <a:gdLst>
                  <a:gd name="T0" fmla="*/ 0 w 47"/>
                  <a:gd name="T1" fmla="*/ 0 h 22"/>
                  <a:gd name="T2" fmla="*/ 0 w 47"/>
                  <a:gd name="T3" fmla="*/ 0 h 22"/>
                  <a:gd name="T4" fmla="*/ 0 w 47"/>
                  <a:gd name="T5" fmla="*/ 0 h 22"/>
                  <a:gd name="T6" fmla="*/ 0 w 47"/>
                  <a:gd name="T7" fmla="*/ 0 h 22"/>
                  <a:gd name="T8" fmla="*/ 0 w 47"/>
                  <a:gd name="T9" fmla="*/ 0 h 22"/>
                  <a:gd name="T10" fmla="*/ 0 w 47"/>
                  <a:gd name="T11" fmla="*/ 0 h 22"/>
                  <a:gd name="T12" fmla="*/ 0 w 47"/>
                  <a:gd name="T13" fmla="*/ 0 h 22"/>
                  <a:gd name="T14" fmla="*/ 0 w 47"/>
                  <a:gd name="T15" fmla="*/ 0 h 22"/>
                  <a:gd name="T16" fmla="*/ 0 w 47"/>
                  <a:gd name="T17" fmla="*/ 0 h 22"/>
                  <a:gd name="T18" fmla="*/ 0 w 47"/>
                  <a:gd name="T19" fmla="*/ 0 h 22"/>
                  <a:gd name="T20" fmla="*/ 0 w 47"/>
                  <a:gd name="T21" fmla="*/ 0 h 22"/>
                  <a:gd name="T22" fmla="*/ 0 w 47"/>
                  <a:gd name="T23" fmla="*/ 0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7"/>
                  <a:gd name="T37" fmla="*/ 0 h 22"/>
                  <a:gd name="T38" fmla="*/ 47 w 47"/>
                  <a:gd name="T39" fmla="*/ 22 h 2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52" name="Freeform 966"/>
              <p:cNvSpPr>
                <a:spLocks/>
              </p:cNvSpPr>
              <p:nvPr/>
            </p:nvSpPr>
            <p:spPr bwMode="auto">
              <a:xfrm>
                <a:off x="1608" y="1742"/>
                <a:ext cx="16" cy="19"/>
              </a:xfrm>
              <a:custGeom>
                <a:avLst/>
                <a:gdLst>
                  <a:gd name="T0" fmla="*/ 0 w 53"/>
                  <a:gd name="T1" fmla="*/ 0 h 32"/>
                  <a:gd name="T2" fmla="*/ 0 w 53"/>
                  <a:gd name="T3" fmla="*/ 0 h 32"/>
                  <a:gd name="T4" fmla="*/ 0 w 53"/>
                  <a:gd name="T5" fmla="*/ 0 h 32"/>
                  <a:gd name="T6" fmla="*/ 0 w 53"/>
                  <a:gd name="T7" fmla="*/ 0 h 32"/>
                  <a:gd name="T8" fmla="*/ 0 w 53"/>
                  <a:gd name="T9" fmla="*/ 0 h 32"/>
                  <a:gd name="T10" fmla="*/ 0 w 53"/>
                  <a:gd name="T11" fmla="*/ 0 h 32"/>
                  <a:gd name="T12" fmla="*/ 0 w 53"/>
                  <a:gd name="T13" fmla="*/ 0 h 32"/>
                  <a:gd name="T14" fmla="*/ 0 w 53"/>
                  <a:gd name="T15" fmla="*/ 0 h 32"/>
                  <a:gd name="T16" fmla="*/ 0 w 53"/>
                  <a:gd name="T17" fmla="*/ 0 h 32"/>
                  <a:gd name="T18" fmla="*/ 0 w 53"/>
                  <a:gd name="T19" fmla="*/ 0 h 32"/>
                  <a:gd name="T20" fmla="*/ 0 w 53"/>
                  <a:gd name="T21" fmla="*/ 0 h 32"/>
                  <a:gd name="T22" fmla="*/ 0 w 53"/>
                  <a:gd name="T23" fmla="*/ 0 h 32"/>
                  <a:gd name="T24" fmla="*/ 0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3"/>
                  <a:gd name="T40" fmla="*/ 0 h 32"/>
                  <a:gd name="T41" fmla="*/ 53 w 53"/>
                  <a:gd name="T42" fmla="*/ 32 h 3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53" name="Freeform 967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0 w 46"/>
                  <a:gd name="T1" fmla="*/ 0 h 34"/>
                  <a:gd name="T2" fmla="*/ 0 w 46"/>
                  <a:gd name="T3" fmla="*/ 0 h 34"/>
                  <a:gd name="T4" fmla="*/ 0 w 46"/>
                  <a:gd name="T5" fmla="*/ 0 h 34"/>
                  <a:gd name="T6" fmla="*/ 0 w 46"/>
                  <a:gd name="T7" fmla="*/ 0 h 34"/>
                  <a:gd name="T8" fmla="*/ 0 w 46"/>
                  <a:gd name="T9" fmla="*/ 0 h 34"/>
                  <a:gd name="T10" fmla="*/ 0 w 46"/>
                  <a:gd name="T11" fmla="*/ 0 h 34"/>
                  <a:gd name="T12" fmla="*/ 0 w 46"/>
                  <a:gd name="T13" fmla="*/ 0 h 34"/>
                  <a:gd name="T14" fmla="*/ 0 w 46"/>
                  <a:gd name="T15" fmla="*/ 0 h 34"/>
                  <a:gd name="T16" fmla="*/ 0 w 46"/>
                  <a:gd name="T17" fmla="*/ 0 h 34"/>
                  <a:gd name="T18" fmla="*/ 0 w 46"/>
                  <a:gd name="T19" fmla="*/ 0 h 34"/>
                  <a:gd name="T20" fmla="*/ 0 w 46"/>
                  <a:gd name="T21" fmla="*/ 0 h 34"/>
                  <a:gd name="T22" fmla="*/ 0 w 46"/>
                  <a:gd name="T23" fmla="*/ 0 h 34"/>
                  <a:gd name="T24" fmla="*/ 0 w 46"/>
                  <a:gd name="T25" fmla="*/ 0 h 34"/>
                  <a:gd name="T26" fmla="*/ 0 w 46"/>
                  <a:gd name="T27" fmla="*/ 0 h 34"/>
                  <a:gd name="T28" fmla="*/ 0 w 46"/>
                  <a:gd name="T29" fmla="*/ 0 h 34"/>
                  <a:gd name="T30" fmla="*/ 0 w 46"/>
                  <a:gd name="T31" fmla="*/ 0 h 34"/>
                  <a:gd name="T32" fmla="*/ 0 w 46"/>
                  <a:gd name="T33" fmla="*/ 0 h 34"/>
                  <a:gd name="T34" fmla="*/ 0 w 46"/>
                  <a:gd name="T35" fmla="*/ 0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6"/>
                  <a:gd name="T55" fmla="*/ 0 h 34"/>
                  <a:gd name="T56" fmla="*/ 46 w 46"/>
                  <a:gd name="T57" fmla="*/ 34 h 34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54" name="Freeform 968"/>
              <p:cNvSpPr>
                <a:spLocks/>
              </p:cNvSpPr>
              <p:nvPr/>
            </p:nvSpPr>
            <p:spPr bwMode="auto">
              <a:xfrm>
                <a:off x="1305" y="1224"/>
                <a:ext cx="12" cy="8"/>
              </a:xfrm>
              <a:custGeom>
                <a:avLst/>
                <a:gdLst>
                  <a:gd name="T0" fmla="*/ 0 w 48"/>
                  <a:gd name="T1" fmla="*/ 0 h 25"/>
                  <a:gd name="T2" fmla="*/ 0 w 48"/>
                  <a:gd name="T3" fmla="*/ 0 h 25"/>
                  <a:gd name="T4" fmla="*/ 0 w 48"/>
                  <a:gd name="T5" fmla="*/ 0 h 25"/>
                  <a:gd name="T6" fmla="*/ 0 w 48"/>
                  <a:gd name="T7" fmla="*/ 0 h 25"/>
                  <a:gd name="T8" fmla="*/ 0 w 48"/>
                  <a:gd name="T9" fmla="*/ 0 h 25"/>
                  <a:gd name="T10" fmla="*/ 0 w 48"/>
                  <a:gd name="T11" fmla="*/ 0 h 25"/>
                  <a:gd name="T12" fmla="*/ 0 w 48"/>
                  <a:gd name="T13" fmla="*/ 0 h 25"/>
                  <a:gd name="T14" fmla="*/ 0 w 48"/>
                  <a:gd name="T15" fmla="*/ 0 h 25"/>
                  <a:gd name="T16" fmla="*/ 0 w 48"/>
                  <a:gd name="T17" fmla="*/ 0 h 25"/>
                  <a:gd name="T18" fmla="*/ 0 w 48"/>
                  <a:gd name="T19" fmla="*/ 0 h 25"/>
                  <a:gd name="T20" fmla="*/ 0 w 48"/>
                  <a:gd name="T21" fmla="*/ 0 h 25"/>
                  <a:gd name="T22" fmla="*/ 0 w 48"/>
                  <a:gd name="T23" fmla="*/ 0 h 25"/>
                  <a:gd name="T24" fmla="*/ 0 w 48"/>
                  <a:gd name="T25" fmla="*/ 0 h 25"/>
                  <a:gd name="T26" fmla="*/ 0 w 48"/>
                  <a:gd name="T27" fmla="*/ 0 h 25"/>
                  <a:gd name="T28" fmla="*/ 0 w 48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8"/>
                  <a:gd name="T46" fmla="*/ 0 h 25"/>
                  <a:gd name="T47" fmla="*/ 48 w 48"/>
                  <a:gd name="T48" fmla="*/ 25 h 2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55" name="Freeform 969"/>
              <p:cNvSpPr>
                <a:spLocks/>
              </p:cNvSpPr>
              <p:nvPr/>
            </p:nvSpPr>
            <p:spPr bwMode="auto">
              <a:xfrm>
                <a:off x="1343" y="1188"/>
                <a:ext cx="12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0 h 37"/>
                  <a:gd name="T4" fmla="*/ 0 w 30"/>
                  <a:gd name="T5" fmla="*/ 0 h 37"/>
                  <a:gd name="T6" fmla="*/ 0 w 30"/>
                  <a:gd name="T7" fmla="*/ 0 h 37"/>
                  <a:gd name="T8" fmla="*/ 0 w 30"/>
                  <a:gd name="T9" fmla="*/ 0 h 37"/>
                  <a:gd name="T10" fmla="*/ 0 w 30"/>
                  <a:gd name="T11" fmla="*/ 0 h 37"/>
                  <a:gd name="T12" fmla="*/ 0 w 30"/>
                  <a:gd name="T13" fmla="*/ 0 h 37"/>
                  <a:gd name="T14" fmla="*/ 0 w 30"/>
                  <a:gd name="T15" fmla="*/ 0 h 37"/>
                  <a:gd name="T16" fmla="*/ 0 w 30"/>
                  <a:gd name="T17" fmla="*/ 0 h 37"/>
                  <a:gd name="T18" fmla="*/ 0 w 30"/>
                  <a:gd name="T19" fmla="*/ 0 h 37"/>
                  <a:gd name="T20" fmla="*/ 0 w 30"/>
                  <a:gd name="T21" fmla="*/ 0 h 37"/>
                  <a:gd name="T22" fmla="*/ 0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0"/>
                  <a:gd name="T40" fmla="*/ 0 h 37"/>
                  <a:gd name="T41" fmla="*/ 30 w 30"/>
                  <a:gd name="T42" fmla="*/ 37 h 3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56" name="Freeform 970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0 w 113"/>
                  <a:gd name="T1" fmla="*/ 0 h 46"/>
                  <a:gd name="T2" fmla="*/ 0 w 113"/>
                  <a:gd name="T3" fmla="*/ 0 h 46"/>
                  <a:gd name="T4" fmla="*/ 0 w 113"/>
                  <a:gd name="T5" fmla="*/ 0 h 46"/>
                  <a:gd name="T6" fmla="*/ 0 w 113"/>
                  <a:gd name="T7" fmla="*/ 0 h 46"/>
                  <a:gd name="T8" fmla="*/ 0 w 113"/>
                  <a:gd name="T9" fmla="*/ 0 h 46"/>
                  <a:gd name="T10" fmla="*/ 0 w 113"/>
                  <a:gd name="T11" fmla="*/ 0 h 46"/>
                  <a:gd name="T12" fmla="*/ 0 w 113"/>
                  <a:gd name="T13" fmla="*/ 0 h 46"/>
                  <a:gd name="T14" fmla="*/ 0 w 113"/>
                  <a:gd name="T15" fmla="*/ 0 h 46"/>
                  <a:gd name="T16" fmla="*/ 0 w 113"/>
                  <a:gd name="T17" fmla="*/ 0 h 46"/>
                  <a:gd name="T18" fmla="*/ 0 w 113"/>
                  <a:gd name="T19" fmla="*/ 0 h 46"/>
                  <a:gd name="T20" fmla="*/ 0 w 113"/>
                  <a:gd name="T21" fmla="*/ 0 h 46"/>
                  <a:gd name="T22" fmla="*/ 0 w 113"/>
                  <a:gd name="T23" fmla="*/ 0 h 46"/>
                  <a:gd name="T24" fmla="*/ 0 w 113"/>
                  <a:gd name="T25" fmla="*/ 0 h 46"/>
                  <a:gd name="T26" fmla="*/ 0 w 113"/>
                  <a:gd name="T27" fmla="*/ 0 h 46"/>
                  <a:gd name="T28" fmla="*/ 0 w 113"/>
                  <a:gd name="T29" fmla="*/ 0 h 46"/>
                  <a:gd name="T30" fmla="*/ 0 w 113"/>
                  <a:gd name="T31" fmla="*/ 0 h 46"/>
                  <a:gd name="T32" fmla="*/ 0 w 113"/>
                  <a:gd name="T33" fmla="*/ 0 h 46"/>
                  <a:gd name="T34" fmla="*/ 0 w 113"/>
                  <a:gd name="T35" fmla="*/ 0 h 46"/>
                  <a:gd name="T36" fmla="*/ 0 w 113"/>
                  <a:gd name="T37" fmla="*/ 0 h 46"/>
                  <a:gd name="T38" fmla="*/ 0 w 113"/>
                  <a:gd name="T39" fmla="*/ 0 h 46"/>
                  <a:gd name="T40" fmla="*/ 0 w 113"/>
                  <a:gd name="T41" fmla="*/ 0 h 46"/>
                  <a:gd name="T42" fmla="*/ 0 w 113"/>
                  <a:gd name="T43" fmla="*/ 0 h 46"/>
                  <a:gd name="T44" fmla="*/ 0 w 113"/>
                  <a:gd name="T45" fmla="*/ 0 h 46"/>
                  <a:gd name="T46" fmla="*/ 0 w 113"/>
                  <a:gd name="T47" fmla="*/ 0 h 46"/>
                  <a:gd name="T48" fmla="*/ 0 w 113"/>
                  <a:gd name="T49" fmla="*/ 0 h 46"/>
                  <a:gd name="T50" fmla="*/ 0 w 113"/>
                  <a:gd name="T51" fmla="*/ 0 h 46"/>
                  <a:gd name="T52" fmla="*/ 0 w 113"/>
                  <a:gd name="T53" fmla="*/ 0 h 46"/>
                  <a:gd name="T54" fmla="*/ 0 w 113"/>
                  <a:gd name="T55" fmla="*/ 0 h 46"/>
                  <a:gd name="T56" fmla="*/ 0 w 113"/>
                  <a:gd name="T57" fmla="*/ 0 h 46"/>
                  <a:gd name="T58" fmla="*/ 0 w 113"/>
                  <a:gd name="T59" fmla="*/ 0 h 46"/>
                  <a:gd name="T60" fmla="*/ 0 w 113"/>
                  <a:gd name="T61" fmla="*/ 0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13"/>
                  <a:gd name="T94" fmla="*/ 0 h 46"/>
                  <a:gd name="T95" fmla="*/ 113 w 113"/>
                  <a:gd name="T96" fmla="*/ 46 h 4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57" name="Freeform 971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0 h 82"/>
                  <a:gd name="T2" fmla="*/ 0 w 153"/>
                  <a:gd name="T3" fmla="*/ 0 h 82"/>
                  <a:gd name="T4" fmla="*/ 0 w 153"/>
                  <a:gd name="T5" fmla="*/ 0 h 82"/>
                  <a:gd name="T6" fmla="*/ 0 w 153"/>
                  <a:gd name="T7" fmla="*/ 0 h 82"/>
                  <a:gd name="T8" fmla="*/ 0 w 153"/>
                  <a:gd name="T9" fmla="*/ 0 h 82"/>
                  <a:gd name="T10" fmla="*/ 0 w 153"/>
                  <a:gd name="T11" fmla="*/ 0 h 82"/>
                  <a:gd name="T12" fmla="*/ 0 w 153"/>
                  <a:gd name="T13" fmla="*/ 0 h 82"/>
                  <a:gd name="T14" fmla="*/ 0 w 153"/>
                  <a:gd name="T15" fmla="*/ 0 h 82"/>
                  <a:gd name="T16" fmla="*/ 0 w 153"/>
                  <a:gd name="T17" fmla="*/ 0 h 82"/>
                  <a:gd name="T18" fmla="*/ 0 w 153"/>
                  <a:gd name="T19" fmla="*/ 0 h 82"/>
                  <a:gd name="T20" fmla="*/ 0 w 153"/>
                  <a:gd name="T21" fmla="*/ 0 h 82"/>
                  <a:gd name="T22" fmla="*/ 0 w 153"/>
                  <a:gd name="T23" fmla="*/ 0 h 82"/>
                  <a:gd name="T24" fmla="*/ 0 w 153"/>
                  <a:gd name="T25" fmla="*/ 0 h 82"/>
                  <a:gd name="T26" fmla="*/ 0 w 153"/>
                  <a:gd name="T27" fmla="*/ 0 h 82"/>
                  <a:gd name="T28" fmla="*/ 0 w 153"/>
                  <a:gd name="T29" fmla="*/ 0 h 82"/>
                  <a:gd name="T30" fmla="*/ 0 w 153"/>
                  <a:gd name="T31" fmla="*/ 0 h 82"/>
                  <a:gd name="T32" fmla="*/ 0 w 153"/>
                  <a:gd name="T33" fmla="*/ 0 h 82"/>
                  <a:gd name="T34" fmla="*/ 0 w 153"/>
                  <a:gd name="T35" fmla="*/ 0 h 82"/>
                  <a:gd name="T36" fmla="*/ 0 w 153"/>
                  <a:gd name="T37" fmla="*/ 0 h 82"/>
                  <a:gd name="T38" fmla="*/ 0 w 153"/>
                  <a:gd name="T39" fmla="*/ 0 h 82"/>
                  <a:gd name="T40" fmla="*/ 0 w 153"/>
                  <a:gd name="T41" fmla="*/ 0 h 82"/>
                  <a:gd name="T42" fmla="*/ 0 w 153"/>
                  <a:gd name="T43" fmla="*/ 0 h 82"/>
                  <a:gd name="T44" fmla="*/ 0 w 153"/>
                  <a:gd name="T45" fmla="*/ 0 h 82"/>
                  <a:gd name="T46" fmla="*/ 0 w 153"/>
                  <a:gd name="T47" fmla="*/ 0 h 82"/>
                  <a:gd name="T48" fmla="*/ 0 w 153"/>
                  <a:gd name="T49" fmla="*/ 0 h 82"/>
                  <a:gd name="T50" fmla="*/ 0 w 153"/>
                  <a:gd name="T51" fmla="*/ 0 h 82"/>
                  <a:gd name="T52" fmla="*/ 0 w 153"/>
                  <a:gd name="T53" fmla="*/ 0 h 82"/>
                  <a:gd name="T54" fmla="*/ 0 w 153"/>
                  <a:gd name="T55" fmla="*/ 0 h 82"/>
                  <a:gd name="T56" fmla="*/ 0 w 153"/>
                  <a:gd name="T57" fmla="*/ 0 h 82"/>
                  <a:gd name="T58" fmla="*/ 0 w 153"/>
                  <a:gd name="T59" fmla="*/ 0 h 82"/>
                  <a:gd name="T60" fmla="*/ 0 w 153"/>
                  <a:gd name="T61" fmla="*/ 0 h 82"/>
                  <a:gd name="T62" fmla="*/ 0 w 153"/>
                  <a:gd name="T63" fmla="*/ 0 h 82"/>
                  <a:gd name="T64" fmla="*/ 0 w 153"/>
                  <a:gd name="T65" fmla="*/ 0 h 82"/>
                  <a:gd name="T66" fmla="*/ 0 w 153"/>
                  <a:gd name="T67" fmla="*/ 0 h 82"/>
                  <a:gd name="T68" fmla="*/ 0 w 153"/>
                  <a:gd name="T69" fmla="*/ 0 h 82"/>
                  <a:gd name="T70" fmla="*/ 0 w 153"/>
                  <a:gd name="T71" fmla="*/ 0 h 82"/>
                  <a:gd name="T72" fmla="*/ 0 w 153"/>
                  <a:gd name="T73" fmla="*/ 0 h 82"/>
                  <a:gd name="T74" fmla="*/ 0 w 153"/>
                  <a:gd name="T75" fmla="*/ 0 h 82"/>
                  <a:gd name="T76" fmla="*/ 0 w 153"/>
                  <a:gd name="T77" fmla="*/ 0 h 82"/>
                  <a:gd name="T78" fmla="*/ 0 w 153"/>
                  <a:gd name="T79" fmla="*/ 0 h 82"/>
                  <a:gd name="T80" fmla="*/ 0 w 153"/>
                  <a:gd name="T81" fmla="*/ 0 h 82"/>
                  <a:gd name="T82" fmla="*/ 0 w 153"/>
                  <a:gd name="T83" fmla="*/ 0 h 82"/>
                  <a:gd name="T84" fmla="*/ 0 w 153"/>
                  <a:gd name="T85" fmla="*/ 0 h 82"/>
                  <a:gd name="T86" fmla="*/ 0 w 153"/>
                  <a:gd name="T87" fmla="*/ 0 h 82"/>
                  <a:gd name="T88" fmla="*/ 0 w 153"/>
                  <a:gd name="T89" fmla="*/ 0 h 82"/>
                  <a:gd name="T90" fmla="*/ 0 w 153"/>
                  <a:gd name="T91" fmla="*/ 0 h 82"/>
                  <a:gd name="T92" fmla="*/ 0 w 153"/>
                  <a:gd name="T93" fmla="*/ 0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53"/>
                  <a:gd name="T142" fmla="*/ 0 h 82"/>
                  <a:gd name="T143" fmla="*/ 153 w 153"/>
                  <a:gd name="T144" fmla="*/ 82 h 8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58" name="Freeform 972"/>
              <p:cNvSpPr>
                <a:spLocks/>
              </p:cNvSpPr>
              <p:nvPr/>
            </p:nvSpPr>
            <p:spPr bwMode="auto">
              <a:xfrm>
                <a:off x="1414" y="1217"/>
                <a:ext cx="26" cy="17"/>
              </a:xfrm>
              <a:custGeom>
                <a:avLst/>
                <a:gdLst>
                  <a:gd name="T0" fmla="*/ 0 w 86"/>
                  <a:gd name="T1" fmla="*/ 0 h 50"/>
                  <a:gd name="T2" fmla="*/ 0 w 86"/>
                  <a:gd name="T3" fmla="*/ 0 h 50"/>
                  <a:gd name="T4" fmla="*/ 0 w 86"/>
                  <a:gd name="T5" fmla="*/ 0 h 50"/>
                  <a:gd name="T6" fmla="*/ 0 w 86"/>
                  <a:gd name="T7" fmla="*/ 0 h 50"/>
                  <a:gd name="T8" fmla="*/ 0 w 86"/>
                  <a:gd name="T9" fmla="*/ 0 h 50"/>
                  <a:gd name="T10" fmla="*/ 0 w 86"/>
                  <a:gd name="T11" fmla="*/ 0 h 50"/>
                  <a:gd name="T12" fmla="*/ 0 w 86"/>
                  <a:gd name="T13" fmla="*/ 0 h 50"/>
                  <a:gd name="T14" fmla="*/ 0 w 86"/>
                  <a:gd name="T15" fmla="*/ 0 h 50"/>
                  <a:gd name="T16" fmla="*/ 0 w 86"/>
                  <a:gd name="T17" fmla="*/ 0 h 50"/>
                  <a:gd name="T18" fmla="*/ 0 w 86"/>
                  <a:gd name="T19" fmla="*/ 0 h 50"/>
                  <a:gd name="T20" fmla="*/ 0 w 86"/>
                  <a:gd name="T21" fmla="*/ 0 h 50"/>
                  <a:gd name="T22" fmla="*/ 0 w 86"/>
                  <a:gd name="T23" fmla="*/ 0 h 50"/>
                  <a:gd name="T24" fmla="*/ 0 w 86"/>
                  <a:gd name="T25" fmla="*/ 0 h 50"/>
                  <a:gd name="T26" fmla="*/ 0 w 86"/>
                  <a:gd name="T27" fmla="*/ 0 h 50"/>
                  <a:gd name="T28" fmla="*/ 0 w 86"/>
                  <a:gd name="T29" fmla="*/ 0 h 50"/>
                  <a:gd name="T30" fmla="*/ 0 w 86"/>
                  <a:gd name="T31" fmla="*/ 0 h 50"/>
                  <a:gd name="T32" fmla="*/ 0 w 86"/>
                  <a:gd name="T33" fmla="*/ 0 h 50"/>
                  <a:gd name="T34" fmla="*/ 0 w 86"/>
                  <a:gd name="T35" fmla="*/ 0 h 50"/>
                  <a:gd name="T36" fmla="*/ 0 w 86"/>
                  <a:gd name="T37" fmla="*/ 0 h 50"/>
                  <a:gd name="T38" fmla="*/ 0 w 86"/>
                  <a:gd name="T39" fmla="*/ 0 h 50"/>
                  <a:gd name="T40" fmla="*/ 0 w 86"/>
                  <a:gd name="T41" fmla="*/ 0 h 50"/>
                  <a:gd name="T42" fmla="*/ 0 w 86"/>
                  <a:gd name="T43" fmla="*/ 0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86"/>
                  <a:gd name="T67" fmla="*/ 0 h 50"/>
                  <a:gd name="T68" fmla="*/ 86 w 86"/>
                  <a:gd name="T69" fmla="*/ 50 h 50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59" name="Freeform 973"/>
              <p:cNvSpPr>
                <a:spLocks/>
              </p:cNvSpPr>
              <p:nvPr/>
            </p:nvSpPr>
            <p:spPr bwMode="auto">
              <a:xfrm>
                <a:off x="1380" y="1163"/>
                <a:ext cx="54" cy="33"/>
              </a:xfrm>
              <a:custGeom>
                <a:avLst/>
                <a:gdLst>
                  <a:gd name="T0" fmla="*/ 0 w 172"/>
                  <a:gd name="T1" fmla="*/ 0 h 74"/>
                  <a:gd name="T2" fmla="*/ 0 w 172"/>
                  <a:gd name="T3" fmla="*/ 0 h 74"/>
                  <a:gd name="T4" fmla="*/ 0 w 172"/>
                  <a:gd name="T5" fmla="*/ 0 h 74"/>
                  <a:gd name="T6" fmla="*/ 0 w 172"/>
                  <a:gd name="T7" fmla="*/ 0 h 74"/>
                  <a:gd name="T8" fmla="*/ 0 w 172"/>
                  <a:gd name="T9" fmla="*/ 0 h 74"/>
                  <a:gd name="T10" fmla="*/ 0 w 172"/>
                  <a:gd name="T11" fmla="*/ 0 h 74"/>
                  <a:gd name="T12" fmla="*/ 0 w 172"/>
                  <a:gd name="T13" fmla="*/ 0 h 74"/>
                  <a:gd name="T14" fmla="*/ 0 w 172"/>
                  <a:gd name="T15" fmla="*/ 0 h 74"/>
                  <a:gd name="T16" fmla="*/ 0 w 172"/>
                  <a:gd name="T17" fmla="*/ 0 h 74"/>
                  <a:gd name="T18" fmla="*/ 0 w 172"/>
                  <a:gd name="T19" fmla="*/ 0 h 74"/>
                  <a:gd name="T20" fmla="*/ 0 w 172"/>
                  <a:gd name="T21" fmla="*/ 0 h 74"/>
                  <a:gd name="T22" fmla="*/ 0 w 172"/>
                  <a:gd name="T23" fmla="*/ 0 h 74"/>
                  <a:gd name="T24" fmla="*/ 0 w 172"/>
                  <a:gd name="T25" fmla="*/ 0 h 74"/>
                  <a:gd name="T26" fmla="*/ 0 w 172"/>
                  <a:gd name="T27" fmla="*/ 0 h 74"/>
                  <a:gd name="T28" fmla="*/ 0 w 172"/>
                  <a:gd name="T29" fmla="*/ 0 h 74"/>
                  <a:gd name="T30" fmla="*/ 0 w 172"/>
                  <a:gd name="T31" fmla="*/ 0 h 74"/>
                  <a:gd name="T32" fmla="*/ 0 w 172"/>
                  <a:gd name="T33" fmla="*/ 0 h 74"/>
                  <a:gd name="T34" fmla="*/ 0 w 172"/>
                  <a:gd name="T35" fmla="*/ 0 h 74"/>
                  <a:gd name="T36" fmla="*/ 0 w 172"/>
                  <a:gd name="T37" fmla="*/ 0 h 74"/>
                  <a:gd name="T38" fmla="*/ 0 w 172"/>
                  <a:gd name="T39" fmla="*/ 0 h 74"/>
                  <a:gd name="T40" fmla="*/ 0 w 172"/>
                  <a:gd name="T41" fmla="*/ 0 h 74"/>
                  <a:gd name="T42" fmla="*/ 0 w 172"/>
                  <a:gd name="T43" fmla="*/ 0 h 74"/>
                  <a:gd name="T44" fmla="*/ 0 w 172"/>
                  <a:gd name="T45" fmla="*/ 0 h 74"/>
                  <a:gd name="T46" fmla="*/ 0 w 172"/>
                  <a:gd name="T47" fmla="*/ 0 h 74"/>
                  <a:gd name="T48" fmla="*/ 0 w 172"/>
                  <a:gd name="T49" fmla="*/ 0 h 74"/>
                  <a:gd name="T50" fmla="*/ 0 w 172"/>
                  <a:gd name="T51" fmla="*/ 0 h 74"/>
                  <a:gd name="T52" fmla="*/ 0 w 172"/>
                  <a:gd name="T53" fmla="*/ 0 h 74"/>
                  <a:gd name="T54" fmla="*/ 0 w 172"/>
                  <a:gd name="T55" fmla="*/ 0 h 74"/>
                  <a:gd name="T56" fmla="*/ 0 w 172"/>
                  <a:gd name="T57" fmla="*/ 0 h 74"/>
                  <a:gd name="T58" fmla="*/ 0 w 172"/>
                  <a:gd name="T59" fmla="*/ 0 h 74"/>
                  <a:gd name="T60" fmla="*/ 0 w 172"/>
                  <a:gd name="T61" fmla="*/ 0 h 74"/>
                  <a:gd name="T62" fmla="*/ 0 w 172"/>
                  <a:gd name="T63" fmla="*/ 0 h 74"/>
                  <a:gd name="T64" fmla="*/ 0 w 172"/>
                  <a:gd name="T65" fmla="*/ 0 h 74"/>
                  <a:gd name="T66" fmla="*/ 0 w 172"/>
                  <a:gd name="T67" fmla="*/ 0 h 74"/>
                  <a:gd name="T68" fmla="*/ 0 w 172"/>
                  <a:gd name="T69" fmla="*/ 0 h 74"/>
                  <a:gd name="T70" fmla="*/ 0 w 172"/>
                  <a:gd name="T71" fmla="*/ 0 h 74"/>
                  <a:gd name="T72" fmla="*/ 0 w 172"/>
                  <a:gd name="T73" fmla="*/ 0 h 74"/>
                  <a:gd name="T74" fmla="*/ 0 w 172"/>
                  <a:gd name="T75" fmla="*/ 0 h 74"/>
                  <a:gd name="T76" fmla="*/ 0 w 172"/>
                  <a:gd name="T77" fmla="*/ 0 h 74"/>
                  <a:gd name="T78" fmla="*/ 0 w 172"/>
                  <a:gd name="T79" fmla="*/ 0 h 74"/>
                  <a:gd name="T80" fmla="*/ 0 w 172"/>
                  <a:gd name="T81" fmla="*/ 0 h 74"/>
                  <a:gd name="T82" fmla="*/ 0 w 172"/>
                  <a:gd name="T83" fmla="*/ 0 h 74"/>
                  <a:gd name="T84" fmla="*/ 0 w 172"/>
                  <a:gd name="T85" fmla="*/ 0 h 74"/>
                  <a:gd name="T86" fmla="*/ 0 w 172"/>
                  <a:gd name="T87" fmla="*/ 0 h 74"/>
                  <a:gd name="T88" fmla="*/ 0 w 172"/>
                  <a:gd name="T89" fmla="*/ 0 h 74"/>
                  <a:gd name="T90" fmla="*/ 0 w 172"/>
                  <a:gd name="T91" fmla="*/ 0 h 74"/>
                  <a:gd name="T92" fmla="*/ 0 w 172"/>
                  <a:gd name="T93" fmla="*/ 0 h 74"/>
                  <a:gd name="T94" fmla="*/ 0 w 172"/>
                  <a:gd name="T95" fmla="*/ 0 h 74"/>
                  <a:gd name="T96" fmla="*/ 0 w 172"/>
                  <a:gd name="T97" fmla="*/ 0 h 74"/>
                  <a:gd name="T98" fmla="*/ 0 w 172"/>
                  <a:gd name="T99" fmla="*/ 0 h 74"/>
                  <a:gd name="T100" fmla="*/ 0 w 172"/>
                  <a:gd name="T101" fmla="*/ 0 h 74"/>
                  <a:gd name="T102" fmla="*/ 0 w 172"/>
                  <a:gd name="T103" fmla="*/ 0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72"/>
                  <a:gd name="T157" fmla="*/ 0 h 74"/>
                  <a:gd name="T158" fmla="*/ 172 w 172"/>
                  <a:gd name="T159" fmla="*/ 74 h 74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60" name="Freeform 974"/>
              <p:cNvSpPr>
                <a:spLocks/>
              </p:cNvSpPr>
              <p:nvPr/>
            </p:nvSpPr>
            <p:spPr bwMode="auto">
              <a:xfrm>
                <a:off x="1450" y="1171"/>
                <a:ext cx="38" cy="25"/>
              </a:xfrm>
              <a:custGeom>
                <a:avLst/>
                <a:gdLst>
                  <a:gd name="T0" fmla="*/ 0 w 120"/>
                  <a:gd name="T1" fmla="*/ 0 h 49"/>
                  <a:gd name="T2" fmla="*/ 0 w 120"/>
                  <a:gd name="T3" fmla="*/ 0 h 49"/>
                  <a:gd name="T4" fmla="*/ 0 w 120"/>
                  <a:gd name="T5" fmla="*/ 0 h 49"/>
                  <a:gd name="T6" fmla="*/ 0 w 120"/>
                  <a:gd name="T7" fmla="*/ 0 h 49"/>
                  <a:gd name="T8" fmla="*/ 0 w 120"/>
                  <a:gd name="T9" fmla="*/ 0 h 49"/>
                  <a:gd name="T10" fmla="*/ 0 w 120"/>
                  <a:gd name="T11" fmla="*/ 0 h 49"/>
                  <a:gd name="T12" fmla="*/ 0 w 120"/>
                  <a:gd name="T13" fmla="*/ 0 h 49"/>
                  <a:gd name="T14" fmla="*/ 0 w 120"/>
                  <a:gd name="T15" fmla="*/ 0 h 49"/>
                  <a:gd name="T16" fmla="*/ 0 w 120"/>
                  <a:gd name="T17" fmla="*/ 0 h 49"/>
                  <a:gd name="T18" fmla="*/ 0 w 120"/>
                  <a:gd name="T19" fmla="*/ 0 h 49"/>
                  <a:gd name="T20" fmla="*/ 0 w 120"/>
                  <a:gd name="T21" fmla="*/ 0 h 49"/>
                  <a:gd name="T22" fmla="*/ 0 w 120"/>
                  <a:gd name="T23" fmla="*/ 0 h 49"/>
                  <a:gd name="T24" fmla="*/ 0 w 120"/>
                  <a:gd name="T25" fmla="*/ 0 h 49"/>
                  <a:gd name="T26" fmla="*/ 0 w 120"/>
                  <a:gd name="T27" fmla="*/ 0 h 49"/>
                  <a:gd name="T28" fmla="*/ 0 w 120"/>
                  <a:gd name="T29" fmla="*/ 0 h 49"/>
                  <a:gd name="T30" fmla="*/ 0 w 120"/>
                  <a:gd name="T31" fmla="*/ 0 h 49"/>
                  <a:gd name="T32" fmla="*/ 0 w 120"/>
                  <a:gd name="T33" fmla="*/ 0 h 49"/>
                  <a:gd name="T34" fmla="*/ 0 w 120"/>
                  <a:gd name="T35" fmla="*/ 0 h 49"/>
                  <a:gd name="T36" fmla="*/ 0 w 120"/>
                  <a:gd name="T37" fmla="*/ 0 h 49"/>
                  <a:gd name="T38" fmla="*/ 0 w 120"/>
                  <a:gd name="T39" fmla="*/ 0 h 49"/>
                  <a:gd name="T40" fmla="*/ 0 w 120"/>
                  <a:gd name="T41" fmla="*/ 0 h 49"/>
                  <a:gd name="T42" fmla="*/ 0 w 120"/>
                  <a:gd name="T43" fmla="*/ 0 h 49"/>
                  <a:gd name="T44" fmla="*/ 0 w 120"/>
                  <a:gd name="T45" fmla="*/ 0 h 49"/>
                  <a:gd name="T46" fmla="*/ 0 w 120"/>
                  <a:gd name="T47" fmla="*/ 0 h 49"/>
                  <a:gd name="T48" fmla="*/ 0 w 120"/>
                  <a:gd name="T49" fmla="*/ 0 h 49"/>
                  <a:gd name="T50" fmla="*/ 0 w 120"/>
                  <a:gd name="T51" fmla="*/ 0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20"/>
                  <a:gd name="T79" fmla="*/ 0 h 49"/>
                  <a:gd name="T80" fmla="*/ 120 w 120"/>
                  <a:gd name="T81" fmla="*/ 49 h 49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61" name="Freeform 975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0 w 85"/>
                  <a:gd name="T1" fmla="*/ 0 h 61"/>
                  <a:gd name="T2" fmla="*/ 0 w 85"/>
                  <a:gd name="T3" fmla="*/ 0 h 61"/>
                  <a:gd name="T4" fmla="*/ 0 w 85"/>
                  <a:gd name="T5" fmla="*/ 0 h 61"/>
                  <a:gd name="T6" fmla="*/ 0 w 85"/>
                  <a:gd name="T7" fmla="*/ 0 h 61"/>
                  <a:gd name="T8" fmla="*/ 0 w 85"/>
                  <a:gd name="T9" fmla="*/ 0 h 61"/>
                  <a:gd name="T10" fmla="*/ 0 w 85"/>
                  <a:gd name="T11" fmla="*/ 0 h 61"/>
                  <a:gd name="T12" fmla="*/ 0 w 85"/>
                  <a:gd name="T13" fmla="*/ 0 h 61"/>
                  <a:gd name="T14" fmla="*/ 0 w 85"/>
                  <a:gd name="T15" fmla="*/ 0 h 61"/>
                  <a:gd name="T16" fmla="*/ 0 w 85"/>
                  <a:gd name="T17" fmla="*/ 0 h 61"/>
                  <a:gd name="T18" fmla="*/ 0 w 85"/>
                  <a:gd name="T19" fmla="*/ 0 h 61"/>
                  <a:gd name="T20" fmla="*/ 0 w 85"/>
                  <a:gd name="T21" fmla="*/ 0 h 61"/>
                  <a:gd name="T22" fmla="*/ 0 w 85"/>
                  <a:gd name="T23" fmla="*/ 0 h 61"/>
                  <a:gd name="T24" fmla="*/ 0 w 85"/>
                  <a:gd name="T25" fmla="*/ 0 h 61"/>
                  <a:gd name="T26" fmla="*/ 0 w 85"/>
                  <a:gd name="T27" fmla="*/ 0 h 61"/>
                  <a:gd name="T28" fmla="*/ 0 w 85"/>
                  <a:gd name="T29" fmla="*/ 0 h 61"/>
                  <a:gd name="T30" fmla="*/ 0 w 85"/>
                  <a:gd name="T31" fmla="*/ 0 h 61"/>
                  <a:gd name="T32" fmla="*/ 0 w 85"/>
                  <a:gd name="T33" fmla="*/ 0 h 61"/>
                  <a:gd name="T34" fmla="*/ 0 w 85"/>
                  <a:gd name="T35" fmla="*/ 0 h 61"/>
                  <a:gd name="T36" fmla="*/ 0 w 85"/>
                  <a:gd name="T37" fmla="*/ 0 h 61"/>
                  <a:gd name="T38" fmla="*/ 0 w 85"/>
                  <a:gd name="T39" fmla="*/ 0 h 61"/>
                  <a:gd name="T40" fmla="*/ 0 w 85"/>
                  <a:gd name="T41" fmla="*/ 0 h 61"/>
                  <a:gd name="T42" fmla="*/ 0 w 85"/>
                  <a:gd name="T43" fmla="*/ 0 h 61"/>
                  <a:gd name="T44" fmla="*/ 0 w 85"/>
                  <a:gd name="T45" fmla="*/ 0 h 61"/>
                  <a:gd name="T46" fmla="*/ 0 w 85"/>
                  <a:gd name="T47" fmla="*/ 0 h 61"/>
                  <a:gd name="T48" fmla="*/ 0 w 85"/>
                  <a:gd name="T49" fmla="*/ 0 h 61"/>
                  <a:gd name="T50" fmla="*/ 0 w 85"/>
                  <a:gd name="T51" fmla="*/ 0 h 61"/>
                  <a:gd name="T52" fmla="*/ 0 w 85"/>
                  <a:gd name="T53" fmla="*/ 0 h 61"/>
                  <a:gd name="T54" fmla="*/ 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85"/>
                  <a:gd name="T85" fmla="*/ 0 h 61"/>
                  <a:gd name="T86" fmla="*/ 85 w 85"/>
                  <a:gd name="T87" fmla="*/ 61 h 61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62" name="Freeform 976"/>
              <p:cNvSpPr>
                <a:spLocks/>
              </p:cNvSpPr>
              <p:nvPr/>
            </p:nvSpPr>
            <p:spPr bwMode="auto">
              <a:xfrm>
                <a:off x="1254" y="1188"/>
                <a:ext cx="27" cy="6"/>
              </a:xfrm>
              <a:custGeom>
                <a:avLst/>
                <a:gdLst>
                  <a:gd name="T0" fmla="*/ 0 w 100"/>
                  <a:gd name="T1" fmla="*/ 0 h 19"/>
                  <a:gd name="T2" fmla="*/ 0 w 100"/>
                  <a:gd name="T3" fmla="*/ 0 h 19"/>
                  <a:gd name="T4" fmla="*/ 0 w 100"/>
                  <a:gd name="T5" fmla="*/ 0 h 19"/>
                  <a:gd name="T6" fmla="*/ 0 w 100"/>
                  <a:gd name="T7" fmla="*/ 0 h 19"/>
                  <a:gd name="T8" fmla="*/ 0 w 100"/>
                  <a:gd name="T9" fmla="*/ 0 h 19"/>
                  <a:gd name="T10" fmla="*/ 0 w 100"/>
                  <a:gd name="T11" fmla="*/ 0 h 19"/>
                  <a:gd name="T12" fmla="*/ 0 w 100"/>
                  <a:gd name="T13" fmla="*/ 0 h 19"/>
                  <a:gd name="T14" fmla="*/ 0 w 100"/>
                  <a:gd name="T15" fmla="*/ 0 h 19"/>
                  <a:gd name="T16" fmla="*/ 0 w 100"/>
                  <a:gd name="T17" fmla="*/ 0 h 19"/>
                  <a:gd name="T18" fmla="*/ 0 w 100"/>
                  <a:gd name="T19" fmla="*/ 0 h 19"/>
                  <a:gd name="T20" fmla="*/ 0 w 100"/>
                  <a:gd name="T21" fmla="*/ 0 h 19"/>
                  <a:gd name="T22" fmla="*/ 0 w 100"/>
                  <a:gd name="T23" fmla="*/ 0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00"/>
                  <a:gd name="T37" fmla="*/ 0 h 19"/>
                  <a:gd name="T38" fmla="*/ 100 w 100"/>
                  <a:gd name="T39" fmla="*/ 19 h 1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63" name="Freeform 977"/>
              <p:cNvSpPr>
                <a:spLocks/>
              </p:cNvSpPr>
              <p:nvPr/>
            </p:nvSpPr>
            <p:spPr bwMode="auto">
              <a:xfrm>
                <a:off x="1272" y="1168"/>
                <a:ext cx="53" cy="23"/>
              </a:xfrm>
              <a:custGeom>
                <a:avLst/>
                <a:gdLst>
                  <a:gd name="T0" fmla="*/ 0 w 166"/>
                  <a:gd name="T1" fmla="*/ 0 h 45"/>
                  <a:gd name="T2" fmla="*/ 0 w 166"/>
                  <a:gd name="T3" fmla="*/ 0 h 45"/>
                  <a:gd name="T4" fmla="*/ 0 w 166"/>
                  <a:gd name="T5" fmla="*/ 0 h 45"/>
                  <a:gd name="T6" fmla="*/ 0 w 166"/>
                  <a:gd name="T7" fmla="*/ 0 h 45"/>
                  <a:gd name="T8" fmla="*/ 0 w 166"/>
                  <a:gd name="T9" fmla="*/ 0 h 45"/>
                  <a:gd name="T10" fmla="*/ 0 w 166"/>
                  <a:gd name="T11" fmla="*/ 0 h 45"/>
                  <a:gd name="T12" fmla="*/ 0 w 166"/>
                  <a:gd name="T13" fmla="*/ 0 h 45"/>
                  <a:gd name="T14" fmla="*/ 0 w 166"/>
                  <a:gd name="T15" fmla="*/ 0 h 45"/>
                  <a:gd name="T16" fmla="*/ 0 w 166"/>
                  <a:gd name="T17" fmla="*/ 0 h 45"/>
                  <a:gd name="T18" fmla="*/ 0 w 166"/>
                  <a:gd name="T19" fmla="*/ 0 h 45"/>
                  <a:gd name="T20" fmla="*/ 0 w 166"/>
                  <a:gd name="T21" fmla="*/ 0 h 45"/>
                  <a:gd name="T22" fmla="*/ 0 w 166"/>
                  <a:gd name="T23" fmla="*/ 0 h 45"/>
                  <a:gd name="T24" fmla="*/ 0 w 166"/>
                  <a:gd name="T25" fmla="*/ 0 h 45"/>
                  <a:gd name="T26" fmla="*/ 0 w 166"/>
                  <a:gd name="T27" fmla="*/ 0 h 45"/>
                  <a:gd name="T28" fmla="*/ 0 w 166"/>
                  <a:gd name="T29" fmla="*/ 0 h 45"/>
                  <a:gd name="T30" fmla="*/ 0 w 166"/>
                  <a:gd name="T31" fmla="*/ 0 h 45"/>
                  <a:gd name="T32" fmla="*/ 0 w 166"/>
                  <a:gd name="T33" fmla="*/ 0 h 45"/>
                  <a:gd name="T34" fmla="*/ 0 w 166"/>
                  <a:gd name="T35" fmla="*/ 0 h 45"/>
                  <a:gd name="T36" fmla="*/ 0 w 166"/>
                  <a:gd name="T37" fmla="*/ 0 h 45"/>
                  <a:gd name="T38" fmla="*/ 0 w 166"/>
                  <a:gd name="T39" fmla="*/ 0 h 45"/>
                  <a:gd name="T40" fmla="*/ 0 w 166"/>
                  <a:gd name="T41" fmla="*/ 0 h 45"/>
                  <a:gd name="T42" fmla="*/ 0 w 166"/>
                  <a:gd name="T43" fmla="*/ 0 h 45"/>
                  <a:gd name="T44" fmla="*/ 0 w 166"/>
                  <a:gd name="T45" fmla="*/ 0 h 45"/>
                  <a:gd name="T46" fmla="*/ 0 w 166"/>
                  <a:gd name="T47" fmla="*/ 0 h 45"/>
                  <a:gd name="T48" fmla="*/ 0 w 166"/>
                  <a:gd name="T49" fmla="*/ 0 h 45"/>
                  <a:gd name="T50" fmla="*/ 0 w 166"/>
                  <a:gd name="T51" fmla="*/ 0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66"/>
                  <a:gd name="T79" fmla="*/ 0 h 45"/>
                  <a:gd name="T80" fmla="*/ 166 w 166"/>
                  <a:gd name="T81" fmla="*/ 45 h 4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64" name="Freeform 978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0 h 25"/>
                  <a:gd name="T4" fmla="*/ 0 w 33"/>
                  <a:gd name="T5" fmla="*/ 0 h 25"/>
                  <a:gd name="T6" fmla="*/ 0 w 33"/>
                  <a:gd name="T7" fmla="*/ 0 h 25"/>
                  <a:gd name="T8" fmla="*/ 0 w 33"/>
                  <a:gd name="T9" fmla="*/ 0 h 25"/>
                  <a:gd name="T10" fmla="*/ 0 w 33"/>
                  <a:gd name="T11" fmla="*/ 0 h 25"/>
                  <a:gd name="T12" fmla="*/ 0 w 33"/>
                  <a:gd name="T13" fmla="*/ 0 h 25"/>
                  <a:gd name="T14" fmla="*/ 0 w 33"/>
                  <a:gd name="T15" fmla="*/ 0 h 25"/>
                  <a:gd name="T16" fmla="*/ 0 w 33"/>
                  <a:gd name="T17" fmla="*/ 0 h 25"/>
                  <a:gd name="T18" fmla="*/ 0 w 33"/>
                  <a:gd name="T19" fmla="*/ 0 h 25"/>
                  <a:gd name="T20" fmla="*/ 0 w 33"/>
                  <a:gd name="T21" fmla="*/ 0 h 25"/>
                  <a:gd name="T22" fmla="*/ 0 w 33"/>
                  <a:gd name="T23" fmla="*/ 0 h 25"/>
                  <a:gd name="T24" fmla="*/ 0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3"/>
                  <a:gd name="T43" fmla="*/ 0 h 25"/>
                  <a:gd name="T44" fmla="*/ 33 w 33"/>
                  <a:gd name="T45" fmla="*/ 25 h 2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65" name="Freeform 979"/>
              <p:cNvSpPr>
                <a:spLocks/>
              </p:cNvSpPr>
              <p:nvPr/>
            </p:nvSpPr>
            <p:spPr bwMode="auto">
              <a:xfrm>
                <a:off x="1605" y="1729"/>
                <a:ext cx="16" cy="28"/>
              </a:xfrm>
              <a:custGeom>
                <a:avLst/>
                <a:gdLst>
                  <a:gd name="T0" fmla="*/ 0 w 48"/>
                  <a:gd name="T1" fmla="*/ 0 h 62"/>
                  <a:gd name="T2" fmla="*/ 0 w 48"/>
                  <a:gd name="T3" fmla="*/ 0 h 62"/>
                  <a:gd name="T4" fmla="*/ 0 w 48"/>
                  <a:gd name="T5" fmla="*/ 0 h 62"/>
                  <a:gd name="T6" fmla="*/ 0 w 48"/>
                  <a:gd name="T7" fmla="*/ 0 h 62"/>
                  <a:gd name="T8" fmla="*/ 0 w 48"/>
                  <a:gd name="T9" fmla="*/ 0 h 62"/>
                  <a:gd name="T10" fmla="*/ 0 w 48"/>
                  <a:gd name="T11" fmla="*/ 0 h 62"/>
                  <a:gd name="T12" fmla="*/ 0 w 48"/>
                  <a:gd name="T13" fmla="*/ 0 h 62"/>
                  <a:gd name="T14" fmla="*/ 0 w 48"/>
                  <a:gd name="T15" fmla="*/ 0 h 62"/>
                  <a:gd name="T16" fmla="*/ 0 w 48"/>
                  <a:gd name="T17" fmla="*/ 0 h 62"/>
                  <a:gd name="T18" fmla="*/ 0 w 48"/>
                  <a:gd name="T19" fmla="*/ 0 h 62"/>
                  <a:gd name="T20" fmla="*/ 0 w 48"/>
                  <a:gd name="T21" fmla="*/ 0 h 62"/>
                  <a:gd name="T22" fmla="*/ 0 w 48"/>
                  <a:gd name="T23" fmla="*/ 0 h 62"/>
                  <a:gd name="T24" fmla="*/ 0 w 48"/>
                  <a:gd name="T25" fmla="*/ 0 h 62"/>
                  <a:gd name="T26" fmla="*/ 0 w 48"/>
                  <a:gd name="T27" fmla="*/ 0 h 62"/>
                  <a:gd name="T28" fmla="*/ 0 w 48"/>
                  <a:gd name="T29" fmla="*/ 0 h 62"/>
                  <a:gd name="T30" fmla="*/ 0 w 48"/>
                  <a:gd name="T31" fmla="*/ 0 h 62"/>
                  <a:gd name="T32" fmla="*/ 0 w 48"/>
                  <a:gd name="T33" fmla="*/ 0 h 62"/>
                  <a:gd name="T34" fmla="*/ 0 w 48"/>
                  <a:gd name="T35" fmla="*/ 0 h 62"/>
                  <a:gd name="T36" fmla="*/ 0 w 48"/>
                  <a:gd name="T37" fmla="*/ 0 h 62"/>
                  <a:gd name="T38" fmla="*/ 0 w 48"/>
                  <a:gd name="T39" fmla="*/ 0 h 62"/>
                  <a:gd name="T40" fmla="*/ 0 w 48"/>
                  <a:gd name="T41" fmla="*/ 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8"/>
                  <a:gd name="T64" fmla="*/ 0 h 62"/>
                  <a:gd name="T65" fmla="*/ 48 w 48"/>
                  <a:gd name="T66" fmla="*/ 62 h 6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66" name="Freeform 980"/>
              <p:cNvSpPr>
                <a:spLocks/>
              </p:cNvSpPr>
              <p:nvPr/>
            </p:nvSpPr>
            <p:spPr bwMode="auto">
              <a:xfrm>
                <a:off x="1554" y="1729"/>
                <a:ext cx="36" cy="28"/>
              </a:xfrm>
              <a:custGeom>
                <a:avLst/>
                <a:gdLst>
                  <a:gd name="T0" fmla="*/ 0 w 113"/>
                  <a:gd name="T1" fmla="*/ 0 h 62"/>
                  <a:gd name="T2" fmla="*/ 0 w 113"/>
                  <a:gd name="T3" fmla="*/ 0 h 62"/>
                  <a:gd name="T4" fmla="*/ 0 w 113"/>
                  <a:gd name="T5" fmla="*/ 0 h 62"/>
                  <a:gd name="T6" fmla="*/ 0 w 113"/>
                  <a:gd name="T7" fmla="*/ 0 h 62"/>
                  <a:gd name="T8" fmla="*/ 0 w 113"/>
                  <a:gd name="T9" fmla="*/ 0 h 62"/>
                  <a:gd name="T10" fmla="*/ 0 w 113"/>
                  <a:gd name="T11" fmla="*/ 0 h 62"/>
                  <a:gd name="T12" fmla="*/ 0 w 113"/>
                  <a:gd name="T13" fmla="*/ 0 h 62"/>
                  <a:gd name="T14" fmla="*/ 0 w 113"/>
                  <a:gd name="T15" fmla="*/ 0 h 62"/>
                  <a:gd name="T16" fmla="*/ 0 w 113"/>
                  <a:gd name="T17" fmla="*/ 0 h 62"/>
                  <a:gd name="T18" fmla="*/ 0 w 113"/>
                  <a:gd name="T19" fmla="*/ 0 h 62"/>
                  <a:gd name="T20" fmla="*/ 0 w 113"/>
                  <a:gd name="T21" fmla="*/ 0 h 62"/>
                  <a:gd name="T22" fmla="*/ 0 w 113"/>
                  <a:gd name="T23" fmla="*/ 0 h 62"/>
                  <a:gd name="T24" fmla="*/ 0 w 113"/>
                  <a:gd name="T25" fmla="*/ 0 h 62"/>
                  <a:gd name="T26" fmla="*/ 0 w 113"/>
                  <a:gd name="T27" fmla="*/ 0 h 62"/>
                  <a:gd name="T28" fmla="*/ 0 w 113"/>
                  <a:gd name="T29" fmla="*/ 0 h 62"/>
                  <a:gd name="T30" fmla="*/ 0 w 113"/>
                  <a:gd name="T31" fmla="*/ 0 h 62"/>
                  <a:gd name="T32" fmla="*/ 0 w 113"/>
                  <a:gd name="T33" fmla="*/ 0 h 62"/>
                  <a:gd name="T34" fmla="*/ 0 w 113"/>
                  <a:gd name="T35" fmla="*/ 0 h 62"/>
                  <a:gd name="T36" fmla="*/ 0 w 113"/>
                  <a:gd name="T37" fmla="*/ 0 h 62"/>
                  <a:gd name="T38" fmla="*/ 0 w 113"/>
                  <a:gd name="T39" fmla="*/ 0 h 62"/>
                  <a:gd name="T40" fmla="*/ 0 w 113"/>
                  <a:gd name="T41" fmla="*/ 0 h 62"/>
                  <a:gd name="T42" fmla="*/ 0 w 113"/>
                  <a:gd name="T43" fmla="*/ 0 h 62"/>
                  <a:gd name="T44" fmla="*/ 0 w 113"/>
                  <a:gd name="T45" fmla="*/ 0 h 62"/>
                  <a:gd name="T46" fmla="*/ 0 w 113"/>
                  <a:gd name="T47" fmla="*/ 0 h 62"/>
                  <a:gd name="T48" fmla="*/ 0 w 113"/>
                  <a:gd name="T49" fmla="*/ 0 h 62"/>
                  <a:gd name="T50" fmla="*/ 0 w 113"/>
                  <a:gd name="T51" fmla="*/ 0 h 62"/>
                  <a:gd name="T52" fmla="*/ 0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13"/>
                  <a:gd name="T82" fmla="*/ 0 h 62"/>
                  <a:gd name="T83" fmla="*/ 113 w 113"/>
                  <a:gd name="T84" fmla="*/ 62 h 62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67" name="Freeform 981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0 w 93"/>
                  <a:gd name="T3" fmla="*/ 0 h 50"/>
                  <a:gd name="T4" fmla="*/ 0 w 93"/>
                  <a:gd name="T5" fmla="*/ 0 h 50"/>
                  <a:gd name="T6" fmla="*/ 0 w 93"/>
                  <a:gd name="T7" fmla="*/ 0 h 50"/>
                  <a:gd name="T8" fmla="*/ 0 w 93"/>
                  <a:gd name="T9" fmla="*/ 0 h 50"/>
                  <a:gd name="T10" fmla="*/ 0 w 93"/>
                  <a:gd name="T11" fmla="*/ 0 h 50"/>
                  <a:gd name="T12" fmla="*/ 0 w 93"/>
                  <a:gd name="T13" fmla="*/ 0 h 50"/>
                  <a:gd name="T14" fmla="*/ 0 w 93"/>
                  <a:gd name="T15" fmla="*/ 0 h 50"/>
                  <a:gd name="T16" fmla="*/ 0 w 93"/>
                  <a:gd name="T17" fmla="*/ 0 h 50"/>
                  <a:gd name="T18" fmla="*/ 0 w 93"/>
                  <a:gd name="T19" fmla="*/ 0 h 50"/>
                  <a:gd name="T20" fmla="*/ 0 w 93"/>
                  <a:gd name="T21" fmla="*/ 0 h 50"/>
                  <a:gd name="T22" fmla="*/ 0 w 93"/>
                  <a:gd name="T23" fmla="*/ 0 h 50"/>
                  <a:gd name="T24" fmla="*/ 0 w 93"/>
                  <a:gd name="T25" fmla="*/ 0 h 50"/>
                  <a:gd name="T26" fmla="*/ 0 w 93"/>
                  <a:gd name="T27" fmla="*/ 0 h 50"/>
                  <a:gd name="T28" fmla="*/ 0 w 93"/>
                  <a:gd name="T29" fmla="*/ 0 h 50"/>
                  <a:gd name="T30" fmla="*/ 0 w 93"/>
                  <a:gd name="T31" fmla="*/ 0 h 50"/>
                  <a:gd name="T32" fmla="*/ 0 w 93"/>
                  <a:gd name="T33" fmla="*/ 0 h 50"/>
                  <a:gd name="T34" fmla="*/ 0 w 93"/>
                  <a:gd name="T35" fmla="*/ 0 h 50"/>
                  <a:gd name="T36" fmla="*/ 0 w 93"/>
                  <a:gd name="T37" fmla="*/ 0 h 50"/>
                  <a:gd name="T38" fmla="*/ 0 w 93"/>
                  <a:gd name="T39" fmla="*/ 0 h 50"/>
                  <a:gd name="T40" fmla="*/ 0 w 93"/>
                  <a:gd name="T41" fmla="*/ 0 h 50"/>
                  <a:gd name="T42" fmla="*/ 0 w 93"/>
                  <a:gd name="T43" fmla="*/ 0 h 50"/>
                  <a:gd name="T44" fmla="*/ 0 w 93"/>
                  <a:gd name="T45" fmla="*/ 0 h 50"/>
                  <a:gd name="T46" fmla="*/ 0 w 93"/>
                  <a:gd name="T47" fmla="*/ 0 h 50"/>
                  <a:gd name="T48" fmla="*/ 0 w 93"/>
                  <a:gd name="T49" fmla="*/ 0 h 50"/>
                  <a:gd name="T50" fmla="*/ 0 w 93"/>
                  <a:gd name="T51" fmla="*/ 0 h 50"/>
                  <a:gd name="T52" fmla="*/ 0 w 93"/>
                  <a:gd name="T53" fmla="*/ 0 h 50"/>
                  <a:gd name="T54" fmla="*/ 0 w 93"/>
                  <a:gd name="T55" fmla="*/ 0 h 50"/>
                  <a:gd name="T56" fmla="*/ 0 w 93"/>
                  <a:gd name="T57" fmla="*/ 0 h 50"/>
                  <a:gd name="T58" fmla="*/ 0 w 93"/>
                  <a:gd name="T59" fmla="*/ 0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93"/>
                  <a:gd name="T94" fmla="*/ 0 h 50"/>
                  <a:gd name="T95" fmla="*/ 93 w 93"/>
                  <a:gd name="T96" fmla="*/ 50 h 5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68" name="Freeform 982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0 w 1029"/>
                  <a:gd name="T1" fmla="*/ 0 h 604"/>
                  <a:gd name="T2" fmla="*/ 0 w 1029"/>
                  <a:gd name="T3" fmla="*/ 0 h 604"/>
                  <a:gd name="T4" fmla="*/ 0 w 1029"/>
                  <a:gd name="T5" fmla="*/ 0 h 604"/>
                  <a:gd name="T6" fmla="*/ 0 w 1029"/>
                  <a:gd name="T7" fmla="*/ 0 h 604"/>
                  <a:gd name="T8" fmla="*/ 0 w 1029"/>
                  <a:gd name="T9" fmla="*/ 0 h 604"/>
                  <a:gd name="T10" fmla="*/ 0 w 1029"/>
                  <a:gd name="T11" fmla="*/ 0 h 604"/>
                  <a:gd name="T12" fmla="*/ 0 w 1029"/>
                  <a:gd name="T13" fmla="*/ 0 h 604"/>
                  <a:gd name="T14" fmla="*/ 0 w 1029"/>
                  <a:gd name="T15" fmla="*/ 0 h 604"/>
                  <a:gd name="T16" fmla="*/ 0 w 1029"/>
                  <a:gd name="T17" fmla="*/ 0 h 604"/>
                  <a:gd name="T18" fmla="*/ 0 w 1029"/>
                  <a:gd name="T19" fmla="*/ 0 h 604"/>
                  <a:gd name="T20" fmla="*/ 0 w 1029"/>
                  <a:gd name="T21" fmla="*/ 0 h 604"/>
                  <a:gd name="T22" fmla="*/ 0 w 1029"/>
                  <a:gd name="T23" fmla="*/ 0 h 604"/>
                  <a:gd name="T24" fmla="*/ 0 w 1029"/>
                  <a:gd name="T25" fmla="*/ 0 h 604"/>
                  <a:gd name="T26" fmla="*/ 0 w 1029"/>
                  <a:gd name="T27" fmla="*/ 0 h 604"/>
                  <a:gd name="T28" fmla="*/ 0 w 1029"/>
                  <a:gd name="T29" fmla="*/ 0 h 604"/>
                  <a:gd name="T30" fmla="*/ 0 w 1029"/>
                  <a:gd name="T31" fmla="*/ 0 h 604"/>
                  <a:gd name="T32" fmla="*/ 0 w 1029"/>
                  <a:gd name="T33" fmla="*/ 0 h 604"/>
                  <a:gd name="T34" fmla="*/ 0 w 1029"/>
                  <a:gd name="T35" fmla="*/ 0 h 604"/>
                  <a:gd name="T36" fmla="*/ 0 w 1029"/>
                  <a:gd name="T37" fmla="*/ 0 h 604"/>
                  <a:gd name="T38" fmla="*/ 0 w 1029"/>
                  <a:gd name="T39" fmla="*/ 0 h 604"/>
                  <a:gd name="T40" fmla="*/ 0 w 1029"/>
                  <a:gd name="T41" fmla="*/ 0 h 604"/>
                  <a:gd name="T42" fmla="*/ 0 w 1029"/>
                  <a:gd name="T43" fmla="*/ 0 h 604"/>
                  <a:gd name="T44" fmla="*/ 0 w 1029"/>
                  <a:gd name="T45" fmla="*/ 0 h 604"/>
                  <a:gd name="T46" fmla="*/ 0 w 1029"/>
                  <a:gd name="T47" fmla="*/ 0 h 604"/>
                  <a:gd name="T48" fmla="*/ 0 w 1029"/>
                  <a:gd name="T49" fmla="*/ 0 h 604"/>
                  <a:gd name="T50" fmla="*/ 0 w 1029"/>
                  <a:gd name="T51" fmla="*/ 0 h 604"/>
                  <a:gd name="T52" fmla="*/ 0 w 1029"/>
                  <a:gd name="T53" fmla="*/ 0 h 604"/>
                  <a:gd name="T54" fmla="*/ 0 w 1029"/>
                  <a:gd name="T55" fmla="*/ 0 h 604"/>
                  <a:gd name="T56" fmla="*/ 0 w 1029"/>
                  <a:gd name="T57" fmla="*/ 0 h 604"/>
                  <a:gd name="T58" fmla="*/ 0 w 1029"/>
                  <a:gd name="T59" fmla="*/ 0 h 604"/>
                  <a:gd name="T60" fmla="*/ 0 w 1029"/>
                  <a:gd name="T61" fmla="*/ 0 h 604"/>
                  <a:gd name="T62" fmla="*/ 0 w 1029"/>
                  <a:gd name="T63" fmla="*/ 0 h 604"/>
                  <a:gd name="T64" fmla="*/ 0 w 1029"/>
                  <a:gd name="T65" fmla="*/ 0 h 604"/>
                  <a:gd name="T66" fmla="*/ 0 w 1029"/>
                  <a:gd name="T67" fmla="*/ 0 h 604"/>
                  <a:gd name="T68" fmla="*/ 0 w 1029"/>
                  <a:gd name="T69" fmla="*/ 0 h 604"/>
                  <a:gd name="T70" fmla="*/ 0 w 1029"/>
                  <a:gd name="T71" fmla="*/ 0 h 604"/>
                  <a:gd name="T72" fmla="*/ 0 w 1029"/>
                  <a:gd name="T73" fmla="*/ 0 h 604"/>
                  <a:gd name="T74" fmla="*/ 0 w 1029"/>
                  <a:gd name="T75" fmla="*/ 0 h 604"/>
                  <a:gd name="T76" fmla="*/ 0 w 1029"/>
                  <a:gd name="T77" fmla="*/ 0 h 604"/>
                  <a:gd name="T78" fmla="*/ 0 w 1029"/>
                  <a:gd name="T79" fmla="*/ 0 h 604"/>
                  <a:gd name="T80" fmla="*/ 0 w 1029"/>
                  <a:gd name="T81" fmla="*/ 0 h 604"/>
                  <a:gd name="T82" fmla="*/ 0 w 1029"/>
                  <a:gd name="T83" fmla="*/ 0 h 604"/>
                  <a:gd name="T84" fmla="*/ 0 w 1029"/>
                  <a:gd name="T85" fmla="*/ 0 h 604"/>
                  <a:gd name="T86" fmla="*/ 0 w 1029"/>
                  <a:gd name="T87" fmla="*/ 0 h 604"/>
                  <a:gd name="T88" fmla="*/ 0 w 1029"/>
                  <a:gd name="T89" fmla="*/ 0 h 604"/>
                  <a:gd name="T90" fmla="*/ 0 w 1029"/>
                  <a:gd name="T91" fmla="*/ 0 h 604"/>
                  <a:gd name="T92" fmla="*/ 0 w 1029"/>
                  <a:gd name="T93" fmla="*/ 0 h 604"/>
                  <a:gd name="T94" fmla="*/ 0 w 1029"/>
                  <a:gd name="T95" fmla="*/ 0 h 604"/>
                  <a:gd name="T96" fmla="*/ 0 w 1029"/>
                  <a:gd name="T97" fmla="*/ 0 h 604"/>
                  <a:gd name="T98" fmla="*/ 0 w 1029"/>
                  <a:gd name="T99" fmla="*/ 0 h 604"/>
                  <a:gd name="T100" fmla="*/ 0 w 1029"/>
                  <a:gd name="T101" fmla="*/ 0 h 604"/>
                  <a:gd name="T102" fmla="*/ 0 w 1029"/>
                  <a:gd name="T103" fmla="*/ 0 h 604"/>
                  <a:gd name="T104" fmla="*/ 0 w 1029"/>
                  <a:gd name="T105" fmla="*/ 0 h 604"/>
                  <a:gd name="T106" fmla="*/ 0 w 1029"/>
                  <a:gd name="T107" fmla="*/ 0 h 604"/>
                  <a:gd name="T108" fmla="*/ 0 w 1029"/>
                  <a:gd name="T109" fmla="*/ 0 h 604"/>
                  <a:gd name="T110" fmla="*/ 0 w 1029"/>
                  <a:gd name="T111" fmla="*/ 0 h 604"/>
                  <a:gd name="T112" fmla="*/ 0 w 1029"/>
                  <a:gd name="T113" fmla="*/ 0 h 604"/>
                  <a:gd name="T114" fmla="*/ 0 w 1029"/>
                  <a:gd name="T115" fmla="*/ 0 h 604"/>
                  <a:gd name="T116" fmla="*/ 0 w 1029"/>
                  <a:gd name="T117" fmla="*/ 0 h 604"/>
                  <a:gd name="T118" fmla="*/ 0 w 1029"/>
                  <a:gd name="T119" fmla="*/ 0 h 604"/>
                  <a:gd name="T120" fmla="*/ 0 w 1029"/>
                  <a:gd name="T121" fmla="*/ 0 h 604"/>
                  <a:gd name="T122" fmla="*/ 0 w 1029"/>
                  <a:gd name="T123" fmla="*/ 0 h 604"/>
                  <a:gd name="T124" fmla="*/ 0 w 1029"/>
                  <a:gd name="T125" fmla="*/ 0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29"/>
                  <a:gd name="T190" fmla="*/ 0 h 604"/>
                  <a:gd name="T191" fmla="*/ 1029 w 1029"/>
                  <a:gd name="T192" fmla="*/ 604 h 60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69" name="Freeform 983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0 w 1268"/>
                  <a:gd name="T1" fmla="*/ 0 h 321"/>
                  <a:gd name="T2" fmla="*/ 0 w 1268"/>
                  <a:gd name="T3" fmla="*/ 0 h 321"/>
                  <a:gd name="T4" fmla="*/ 0 w 1268"/>
                  <a:gd name="T5" fmla="*/ 0 h 321"/>
                  <a:gd name="T6" fmla="*/ 0 w 1268"/>
                  <a:gd name="T7" fmla="*/ 0 h 321"/>
                  <a:gd name="T8" fmla="*/ 0 w 1268"/>
                  <a:gd name="T9" fmla="*/ 0 h 321"/>
                  <a:gd name="T10" fmla="*/ 0 w 1268"/>
                  <a:gd name="T11" fmla="*/ 0 h 321"/>
                  <a:gd name="T12" fmla="*/ 0 w 1268"/>
                  <a:gd name="T13" fmla="*/ 0 h 321"/>
                  <a:gd name="T14" fmla="*/ 0 w 1268"/>
                  <a:gd name="T15" fmla="*/ 0 h 321"/>
                  <a:gd name="T16" fmla="*/ 0 w 1268"/>
                  <a:gd name="T17" fmla="*/ 0 h 321"/>
                  <a:gd name="T18" fmla="*/ 0 w 1268"/>
                  <a:gd name="T19" fmla="*/ 0 h 321"/>
                  <a:gd name="T20" fmla="*/ 0 w 1268"/>
                  <a:gd name="T21" fmla="*/ 0 h 321"/>
                  <a:gd name="T22" fmla="*/ 0 w 1268"/>
                  <a:gd name="T23" fmla="*/ 0 h 321"/>
                  <a:gd name="T24" fmla="*/ 0 w 1268"/>
                  <a:gd name="T25" fmla="*/ 0 h 321"/>
                  <a:gd name="T26" fmla="*/ 0 w 1268"/>
                  <a:gd name="T27" fmla="*/ 0 h 321"/>
                  <a:gd name="T28" fmla="*/ 0 w 1268"/>
                  <a:gd name="T29" fmla="*/ 0 h 321"/>
                  <a:gd name="T30" fmla="*/ 0 w 1268"/>
                  <a:gd name="T31" fmla="*/ 0 h 321"/>
                  <a:gd name="T32" fmla="*/ 0 w 1268"/>
                  <a:gd name="T33" fmla="*/ 0 h 321"/>
                  <a:gd name="T34" fmla="*/ 0 w 1268"/>
                  <a:gd name="T35" fmla="*/ 0 h 321"/>
                  <a:gd name="T36" fmla="*/ 0 w 1268"/>
                  <a:gd name="T37" fmla="*/ 0 h 321"/>
                  <a:gd name="T38" fmla="*/ 0 w 1268"/>
                  <a:gd name="T39" fmla="*/ 0 h 321"/>
                  <a:gd name="T40" fmla="*/ 0 w 1268"/>
                  <a:gd name="T41" fmla="*/ 0 h 321"/>
                  <a:gd name="T42" fmla="*/ 0 w 1268"/>
                  <a:gd name="T43" fmla="*/ 0 h 321"/>
                  <a:gd name="T44" fmla="*/ 0 w 1268"/>
                  <a:gd name="T45" fmla="*/ 0 h 321"/>
                  <a:gd name="T46" fmla="*/ 0 w 1268"/>
                  <a:gd name="T47" fmla="*/ 0 h 321"/>
                  <a:gd name="T48" fmla="*/ 0 w 1268"/>
                  <a:gd name="T49" fmla="*/ 0 h 321"/>
                  <a:gd name="T50" fmla="*/ 0 w 1268"/>
                  <a:gd name="T51" fmla="*/ 0 h 321"/>
                  <a:gd name="T52" fmla="*/ 0 w 1268"/>
                  <a:gd name="T53" fmla="*/ 0 h 321"/>
                  <a:gd name="T54" fmla="*/ 0 w 1268"/>
                  <a:gd name="T55" fmla="*/ 0 h 321"/>
                  <a:gd name="T56" fmla="*/ 0 w 1268"/>
                  <a:gd name="T57" fmla="*/ 0 h 321"/>
                  <a:gd name="T58" fmla="*/ 0 w 1268"/>
                  <a:gd name="T59" fmla="*/ 0 h 321"/>
                  <a:gd name="T60" fmla="*/ 0 w 1268"/>
                  <a:gd name="T61" fmla="*/ 0 h 321"/>
                  <a:gd name="T62" fmla="*/ 0 w 1268"/>
                  <a:gd name="T63" fmla="*/ 0 h 321"/>
                  <a:gd name="T64" fmla="*/ 0 w 1268"/>
                  <a:gd name="T65" fmla="*/ 0 h 321"/>
                  <a:gd name="T66" fmla="*/ 0 w 1268"/>
                  <a:gd name="T67" fmla="*/ 0 h 321"/>
                  <a:gd name="T68" fmla="*/ 0 w 1268"/>
                  <a:gd name="T69" fmla="*/ 0 h 321"/>
                  <a:gd name="T70" fmla="*/ 0 w 1268"/>
                  <a:gd name="T71" fmla="*/ 0 h 321"/>
                  <a:gd name="T72" fmla="*/ 0 w 1268"/>
                  <a:gd name="T73" fmla="*/ 0 h 321"/>
                  <a:gd name="T74" fmla="*/ 0 w 1268"/>
                  <a:gd name="T75" fmla="*/ 0 h 321"/>
                  <a:gd name="T76" fmla="*/ 0 w 1268"/>
                  <a:gd name="T77" fmla="*/ 0 h 321"/>
                  <a:gd name="T78" fmla="*/ 0 w 1268"/>
                  <a:gd name="T79" fmla="*/ 0 h 321"/>
                  <a:gd name="T80" fmla="*/ 0 w 1268"/>
                  <a:gd name="T81" fmla="*/ 0 h 321"/>
                  <a:gd name="T82" fmla="*/ 0 w 1268"/>
                  <a:gd name="T83" fmla="*/ 0 h 321"/>
                  <a:gd name="T84" fmla="*/ 0 w 1268"/>
                  <a:gd name="T85" fmla="*/ 0 h 321"/>
                  <a:gd name="T86" fmla="*/ 0 w 1268"/>
                  <a:gd name="T87" fmla="*/ 0 h 321"/>
                  <a:gd name="T88" fmla="*/ 0 w 1268"/>
                  <a:gd name="T89" fmla="*/ 0 h 321"/>
                  <a:gd name="T90" fmla="*/ 0 w 1268"/>
                  <a:gd name="T91" fmla="*/ 0 h 321"/>
                  <a:gd name="T92" fmla="*/ 0 w 1268"/>
                  <a:gd name="T93" fmla="*/ 0 h 321"/>
                  <a:gd name="T94" fmla="*/ 0 w 1268"/>
                  <a:gd name="T95" fmla="*/ 0 h 321"/>
                  <a:gd name="T96" fmla="*/ 0 w 1268"/>
                  <a:gd name="T97" fmla="*/ 0 h 321"/>
                  <a:gd name="T98" fmla="*/ 0 w 1268"/>
                  <a:gd name="T99" fmla="*/ 0 h 321"/>
                  <a:gd name="T100" fmla="*/ 0 w 1268"/>
                  <a:gd name="T101" fmla="*/ 0 h 321"/>
                  <a:gd name="T102" fmla="*/ 0 w 1268"/>
                  <a:gd name="T103" fmla="*/ 0 h 321"/>
                  <a:gd name="T104" fmla="*/ 0 w 1268"/>
                  <a:gd name="T105" fmla="*/ 0 h 321"/>
                  <a:gd name="T106" fmla="*/ 0 w 1268"/>
                  <a:gd name="T107" fmla="*/ 0 h 321"/>
                  <a:gd name="T108" fmla="*/ 0 w 1268"/>
                  <a:gd name="T109" fmla="*/ 0 h 321"/>
                  <a:gd name="T110" fmla="*/ 0 w 1268"/>
                  <a:gd name="T111" fmla="*/ 0 h 321"/>
                  <a:gd name="T112" fmla="*/ 0 w 1268"/>
                  <a:gd name="T113" fmla="*/ 0 h 321"/>
                  <a:gd name="T114" fmla="*/ 0 w 1268"/>
                  <a:gd name="T115" fmla="*/ 0 h 321"/>
                  <a:gd name="T116" fmla="*/ 0 w 1268"/>
                  <a:gd name="T117" fmla="*/ 0 h 321"/>
                  <a:gd name="T118" fmla="*/ 0 w 1268"/>
                  <a:gd name="T119" fmla="*/ 0 h 321"/>
                  <a:gd name="T120" fmla="*/ 0 w 1268"/>
                  <a:gd name="T121" fmla="*/ 0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268"/>
                  <a:gd name="T184" fmla="*/ 0 h 321"/>
                  <a:gd name="T185" fmla="*/ 1268 w 1268"/>
                  <a:gd name="T186" fmla="*/ 321 h 32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70" name="Freeform 984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0 h 117"/>
                  <a:gd name="T4" fmla="*/ 0 w 160"/>
                  <a:gd name="T5" fmla="*/ 0 h 117"/>
                  <a:gd name="T6" fmla="*/ 0 w 160"/>
                  <a:gd name="T7" fmla="*/ 0 h 117"/>
                  <a:gd name="T8" fmla="*/ 0 w 160"/>
                  <a:gd name="T9" fmla="*/ 0 h 117"/>
                  <a:gd name="T10" fmla="*/ 0 w 160"/>
                  <a:gd name="T11" fmla="*/ 0 h 117"/>
                  <a:gd name="T12" fmla="*/ 0 w 160"/>
                  <a:gd name="T13" fmla="*/ 0 h 117"/>
                  <a:gd name="T14" fmla="*/ 0 w 160"/>
                  <a:gd name="T15" fmla="*/ 0 h 117"/>
                  <a:gd name="T16" fmla="*/ 0 w 160"/>
                  <a:gd name="T17" fmla="*/ 0 h 117"/>
                  <a:gd name="T18" fmla="*/ 0 w 160"/>
                  <a:gd name="T19" fmla="*/ 0 h 117"/>
                  <a:gd name="T20" fmla="*/ 0 w 160"/>
                  <a:gd name="T21" fmla="*/ 0 h 117"/>
                  <a:gd name="T22" fmla="*/ 0 w 160"/>
                  <a:gd name="T23" fmla="*/ 0 h 117"/>
                  <a:gd name="T24" fmla="*/ 0 w 160"/>
                  <a:gd name="T25" fmla="*/ 0 h 117"/>
                  <a:gd name="T26" fmla="*/ 0 w 160"/>
                  <a:gd name="T27" fmla="*/ 0 h 117"/>
                  <a:gd name="T28" fmla="*/ 0 w 160"/>
                  <a:gd name="T29" fmla="*/ 0 h 117"/>
                  <a:gd name="T30" fmla="*/ 0 w 160"/>
                  <a:gd name="T31" fmla="*/ 0 h 117"/>
                  <a:gd name="T32" fmla="*/ 0 w 160"/>
                  <a:gd name="T33" fmla="*/ 0 h 117"/>
                  <a:gd name="T34" fmla="*/ 0 w 160"/>
                  <a:gd name="T35" fmla="*/ 0 h 117"/>
                  <a:gd name="T36" fmla="*/ 0 w 160"/>
                  <a:gd name="T37" fmla="*/ 0 h 117"/>
                  <a:gd name="T38" fmla="*/ 0 w 160"/>
                  <a:gd name="T39" fmla="*/ 0 h 117"/>
                  <a:gd name="T40" fmla="*/ 0 w 160"/>
                  <a:gd name="T41" fmla="*/ 0 h 117"/>
                  <a:gd name="T42" fmla="*/ 0 w 160"/>
                  <a:gd name="T43" fmla="*/ 0 h 117"/>
                  <a:gd name="T44" fmla="*/ 0 w 160"/>
                  <a:gd name="T45" fmla="*/ 0 h 117"/>
                  <a:gd name="T46" fmla="*/ 0 w 160"/>
                  <a:gd name="T47" fmla="*/ 0 h 117"/>
                  <a:gd name="T48" fmla="*/ 0 w 160"/>
                  <a:gd name="T49" fmla="*/ 0 h 117"/>
                  <a:gd name="T50" fmla="*/ 0 w 160"/>
                  <a:gd name="T51" fmla="*/ 0 h 117"/>
                  <a:gd name="T52" fmla="*/ 0 w 160"/>
                  <a:gd name="T53" fmla="*/ 0 h 117"/>
                  <a:gd name="T54" fmla="*/ 0 w 160"/>
                  <a:gd name="T55" fmla="*/ 0 h 117"/>
                  <a:gd name="T56" fmla="*/ 0 w 160"/>
                  <a:gd name="T57" fmla="*/ 0 h 117"/>
                  <a:gd name="T58" fmla="*/ 0 w 160"/>
                  <a:gd name="T59" fmla="*/ 0 h 117"/>
                  <a:gd name="T60" fmla="*/ 0 w 160"/>
                  <a:gd name="T61" fmla="*/ 0 h 117"/>
                  <a:gd name="T62" fmla="*/ 0 w 160"/>
                  <a:gd name="T63" fmla="*/ 0 h 117"/>
                  <a:gd name="T64" fmla="*/ 0 w 160"/>
                  <a:gd name="T65" fmla="*/ 0 h 117"/>
                  <a:gd name="T66" fmla="*/ 0 w 160"/>
                  <a:gd name="T67" fmla="*/ 0 h 117"/>
                  <a:gd name="T68" fmla="*/ 0 w 160"/>
                  <a:gd name="T69" fmla="*/ 0 h 117"/>
                  <a:gd name="T70" fmla="*/ 0 w 160"/>
                  <a:gd name="T71" fmla="*/ 0 h 117"/>
                  <a:gd name="T72" fmla="*/ 0 w 160"/>
                  <a:gd name="T73" fmla="*/ 0 h 117"/>
                  <a:gd name="T74" fmla="*/ 0 w 160"/>
                  <a:gd name="T75" fmla="*/ 0 h 117"/>
                  <a:gd name="T76" fmla="*/ 0 w 160"/>
                  <a:gd name="T77" fmla="*/ 0 h 117"/>
                  <a:gd name="T78" fmla="*/ 0 w 160"/>
                  <a:gd name="T79" fmla="*/ 0 h 117"/>
                  <a:gd name="T80" fmla="*/ 0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60"/>
                  <a:gd name="T127" fmla="*/ 0 h 117"/>
                  <a:gd name="T128" fmla="*/ 160 w 160"/>
                  <a:gd name="T129" fmla="*/ 117 h 117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71" name="Freeform 985"/>
              <p:cNvSpPr>
                <a:spLocks/>
              </p:cNvSpPr>
              <p:nvPr/>
            </p:nvSpPr>
            <p:spPr bwMode="auto">
              <a:xfrm>
                <a:off x="527" y="1592"/>
                <a:ext cx="26" cy="54"/>
              </a:xfrm>
              <a:custGeom>
                <a:avLst/>
                <a:gdLst>
                  <a:gd name="T0" fmla="*/ 0 w 80"/>
                  <a:gd name="T1" fmla="*/ 0 h 141"/>
                  <a:gd name="T2" fmla="*/ 0 w 80"/>
                  <a:gd name="T3" fmla="*/ 0 h 141"/>
                  <a:gd name="T4" fmla="*/ 0 w 80"/>
                  <a:gd name="T5" fmla="*/ 0 h 141"/>
                  <a:gd name="T6" fmla="*/ 0 w 80"/>
                  <a:gd name="T7" fmla="*/ 0 h 141"/>
                  <a:gd name="T8" fmla="*/ 0 w 80"/>
                  <a:gd name="T9" fmla="*/ 0 h 141"/>
                  <a:gd name="T10" fmla="*/ 0 w 80"/>
                  <a:gd name="T11" fmla="*/ 0 h 141"/>
                  <a:gd name="T12" fmla="*/ 0 w 80"/>
                  <a:gd name="T13" fmla="*/ 0 h 141"/>
                  <a:gd name="T14" fmla="*/ 0 w 80"/>
                  <a:gd name="T15" fmla="*/ 0 h 141"/>
                  <a:gd name="T16" fmla="*/ 0 w 80"/>
                  <a:gd name="T17" fmla="*/ 0 h 141"/>
                  <a:gd name="T18" fmla="*/ 0 w 80"/>
                  <a:gd name="T19" fmla="*/ 0 h 141"/>
                  <a:gd name="T20" fmla="*/ 0 w 80"/>
                  <a:gd name="T21" fmla="*/ 0 h 141"/>
                  <a:gd name="T22" fmla="*/ 0 w 80"/>
                  <a:gd name="T23" fmla="*/ 0 h 141"/>
                  <a:gd name="T24" fmla="*/ 0 w 80"/>
                  <a:gd name="T25" fmla="*/ 0 h 141"/>
                  <a:gd name="T26" fmla="*/ 0 w 80"/>
                  <a:gd name="T27" fmla="*/ 0 h 141"/>
                  <a:gd name="T28" fmla="*/ 0 w 80"/>
                  <a:gd name="T29" fmla="*/ 0 h 141"/>
                  <a:gd name="T30" fmla="*/ 0 w 80"/>
                  <a:gd name="T31" fmla="*/ 0 h 141"/>
                  <a:gd name="T32" fmla="*/ 0 w 80"/>
                  <a:gd name="T33" fmla="*/ 0 h 141"/>
                  <a:gd name="T34" fmla="*/ 0 w 80"/>
                  <a:gd name="T35" fmla="*/ 0 h 141"/>
                  <a:gd name="T36" fmla="*/ 0 w 80"/>
                  <a:gd name="T37" fmla="*/ 0 h 141"/>
                  <a:gd name="T38" fmla="*/ 0 w 80"/>
                  <a:gd name="T39" fmla="*/ 0 h 141"/>
                  <a:gd name="T40" fmla="*/ 0 w 80"/>
                  <a:gd name="T41" fmla="*/ 0 h 141"/>
                  <a:gd name="T42" fmla="*/ 0 w 80"/>
                  <a:gd name="T43" fmla="*/ 0 h 141"/>
                  <a:gd name="T44" fmla="*/ 0 w 80"/>
                  <a:gd name="T45" fmla="*/ 0 h 141"/>
                  <a:gd name="T46" fmla="*/ 0 w 80"/>
                  <a:gd name="T47" fmla="*/ 0 h 141"/>
                  <a:gd name="T48" fmla="*/ 0 w 80"/>
                  <a:gd name="T49" fmla="*/ 0 h 141"/>
                  <a:gd name="T50" fmla="*/ 0 w 80"/>
                  <a:gd name="T51" fmla="*/ 0 h 141"/>
                  <a:gd name="T52" fmla="*/ 0 w 80"/>
                  <a:gd name="T53" fmla="*/ 0 h 141"/>
                  <a:gd name="T54" fmla="*/ 0 w 80"/>
                  <a:gd name="T55" fmla="*/ 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80"/>
                  <a:gd name="T85" fmla="*/ 0 h 141"/>
                  <a:gd name="T86" fmla="*/ 80 w 80"/>
                  <a:gd name="T87" fmla="*/ 141 h 141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72" name="Freeform 986"/>
              <p:cNvSpPr>
                <a:spLocks/>
              </p:cNvSpPr>
              <p:nvPr/>
            </p:nvSpPr>
            <p:spPr bwMode="auto">
              <a:xfrm>
                <a:off x="1380" y="1383"/>
                <a:ext cx="85" cy="41"/>
              </a:xfrm>
              <a:custGeom>
                <a:avLst/>
                <a:gdLst>
                  <a:gd name="T0" fmla="*/ 0 w 259"/>
                  <a:gd name="T1" fmla="*/ 0 h 124"/>
                  <a:gd name="T2" fmla="*/ 0 w 259"/>
                  <a:gd name="T3" fmla="*/ 0 h 124"/>
                  <a:gd name="T4" fmla="*/ 0 w 259"/>
                  <a:gd name="T5" fmla="*/ 0 h 124"/>
                  <a:gd name="T6" fmla="*/ 0 w 259"/>
                  <a:gd name="T7" fmla="*/ 0 h 124"/>
                  <a:gd name="T8" fmla="*/ 0 w 259"/>
                  <a:gd name="T9" fmla="*/ 0 h 124"/>
                  <a:gd name="T10" fmla="*/ 0 w 259"/>
                  <a:gd name="T11" fmla="*/ 0 h 124"/>
                  <a:gd name="T12" fmla="*/ 0 w 259"/>
                  <a:gd name="T13" fmla="*/ 0 h 124"/>
                  <a:gd name="T14" fmla="*/ 0 w 259"/>
                  <a:gd name="T15" fmla="*/ 0 h 124"/>
                  <a:gd name="T16" fmla="*/ 0 w 259"/>
                  <a:gd name="T17" fmla="*/ 0 h 124"/>
                  <a:gd name="T18" fmla="*/ 0 w 259"/>
                  <a:gd name="T19" fmla="*/ 0 h 124"/>
                  <a:gd name="T20" fmla="*/ 0 w 259"/>
                  <a:gd name="T21" fmla="*/ 0 h 124"/>
                  <a:gd name="T22" fmla="*/ 0 w 259"/>
                  <a:gd name="T23" fmla="*/ 0 h 124"/>
                  <a:gd name="T24" fmla="*/ 0 w 259"/>
                  <a:gd name="T25" fmla="*/ 0 h 124"/>
                  <a:gd name="T26" fmla="*/ 0 w 259"/>
                  <a:gd name="T27" fmla="*/ 0 h 124"/>
                  <a:gd name="T28" fmla="*/ 0 w 259"/>
                  <a:gd name="T29" fmla="*/ 0 h 124"/>
                  <a:gd name="T30" fmla="*/ 0 w 259"/>
                  <a:gd name="T31" fmla="*/ 0 h 124"/>
                  <a:gd name="T32" fmla="*/ 0 w 259"/>
                  <a:gd name="T33" fmla="*/ 0 h 124"/>
                  <a:gd name="T34" fmla="*/ 0 w 259"/>
                  <a:gd name="T35" fmla="*/ 0 h 124"/>
                  <a:gd name="T36" fmla="*/ 0 w 259"/>
                  <a:gd name="T37" fmla="*/ 0 h 124"/>
                  <a:gd name="T38" fmla="*/ 0 w 259"/>
                  <a:gd name="T39" fmla="*/ 0 h 124"/>
                  <a:gd name="T40" fmla="*/ 0 w 259"/>
                  <a:gd name="T41" fmla="*/ 0 h 124"/>
                  <a:gd name="T42" fmla="*/ 0 w 259"/>
                  <a:gd name="T43" fmla="*/ 0 h 124"/>
                  <a:gd name="T44" fmla="*/ 0 w 259"/>
                  <a:gd name="T45" fmla="*/ 0 h 124"/>
                  <a:gd name="T46" fmla="*/ 0 w 259"/>
                  <a:gd name="T47" fmla="*/ 0 h 124"/>
                  <a:gd name="T48" fmla="*/ 0 w 259"/>
                  <a:gd name="T49" fmla="*/ 0 h 124"/>
                  <a:gd name="T50" fmla="*/ 0 w 259"/>
                  <a:gd name="T51" fmla="*/ 0 h 124"/>
                  <a:gd name="T52" fmla="*/ 0 w 259"/>
                  <a:gd name="T53" fmla="*/ 0 h 124"/>
                  <a:gd name="T54" fmla="*/ 0 w 259"/>
                  <a:gd name="T55" fmla="*/ 0 h 124"/>
                  <a:gd name="T56" fmla="*/ 0 w 259"/>
                  <a:gd name="T57" fmla="*/ 0 h 124"/>
                  <a:gd name="T58" fmla="*/ 0 w 259"/>
                  <a:gd name="T59" fmla="*/ 0 h 124"/>
                  <a:gd name="T60" fmla="*/ 0 w 259"/>
                  <a:gd name="T61" fmla="*/ 0 h 124"/>
                  <a:gd name="T62" fmla="*/ 0 w 259"/>
                  <a:gd name="T63" fmla="*/ 0 h 124"/>
                  <a:gd name="T64" fmla="*/ 0 w 259"/>
                  <a:gd name="T65" fmla="*/ 0 h 124"/>
                  <a:gd name="T66" fmla="*/ 0 w 259"/>
                  <a:gd name="T67" fmla="*/ 0 h 124"/>
                  <a:gd name="T68" fmla="*/ 0 w 259"/>
                  <a:gd name="T69" fmla="*/ 0 h 124"/>
                  <a:gd name="T70" fmla="*/ 0 w 259"/>
                  <a:gd name="T71" fmla="*/ 0 h 124"/>
                  <a:gd name="T72" fmla="*/ 0 w 259"/>
                  <a:gd name="T73" fmla="*/ 0 h 124"/>
                  <a:gd name="T74" fmla="*/ 0 w 259"/>
                  <a:gd name="T75" fmla="*/ 0 h 124"/>
                  <a:gd name="T76" fmla="*/ 0 w 259"/>
                  <a:gd name="T77" fmla="*/ 0 h 124"/>
                  <a:gd name="T78" fmla="*/ 0 w 259"/>
                  <a:gd name="T79" fmla="*/ 0 h 124"/>
                  <a:gd name="T80" fmla="*/ 0 w 259"/>
                  <a:gd name="T81" fmla="*/ 0 h 124"/>
                  <a:gd name="T82" fmla="*/ 0 w 259"/>
                  <a:gd name="T83" fmla="*/ 0 h 124"/>
                  <a:gd name="T84" fmla="*/ 0 w 259"/>
                  <a:gd name="T85" fmla="*/ 0 h 124"/>
                  <a:gd name="T86" fmla="*/ 0 w 259"/>
                  <a:gd name="T87" fmla="*/ 0 h 124"/>
                  <a:gd name="T88" fmla="*/ 0 w 259"/>
                  <a:gd name="T89" fmla="*/ 0 h 124"/>
                  <a:gd name="T90" fmla="*/ 0 w 259"/>
                  <a:gd name="T91" fmla="*/ 0 h 124"/>
                  <a:gd name="T92" fmla="*/ 0 w 259"/>
                  <a:gd name="T93" fmla="*/ 0 h 124"/>
                  <a:gd name="T94" fmla="*/ 0 w 259"/>
                  <a:gd name="T95" fmla="*/ 0 h 124"/>
                  <a:gd name="T96" fmla="*/ 0 w 259"/>
                  <a:gd name="T97" fmla="*/ 0 h 124"/>
                  <a:gd name="T98" fmla="*/ 0 w 259"/>
                  <a:gd name="T99" fmla="*/ 0 h 124"/>
                  <a:gd name="T100" fmla="*/ 0 w 259"/>
                  <a:gd name="T101" fmla="*/ 0 h 124"/>
                  <a:gd name="T102" fmla="*/ 0 w 259"/>
                  <a:gd name="T103" fmla="*/ 0 h 124"/>
                  <a:gd name="T104" fmla="*/ 0 w 259"/>
                  <a:gd name="T105" fmla="*/ 0 h 124"/>
                  <a:gd name="T106" fmla="*/ 0 w 259"/>
                  <a:gd name="T107" fmla="*/ 0 h 124"/>
                  <a:gd name="T108" fmla="*/ 0 w 259"/>
                  <a:gd name="T109" fmla="*/ 0 h 124"/>
                  <a:gd name="T110" fmla="*/ 0 w 259"/>
                  <a:gd name="T111" fmla="*/ 0 h 124"/>
                  <a:gd name="T112" fmla="*/ 0 w 259"/>
                  <a:gd name="T113" fmla="*/ 0 h 124"/>
                  <a:gd name="T114" fmla="*/ 0 w 259"/>
                  <a:gd name="T115" fmla="*/ 0 h 124"/>
                  <a:gd name="T116" fmla="*/ 0 w 259"/>
                  <a:gd name="T117" fmla="*/ 0 h 124"/>
                  <a:gd name="T118" fmla="*/ 0 w 259"/>
                  <a:gd name="T119" fmla="*/ 0 h 124"/>
                  <a:gd name="T120" fmla="*/ 0 w 259"/>
                  <a:gd name="T121" fmla="*/ 0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59"/>
                  <a:gd name="T184" fmla="*/ 0 h 124"/>
                  <a:gd name="T185" fmla="*/ 259 w 259"/>
                  <a:gd name="T186" fmla="*/ 124 h 12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73" name="Freeform 987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0 h 57"/>
                  <a:gd name="T2" fmla="*/ 0 w 119"/>
                  <a:gd name="T3" fmla="*/ 0 h 57"/>
                  <a:gd name="T4" fmla="*/ 0 w 119"/>
                  <a:gd name="T5" fmla="*/ 0 h 57"/>
                  <a:gd name="T6" fmla="*/ 0 w 119"/>
                  <a:gd name="T7" fmla="*/ 0 h 57"/>
                  <a:gd name="T8" fmla="*/ 0 w 119"/>
                  <a:gd name="T9" fmla="*/ 0 h 57"/>
                  <a:gd name="T10" fmla="*/ 0 w 119"/>
                  <a:gd name="T11" fmla="*/ 0 h 57"/>
                  <a:gd name="T12" fmla="*/ 0 w 119"/>
                  <a:gd name="T13" fmla="*/ 0 h 57"/>
                  <a:gd name="T14" fmla="*/ 0 w 119"/>
                  <a:gd name="T15" fmla="*/ 0 h 57"/>
                  <a:gd name="T16" fmla="*/ 0 w 119"/>
                  <a:gd name="T17" fmla="*/ 0 h 57"/>
                  <a:gd name="T18" fmla="*/ 0 w 119"/>
                  <a:gd name="T19" fmla="*/ 0 h 57"/>
                  <a:gd name="T20" fmla="*/ 0 w 119"/>
                  <a:gd name="T21" fmla="*/ 0 h 57"/>
                  <a:gd name="T22" fmla="*/ 0 w 119"/>
                  <a:gd name="T23" fmla="*/ 0 h 57"/>
                  <a:gd name="T24" fmla="*/ 0 w 119"/>
                  <a:gd name="T25" fmla="*/ 0 h 57"/>
                  <a:gd name="T26" fmla="*/ 0 w 119"/>
                  <a:gd name="T27" fmla="*/ 0 h 57"/>
                  <a:gd name="T28" fmla="*/ 0 w 119"/>
                  <a:gd name="T29" fmla="*/ 0 h 57"/>
                  <a:gd name="T30" fmla="*/ 0 w 119"/>
                  <a:gd name="T31" fmla="*/ 0 h 57"/>
                  <a:gd name="T32" fmla="*/ 0 w 119"/>
                  <a:gd name="T33" fmla="*/ 0 h 57"/>
                  <a:gd name="T34" fmla="*/ 0 w 119"/>
                  <a:gd name="T35" fmla="*/ 0 h 57"/>
                  <a:gd name="T36" fmla="*/ 0 w 119"/>
                  <a:gd name="T37" fmla="*/ 0 h 57"/>
                  <a:gd name="T38" fmla="*/ 0 w 119"/>
                  <a:gd name="T39" fmla="*/ 0 h 57"/>
                  <a:gd name="T40" fmla="*/ 0 w 119"/>
                  <a:gd name="T41" fmla="*/ 0 h 57"/>
                  <a:gd name="T42" fmla="*/ 0 w 119"/>
                  <a:gd name="T43" fmla="*/ 0 h 57"/>
                  <a:gd name="T44" fmla="*/ 0 w 119"/>
                  <a:gd name="T45" fmla="*/ 0 h 57"/>
                  <a:gd name="T46" fmla="*/ 0 w 119"/>
                  <a:gd name="T47" fmla="*/ 0 h 57"/>
                  <a:gd name="T48" fmla="*/ 0 w 119"/>
                  <a:gd name="T49" fmla="*/ 0 h 57"/>
                  <a:gd name="T50" fmla="*/ 0 w 119"/>
                  <a:gd name="T51" fmla="*/ 0 h 57"/>
                  <a:gd name="T52" fmla="*/ 0 w 119"/>
                  <a:gd name="T53" fmla="*/ 0 h 57"/>
                  <a:gd name="T54" fmla="*/ 0 w 119"/>
                  <a:gd name="T55" fmla="*/ 0 h 57"/>
                  <a:gd name="T56" fmla="*/ 0 w 119"/>
                  <a:gd name="T57" fmla="*/ 0 h 57"/>
                  <a:gd name="T58" fmla="*/ 0 w 119"/>
                  <a:gd name="T59" fmla="*/ 0 h 57"/>
                  <a:gd name="T60" fmla="*/ 0 w 119"/>
                  <a:gd name="T61" fmla="*/ 0 h 57"/>
                  <a:gd name="T62" fmla="*/ 0 w 119"/>
                  <a:gd name="T63" fmla="*/ 0 h 57"/>
                  <a:gd name="T64" fmla="*/ 0 w 119"/>
                  <a:gd name="T65" fmla="*/ 0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19"/>
                  <a:gd name="T100" fmla="*/ 0 h 57"/>
                  <a:gd name="T101" fmla="*/ 119 w 119"/>
                  <a:gd name="T102" fmla="*/ 57 h 5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74" name="Freeform 988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0 h 52"/>
                  <a:gd name="T2" fmla="*/ 0 w 107"/>
                  <a:gd name="T3" fmla="*/ 0 h 52"/>
                  <a:gd name="T4" fmla="*/ 0 w 107"/>
                  <a:gd name="T5" fmla="*/ 0 h 52"/>
                  <a:gd name="T6" fmla="*/ 0 w 107"/>
                  <a:gd name="T7" fmla="*/ 0 h 52"/>
                  <a:gd name="T8" fmla="*/ 0 w 107"/>
                  <a:gd name="T9" fmla="*/ 0 h 52"/>
                  <a:gd name="T10" fmla="*/ 0 w 107"/>
                  <a:gd name="T11" fmla="*/ 0 h 52"/>
                  <a:gd name="T12" fmla="*/ 0 w 107"/>
                  <a:gd name="T13" fmla="*/ 0 h 52"/>
                  <a:gd name="T14" fmla="*/ 0 w 107"/>
                  <a:gd name="T15" fmla="*/ 0 h 52"/>
                  <a:gd name="T16" fmla="*/ 0 w 107"/>
                  <a:gd name="T17" fmla="*/ 0 h 52"/>
                  <a:gd name="T18" fmla="*/ 0 w 107"/>
                  <a:gd name="T19" fmla="*/ 0 h 52"/>
                  <a:gd name="T20" fmla="*/ 0 w 107"/>
                  <a:gd name="T21" fmla="*/ 0 h 52"/>
                  <a:gd name="T22" fmla="*/ 0 w 107"/>
                  <a:gd name="T23" fmla="*/ 0 h 52"/>
                  <a:gd name="T24" fmla="*/ 0 w 107"/>
                  <a:gd name="T25" fmla="*/ 0 h 52"/>
                  <a:gd name="T26" fmla="*/ 0 w 107"/>
                  <a:gd name="T27" fmla="*/ 0 h 52"/>
                  <a:gd name="T28" fmla="*/ 0 w 107"/>
                  <a:gd name="T29" fmla="*/ 0 h 52"/>
                  <a:gd name="T30" fmla="*/ 0 w 107"/>
                  <a:gd name="T31" fmla="*/ 0 h 52"/>
                  <a:gd name="T32" fmla="*/ 0 w 107"/>
                  <a:gd name="T33" fmla="*/ 0 h 52"/>
                  <a:gd name="T34" fmla="*/ 0 w 107"/>
                  <a:gd name="T35" fmla="*/ 0 h 52"/>
                  <a:gd name="T36" fmla="*/ 0 w 107"/>
                  <a:gd name="T37" fmla="*/ 0 h 52"/>
                  <a:gd name="T38" fmla="*/ 0 w 107"/>
                  <a:gd name="T39" fmla="*/ 0 h 52"/>
                  <a:gd name="T40" fmla="*/ 0 w 107"/>
                  <a:gd name="T41" fmla="*/ 0 h 52"/>
                  <a:gd name="T42" fmla="*/ 0 w 107"/>
                  <a:gd name="T43" fmla="*/ 0 h 52"/>
                  <a:gd name="T44" fmla="*/ 0 w 107"/>
                  <a:gd name="T45" fmla="*/ 0 h 52"/>
                  <a:gd name="T46" fmla="*/ 0 w 107"/>
                  <a:gd name="T47" fmla="*/ 0 h 52"/>
                  <a:gd name="T48" fmla="*/ 0 w 107"/>
                  <a:gd name="T49" fmla="*/ 0 h 52"/>
                  <a:gd name="T50" fmla="*/ 0 w 107"/>
                  <a:gd name="T51" fmla="*/ 0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07"/>
                  <a:gd name="T79" fmla="*/ 0 h 52"/>
                  <a:gd name="T80" fmla="*/ 107 w 107"/>
                  <a:gd name="T81" fmla="*/ 52 h 5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75" name="Freeform 989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0 w 246"/>
                  <a:gd name="T1" fmla="*/ 0 h 99"/>
                  <a:gd name="T2" fmla="*/ 0 w 246"/>
                  <a:gd name="T3" fmla="*/ 0 h 99"/>
                  <a:gd name="T4" fmla="*/ 0 w 246"/>
                  <a:gd name="T5" fmla="*/ 0 h 99"/>
                  <a:gd name="T6" fmla="*/ 0 w 246"/>
                  <a:gd name="T7" fmla="*/ 0 h 99"/>
                  <a:gd name="T8" fmla="*/ 0 w 246"/>
                  <a:gd name="T9" fmla="*/ 0 h 99"/>
                  <a:gd name="T10" fmla="*/ 0 w 246"/>
                  <a:gd name="T11" fmla="*/ 0 h 99"/>
                  <a:gd name="T12" fmla="*/ 0 w 246"/>
                  <a:gd name="T13" fmla="*/ 0 h 99"/>
                  <a:gd name="T14" fmla="*/ 0 w 246"/>
                  <a:gd name="T15" fmla="*/ 0 h 99"/>
                  <a:gd name="T16" fmla="*/ 0 w 246"/>
                  <a:gd name="T17" fmla="*/ 0 h 99"/>
                  <a:gd name="T18" fmla="*/ 0 w 246"/>
                  <a:gd name="T19" fmla="*/ 0 h 99"/>
                  <a:gd name="T20" fmla="*/ 0 w 246"/>
                  <a:gd name="T21" fmla="*/ 0 h 99"/>
                  <a:gd name="T22" fmla="*/ 0 w 246"/>
                  <a:gd name="T23" fmla="*/ 0 h 99"/>
                  <a:gd name="T24" fmla="*/ 0 w 246"/>
                  <a:gd name="T25" fmla="*/ 0 h 99"/>
                  <a:gd name="T26" fmla="*/ 0 w 246"/>
                  <a:gd name="T27" fmla="*/ 0 h 99"/>
                  <a:gd name="T28" fmla="*/ 0 w 246"/>
                  <a:gd name="T29" fmla="*/ 0 h 99"/>
                  <a:gd name="T30" fmla="*/ 0 w 246"/>
                  <a:gd name="T31" fmla="*/ 0 h 99"/>
                  <a:gd name="T32" fmla="*/ 0 w 246"/>
                  <a:gd name="T33" fmla="*/ 0 h 99"/>
                  <a:gd name="T34" fmla="*/ 0 w 246"/>
                  <a:gd name="T35" fmla="*/ 0 h 99"/>
                  <a:gd name="T36" fmla="*/ 0 w 246"/>
                  <a:gd name="T37" fmla="*/ 0 h 99"/>
                  <a:gd name="T38" fmla="*/ 0 w 246"/>
                  <a:gd name="T39" fmla="*/ 0 h 99"/>
                  <a:gd name="T40" fmla="*/ 0 w 246"/>
                  <a:gd name="T41" fmla="*/ 0 h 99"/>
                  <a:gd name="T42" fmla="*/ 0 w 246"/>
                  <a:gd name="T43" fmla="*/ 0 h 99"/>
                  <a:gd name="T44" fmla="*/ 0 w 246"/>
                  <a:gd name="T45" fmla="*/ 0 h 99"/>
                  <a:gd name="T46" fmla="*/ 0 w 246"/>
                  <a:gd name="T47" fmla="*/ 0 h 99"/>
                  <a:gd name="T48" fmla="*/ 0 w 246"/>
                  <a:gd name="T49" fmla="*/ 0 h 99"/>
                  <a:gd name="T50" fmla="*/ 0 w 246"/>
                  <a:gd name="T51" fmla="*/ 0 h 99"/>
                  <a:gd name="T52" fmla="*/ 0 w 246"/>
                  <a:gd name="T53" fmla="*/ 0 h 99"/>
                  <a:gd name="T54" fmla="*/ 0 w 246"/>
                  <a:gd name="T55" fmla="*/ 0 h 99"/>
                  <a:gd name="T56" fmla="*/ 0 w 246"/>
                  <a:gd name="T57" fmla="*/ 0 h 99"/>
                  <a:gd name="T58" fmla="*/ 0 w 246"/>
                  <a:gd name="T59" fmla="*/ 0 h 99"/>
                  <a:gd name="T60" fmla="*/ 0 w 246"/>
                  <a:gd name="T61" fmla="*/ 0 h 99"/>
                  <a:gd name="T62" fmla="*/ 0 w 246"/>
                  <a:gd name="T63" fmla="*/ 0 h 99"/>
                  <a:gd name="T64" fmla="*/ 0 w 246"/>
                  <a:gd name="T65" fmla="*/ 0 h 99"/>
                  <a:gd name="T66" fmla="*/ 0 w 246"/>
                  <a:gd name="T67" fmla="*/ 0 h 99"/>
                  <a:gd name="T68" fmla="*/ 0 w 246"/>
                  <a:gd name="T69" fmla="*/ 0 h 99"/>
                  <a:gd name="T70" fmla="*/ 0 w 246"/>
                  <a:gd name="T71" fmla="*/ 0 h 99"/>
                  <a:gd name="T72" fmla="*/ 0 w 246"/>
                  <a:gd name="T73" fmla="*/ 0 h 99"/>
                  <a:gd name="T74" fmla="*/ 0 w 246"/>
                  <a:gd name="T75" fmla="*/ 0 h 99"/>
                  <a:gd name="T76" fmla="*/ 0 w 246"/>
                  <a:gd name="T77" fmla="*/ 0 h 99"/>
                  <a:gd name="T78" fmla="*/ 0 w 246"/>
                  <a:gd name="T79" fmla="*/ 0 h 99"/>
                  <a:gd name="T80" fmla="*/ 0 w 246"/>
                  <a:gd name="T81" fmla="*/ 0 h 99"/>
                  <a:gd name="T82" fmla="*/ 0 w 246"/>
                  <a:gd name="T83" fmla="*/ 0 h 99"/>
                  <a:gd name="T84" fmla="*/ 0 w 246"/>
                  <a:gd name="T85" fmla="*/ 0 h 99"/>
                  <a:gd name="T86" fmla="*/ 0 w 246"/>
                  <a:gd name="T87" fmla="*/ 0 h 99"/>
                  <a:gd name="T88" fmla="*/ 0 w 246"/>
                  <a:gd name="T89" fmla="*/ 0 h 99"/>
                  <a:gd name="T90" fmla="*/ 0 w 246"/>
                  <a:gd name="T91" fmla="*/ 0 h 99"/>
                  <a:gd name="T92" fmla="*/ 0 w 246"/>
                  <a:gd name="T93" fmla="*/ 0 h 99"/>
                  <a:gd name="T94" fmla="*/ 0 w 246"/>
                  <a:gd name="T95" fmla="*/ 0 h 99"/>
                  <a:gd name="T96" fmla="*/ 0 w 246"/>
                  <a:gd name="T97" fmla="*/ 0 h 99"/>
                  <a:gd name="T98" fmla="*/ 0 w 246"/>
                  <a:gd name="T99" fmla="*/ 0 h 99"/>
                  <a:gd name="T100" fmla="*/ 0 w 246"/>
                  <a:gd name="T101" fmla="*/ 0 h 99"/>
                  <a:gd name="T102" fmla="*/ 0 w 246"/>
                  <a:gd name="T103" fmla="*/ 0 h 99"/>
                  <a:gd name="T104" fmla="*/ 0 w 246"/>
                  <a:gd name="T105" fmla="*/ 0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99"/>
                  <a:gd name="T161" fmla="*/ 246 w 246"/>
                  <a:gd name="T162" fmla="*/ 99 h 9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76" name="Freeform 990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0 w 233"/>
                  <a:gd name="T1" fmla="*/ 0 h 123"/>
                  <a:gd name="T2" fmla="*/ 0 w 233"/>
                  <a:gd name="T3" fmla="*/ 0 h 123"/>
                  <a:gd name="T4" fmla="*/ 0 w 233"/>
                  <a:gd name="T5" fmla="*/ 0 h 123"/>
                  <a:gd name="T6" fmla="*/ 0 w 233"/>
                  <a:gd name="T7" fmla="*/ 0 h 123"/>
                  <a:gd name="T8" fmla="*/ 0 w 233"/>
                  <a:gd name="T9" fmla="*/ 0 h 123"/>
                  <a:gd name="T10" fmla="*/ 0 w 233"/>
                  <a:gd name="T11" fmla="*/ 0 h 123"/>
                  <a:gd name="T12" fmla="*/ 0 w 233"/>
                  <a:gd name="T13" fmla="*/ 0 h 123"/>
                  <a:gd name="T14" fmla="*/ 0 w 233"/>
                  <a:gd name="T15" fmla="*/ 0 h 123"/>
                  <a:gd name="T16" fmla="*/ 0 w 233"/>
                  <a:gd name="T17" fmla="*/ 0 h 123"/>
                  <a:gd name="T18" fmla="*/ 0 w 233"/>
                  <a:gd name="T19" fmla="*/ 0 h 123"/>
                  <a:gd name="T20" fmla="*/ 0 w 233"/>
                  <a:gd name="T21" fmla="*/ 0 h 123"/>
                  <a:gd name="T22" fmla="*/ 0 w 233"/>
                  <a:gd name="T23" fmla="*/ 0 h 123"/>
                  <a:gd name="T24" fmla="*/ 0 w 233"/>
                  <a:gd name="T25" fmla="*/ 0 h 123"/>
                  <a:gd name="T26" fmla="*/ 0 w 233"/>
                  <a:gd name="T27" fmla="*/ 0 h 123"/>
                  <a:gd name="T28" fmla="*/ 0 w 233"/>
                  <a:gd name="T29" fmla="*/ 0 h 123"/>
                  <a:gd name="T30" fmla="*/ 0 w 233"/>
                  <a:gd name="T31" fmla="*/ 0 h 123"/>
                  <a:gd name="T32" fmla="*/ 0 w 233"/>
                  <a:gd name="T33" fmla="*/ 0 h 123"/>
                  <a:gd name="T34" fmla="*/ 0 w 233"/>
                  <a:gd name="T35" fmla="*/ 0 h 123"/>
                  <a:gd name="T36" fmla="*/ 0 w 233"/>
                  <a:gd name="T37" fmla="*/ 0 h 123"/>
                  <a:gd name="T38" fmla="*/ 0 w 233"/>
                  <a:gd name="T39" fmla="*/ 0 h 123"/>
                  <a:gd name="T40" fmla="*/ 0 w 233"/>
                  <a:gd name="T41" fmla="*/ 0 h 123"/>
                  <a:gd name="T42" fmla="*/ 0 w 233"/>
                  <a:gd name="T43" fmla="*/ 0 h 123"/>
                  <a:gd name="T44" fmla="*/ 0 w 233"/>
                  <a:gd name="T45" fmla="*/ 0 h 123"/>
                  <a:gd name="T46" fmla="*/ 0 w 233"/>
                  <a:gd name="T47" fmla="*/ 0 h 123"/>
                  <a:gd name="T48" fmla="*/ 0 w 233"/>
                  <a:gd name="T49" fmla="*/ 0 h 123"/>
                  <a:gd name="T50" fmla="*/ 0 w 233"/>
                  <a:gd name="T51" fmla="*/ 0 h 123"/>
                  <a:gd name="T52" fmla="*/ 0 w 233"/>
                  <a:gd name="T53" fmla="*/ 0 h 123"/>
                  <a:gd name="T54" fmla="*/ 0 w 233"/>
                  <a:gd name="T55" fmla="*/ 0 h 123"/>
                  <a:gd name="T56" fmla="*/ 0 w 233"/>
                  <a:gd name="T57" fmla="*/ 0 h 123"/>
                  <a:gd name="T58" fmla="*/ 0 w 233"/>
                  <a:gd name="T59" fmla="*/ 0 h 123"/>
                  <a:gd name="T60" fmla="*/ 0 w 233"/>
                  <a:gd name="T61" fmla="*/ 0 h 123"/>
                  <a:gd name="T62" fmla="*/ 0 w 233"/>
                  <a:gd name="T63" fmla="*/ 0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33"/>
                  <a:gd name="T97" fmla="*/ 0 h 123"/>
                  <a:gd name="T98" fmla="*/ 233 w 233"/>
                  <a:gd name="T99" fmla="*/ 123 h 123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77" name="Freeform 991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0 h 172"/>
                  <a:gd name="T2" fmla="*/ 0 w 484"/>
                  <a:gd name="T3" fmla="*/ 0 h 172"/>
                  <a:gd name="T4" fmla="*/ 0 w 484"/>
                  <a:gd name="T5" fmla="*/ 0 h 172"/>
                  <a:gd name="T6" fmla="*/ 0 w 484"/>
                  <a:gd name="T7" fmla="*/ 0 h 172"/>
                  <a:gd name="T8" fmla="*/ 0 w 484"/>
                  <a:gd name="T9" fmla="*/ 0 h 172"/>
                  <a:gd name="T10" fmla="*/ 0 w 484"/>
                  <a:gd name="T11" fmla="*/ 0 h 172"/>
                  <a:gd name="T12" fmla="*/ 0 w 484"/>
                  <a:gd name="T13" fmla="*/ 0 h 172"/>
                  <a:gd name="T14" fmla="*/ 0 w 484"/>
                  <a:gd name="T15" fmla="*/ 0 h 172"/>
                  <a:gd name="T16" fmla="*/ 0 w 484"/>
                  <a:gd name="T17" fmla="*/ 0 h 172"/>
                  <a:gd name="T18" fmla="*/ 0 w 484"/>
                  <a:gd name="T19" fmla="*/ 0 h 172"/>
                  <a:gd name="T20" fmla="*/ 0 w 484"/>
                  <a:gd name="T21" fmla="*/ 0 h 172"/>
                  <a:gd name="T22" fmla="*/ 0 w 484"/>
                  <a:gd name="T23" fmla="*/ 0 h 172"/>
                  <a:gd name="T24" fmla="*/ 0 w 484"/>
                  <a:gd name="T25" fmla="*/ 0 h 172"/>
                  <a:gd name="T26" fmla="*/ 0 w 484"/>
                  <a:gd name="T27" fmla="*/ 0 h 172"/>
                  <a:gd name="T28" fmla="*/ 0 w 484"/>
                  <a:gd name="T29" fmla="*/ 0 h 172"/>
                  <a:gd name="T30" fmla="*/ 0 w 484"/>
                  <a:gd name="T31" fmla="*/ 0 h 172"/>
                  <a:gd name="T32" fmla="*/ 0 w 484"/>
                  <a:gd name="T33" fmla="*/ 0 h 172"/>
                  <a:gd name="T34" fmla="*/ 0 w 484"/>
                  <a:gd name="T35" fmla="*/ 0 h 172"/>
                  <a:gd name="T36" fmla="*/ 0 w 484"/>
                  <a:gd name="T37" fmla="*/ 0 h 172"/>
                  <a:gd name="T38" fmla="*/ 0 w 484"/>
                  <a:gd name="T39" fmla="*/ 0 h 172"/>
                  <a:gd name="T40" fmla="*/ 0 w 484"/>
                  <a:gd name="T41" fmla="*/ 0 h 172"/>
                  <a:gd name="T42" fmla="*/ 0 w 484"/>
                  <a:gd name="T43" fmla="*/ 0 h 172"/>
                  <a:gd name="T44" fmla="*/ 0 w 484"/>
                  <a:gd name="T45" fmla="*/ 0 h 172"/>
                  <a:gd name="T46" fmla="*/ 0 w 484"/>
                  <a:gd name="T47" fmla="*/ 0 h 172"/>
                  <a:gd name="T48" fmla="*/ 0 w 484"/>
                  <a:gd name="T49" fmla="*/ 0 h 172"/>
                  <a:gd name="T50" fmla="*/ 0 w 484"/>
                  <a:gd name="T51" fmla="*/ 0 h 172"/>
                  <a:gd name="T52" fmla="*/ 0 w 484"/>
                  <a:gd name="T53" fmla="*/ 0 h 172"/>
                  <a:gd name="T54" fmla="*/ 0 w 484"/>
                  <a:gd name="T55" fmla="*/ 0 h 172"/>
                  <a:gd name="T56" fmla="*/ 0 w 484"/>
                  <a:gd name="T57" fmla="*/ 0 h 172"/>
                  <a:gd name="T58" fmla="*/ 0 w 484"/>
                  <a:gd name="T59" fmla="*/ 0 h 172"/>
                  <a:gd name="T60" fmla="*/ 0 w 484"/>
                  <a:gd name="T61" fmla="*/ 0 h 172"/>
                  <a:gd name="T62" fmla="*/ 0 w 484"/>
                  <a:gd name="T63" fmla="*/ 0 h 172"/>
                  <a:gd name="T64" fmla="*/ 0 w 484"/>
                  <a:gd name="T65" fmla="*/ 0 h 172"/>
                  <a:gd name="T66" fmla="*/ 0 w 484"/>
                  <a:gd name="T67" fmla="*/ 0 h 172"/>
                  <a:gd name="T68" fmla="*/ 0 w 484"/>
                  <a:gd name="T69" fmla="*/ 0 h 172"/>
                  <a:gd name="T70" fmla="*/ 0 w 484"/>
                  <a:gd name="T71" fmla="*/ 0 h 172"/>
                  <a:gd name="T72" fmla="*/ 0 w 484"/>
                  <a:gd name="T73" fmla="*/ 0 h 172"/>
                  <a:gd name="T74" fmla="*/ 0 w 484"/>
                  <a:gd name="T75" fmla="*/ 0 h 172"/>
                  <a:gd name="T76" fmla="*/ 0 w 484"/>
                  <a:gd name="T77" fmla="*/ 0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484"/>
                  <a:gd name="T118" fmla="*/ 0 h 172"/>
                  <a:gd name="T119" fmla="*/ 484 w 484"/>
                  <a:gd name="T120" fmla="*/ 172 h 172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78" name="Freeform 992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0 w 684"/>
                  <a:gd name="T1" fmla="*/ 0 h 240"/>
                  <a:gd name="T2" fmla="*/ 0 w 684"/>
                  <a:gd name="T3" fmla="*/ 0 h 240"/>
                  <a:gd name="T4" fmla="*/ 0 w 684"/>
                  <a:gd name="T5" fmla="*/ 0 h 240"/>
                  <a:gd name="T6" fmla="*/ 0 w 684"/>
                  <a:gd name="T7" fmla="*/ 0 h 240"/>
                  <a:gd name="T8" fmla="*/ 0 w 684"/>
                  <a:gd name="T9" fmla="*/ 0 h 240"/>
                  <a:gd name="T10" fmla="*/ 0 w 684"/>
                  <a:gd name="T11" fmla="*/ 0 h 240"/>
                  <a:gd name="T12" fmla="*/ 0 w 684"/>
                  <a:gd name="T13" fmla="*/ 0 h 240"/>
                  <a:gd name="T14" fmla="*/ 0 w 684"/>
                  <a:gd name="T15" fmla="*/ 0 h 240"/>
                  <a:gd name="T16" fmla="*/ 0 w 684"/>
                  <a:gd name="T17" fmla="*/ 0 h 240"/>
                  <a:gd name="T18" fmla="*/ 0 w 684"/>
                  <a:gd name="T19" fmla="*/ 0 h 240"/>
                  <a:gd name="T20" fmla="*/ 0 w 684"/>
                  <a:gd name="T21" fmla="*/ 0 h 240"/>
                  <a:gd name="T22" fmla="*/ 0 w 684"/>
                  <a:gd name="T23" fmla="*/ 0 h 240"/>
                  <a:gd name="T24" fmla="*/ 0 w 684"/>
                  <a:gd name="T25" fmla="*/ 0 h 240"/>
                  <a:gd name="T26" fmla="*/ 0 w 684"/>
                  <a:gd name="T27" fmla="*/ 0 h 240"/>
                  <a:gd name="T28" fmla="*/ 0 w 684"/>
                  <a:gd name="T29" fmla="*/ 0 h 240"/>
                  <a:gd name="T30" fmla="*/ 0 w 684"/>
                  <a:gd name="T31" fmla="*/ 0 h 240"/>
                  <a:gd name="T32" fmla="*/ 0 w 684"/>
                  <a:gd name="T33" fmla="*/ 0 h 240"/>
                  <a:gd name="T34" fmla="*/ 0 w 684"/>
                  <a:gd name="T35" fmla="*/ 0 h 240"/>
                  <a:gd name="T36" fmla="*/ 0 w 684"/>
                  <a:gd name="T37" fmla="*/ 0 h 240"/>
                  <a:gd name="T38" fmla="*/ 0 w 684"/>
                  <a:gd name="T39" fmla="*/ 0 h 240"/>
                  <a:gd name="T40" fmla="*/ 0 w 684"/>
                  <a:gd name="T41" fmla="*/ 0 h 240"/>
                  <a:gd name="T42" fmla="*/ 0 w 684"/>
                  <a:gd name="T43" fmla="*/ 0 h 240"/>
                  <a:gd name="T44" fmla="*/ 0 w 684"/>
                  <a:gd name="T45" fmla="*/ 0 h 240"/>
                  <a:gd name="T46" fmla="*/ 0 w 684"/>
                  <a:gd name="T47" fmla="*/ 0 h 240"/>
                  <a:gd name="T48" fmla="*/ 0 w 684"/>
                  <a:gd name="T49" fmla="*/ 0 h 240"/>
                  <a:gd name="T50" fmla="*/ 0 w 684"/>
                  <a:gd name="T51" fmla="*/ 0 h 240"/>
                  <a:gd name="T52" fmla="*/ 0 w 684"/>
                  <a:gd name="T53" fmla="*/ 0 h 240"/>
                  <a:gd name="T54" fmla="*/ 0 w 684"/>
                  <a:gd name="T55" fmla="*/ 0 h 240"/>
                  <a:gd name="T56" fmla="*/ 0 w 684"/>
                  <a:gd name="T57" fmla="*/ 0 h 240"/>
                  <a:gd name="T58" fmla="*/ 0 w 684"/>
                  <a:gd name="T59" fmla="*/ 0 h 240"/>
                  <a:gd name="T60" fmla="*/ 0 w 684"/>
                  <a:gd name="T61" fmla="*/ 0 h 240"/>
                  <a:gd name="T62" fmla="*/ 0 w 684"/>
                  <a:gd name="T63" fmla="*/ 0 h 240"/>
                  <a:gd name="T64" fmla="*/ 0 w 684"/>
                  <a:gd name="T65" fmla="*/ 0 h 240"/>
                  <a:gd name="T66" fmla="*/ 0 w 684"/>
                  <a:gd name="T67" fmla="*/ 0 h 240"/>
                  <a:gd name="T68" fmla="*/ 0 w 684"/>
                  <a:gd name="T69" fmla="*/ 0 h 240"/>
                  <a:gd name="T70" fmla="*/ 0 w 684"/>
                  <a:gd name="T71" fmla="*/ 0 h 240"/>
                  <a:gd name="T72" fmla="*/ 0 w 684"/>
                  <a:gd name="T73" fmla="*/ 0 h 240"/>
                  <a:gd name="T74" fmla="*/ 0 w 684"/>
                  <a:gd name="T75" fmla="*/ 0 h 240"/>
                  <a:gd name="T76" fmla="*/ 0 w 684"/>
                  <a:gd name="T77" fmla="*/ 0 h 240"/>
                  <a:gd name="T78" fmla="*/ 0 w 684"/>
                  <a:gd name="T79" fmla="*/ 0 h 240"/>
                  <a:gd name="T80" fmla="*/ 0 w 684"/>
                  <a:gd name="T81" fmla="*/ 0 h 240"/>
                  <a:gd name="T82" fmla="*/ 0 w 684"/>
                  <a:gd name="T83" fmla="*/ 0 h 240"/>
                  <a:gd name="T84" fmla="*/ 0 w 684"/>
                  <a:gd name="T85" fmla="*/ 0 h 240"/>
                  <a:gd name="T86" fmla="*/ 0 w 684"/>
                  <a:gd name="T87" fmla="*/ 0 h 240"/>
                  <a:gd name="T88" fmla="*/ 0 w 684"/>
                  <a:gd name="T89" fmla="*/ 0 h 240"/>
                  <a:gd name="T90" fmla="*/ 0 w 684"/>
                  <a:gd name="T91" fmla="*/ 0 h 240"/>
                  <a:gd name="T92" fmla="*/ 0 w 684"/>
                  <a:gd name="T93" fmla="*/ 0 h 240"/>
                  <a:gd name="T94" fmla="*/ 0 w 684"/>
                  <a:gd name="T95" fmla="*/ 0 h 240"/>
                  <a:gd name="T96" fmla="*/ 0 w 684"/>
                  <a:gd name="T97" fmla="*/ 0 h 240"/>
                  <a:gd name="T98" fmla="*/ 0 w 684"/>
                  <a:gd name="T99" fmla="*/ 0 h 240"/>
                  <a:gd name="T100" fmla="*/ 0 w 684"/>
                  <a:gd name="T101" fmla="*/ 0 h 240"/>
                  <a:gd name="T102" fmla="*/ 0 w 684"/>
                  <a:gd name="T103" fmla="*/ 0 h 240"/>
                  <a:gd name="T104" fmla="*/ 0 w 684"/>
                  <a:gd name="T105" fmla="*/ 0 h 240"/>
                  <a:gd name="T106" fmla="*/ 0 w 684"/>
                  <a:gd name="T107" fmla="*/ 0 h 240"/>
                  <a:gd name="T108" fmla="*/ 0 w 684"/>
                  <a:gd name="T109" fmla="*/ 0 h 240"/>
                  <a:gd name="T110" fmla="*/ 0 w 684"/>
                  <a:gd name="T111" fmla="*/ 0 h 240"/>
                  <a:gd name="T112" fmla="*/ 0 w 684"/>
                  <a:gd name="T113" fmla="*/ 0 h 240"/>
                  <a:gd name="T114" fmla="*/ 0 w 684"/>
                  <a:gd name="T115" fmla="*/ 0 h 240"/>
                  <a:gd name="T116" fmla="*/ 0 w 684"/>
                  <a:gd name="T117" fmla="*/ 0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84"/>
                  <a:gd name="T178" fmla="*/ 0 h 240"/>
                  <a:gd name="T179" fmla="*/ 684 w 684"/>
                  <a:gd name="T180" fmla="*/ 240 h 24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79" name="Freeform 993"/>
              <p:cNvSpPr>
                <a:spLocks/>
              </p:cNvSpPr>
              <p:nvPr/>
            </p:nvSpPr>
            <p:spPr bwMode="auto">
              <a:xfrm>
                <a:off x="1645" y="1643"/>
                <a:ext cx="108" cy="85"/>
              </a:xfrm>
              <a:custGeom>
                <a:avLst/>
                <a:gdLst>
                  <a:gd name="T0" fmla="*/ 0 w 332"/>
                  <a:gd name="T1" fmla="*/ 0 h 287"/>
                  <a:gd name="T2" fmla="*/ 0 w 332"/>
                  <a:gd name="T3" fmla="*/ 0 h 287"/>
                  <a:gd name="T4" fmla="*/ 0 w 332"/>
                  <a:gd name="T5" fmla="*/ 0 h 287"/>
                  <a:gd name="T6" fmla="*/ 0 w 332"/>
                  <a:gd name="T7" fmla="*/ 0 h 287"/>
                  <a:gd name="T8" fmla="*/ 0 w 332"/>
                  <a:gd name="T9" fmla="*/ 0 h 287"/>
                  <a:gd name="T10" fmla="*/ 0 w 332"/>
                  <a:gd name="T11" fmla="*/ 0 h 287"/>
                  <a:gd name="T12" fmla="*/ 0 w 332"/>
                  <a:gd name="T13" fmla="*/ 0 h 287"/>
                  <a:gd name="T14" fmla="*/ 0 w 332"/>
                  <a:gd name="T15" fmla="*/ 0 h 287"/>
                  <a:gd name="T16" fmla="*/ 0 w 332"/>
                  <a:gd name="T17" fmla="*/ 0 h 287"/>
                  <a:gd name="T18" fmla="*/ 0 w 332"/>
                  <a:gd name="T19" fmla="*/ 0 h 287"/>
                  <a:gd name="T20" fmla="*/ 0 w 332"/>
                  <a:gd name="T21" fmla="*/ 0 h 287"/>
                  <a:gd name="T22" fmla="*/ 0 w 332"/>
                  <a:gd name="T23" fmla="*/ 0 h 287"/>
                  <a:gd name="T24" fmla="*/ 0 w 332"/>
                  <a:gd name="T25" fmla="*/ 0 h 287"/>
                  <a:gd name="T26" fmla="*/ 0 w 332"/>
                  <a:gd name="T27" fmla="*/ 0 h 287"/>
                  <a:gd name="T28" fmla="*/ 0 w 332"/>
                  <a:gd name="T29" fmla="*/ 0 h 287"/>
                  <a:gd name="T30" fmla="*/ 0 w 332"/>
                  <a:gd name="T31" fmla="*/ 0 h 287"/>
                  <a:gd name="T32" fmla="*/ 0 w 332"/>
                  <a:gd name="T33" fmla="*/ 0 h 287"/>
                  <a:gd name="T34" fmla="*/ 0 w 332"/>
                  <a:gd name="T35" fmla="*/ 0 h 287"/>
                  <a:gd name="T36" fmla="*/ 0 w 332"/>
                  <a:gd name="T37" fmla="*/ 0 h 287"/>
                  <a:gd name="T38" fmla="*/ 0 w 332"/>
                  <a:gd name="T39" fmla="*/ 0 h 287"/>
                  <a:gd name="T40" fmla="*/ 0 w 332"/>
                  <a:gd name="T41" fmla="*/ 0 h 287"/>
                  <a:gd name="T42" fmla="*/ 0 w 332"/>
                  <a:gd name="T43" fmla="*/ 0 h 287"/>
                  <a:gd name="T44" fmla="*/ 0 w 332"/>
                  <a:gd name="T45" fmla="*/ 0 h 287"/>
                  <a:gd name="T46" fmla="*/ 0 w 332"/>
                  <a:gd name="T47" fmla="*/ 0 h 287"/>
                  <a:gd name="T48" fmla="*/ 0 w 332"/>
                  <a:gd name="T49" fmla="*/ 0 h 287"/>
                  <a:gd name="T50" fmla="*/ 0 w 332"/>
                  <a:gd name="T51" fmla="*/ 0 h 287"/>
                  <a:gd name="T52" fmla="*/ 0 w 332"/>
                  <a:gd name="T53" fmla="*/ 0 h 287"/>
                  <a:gd name="T54" fmla="*/ 0 w 332"/>
                  <a:gd name="T55" fmla="*/ 0 h 287"/>
                  <a:gd name="T56" fmla="*/ 0 w 332"/>
                  <a:gd name="T57" fmla="*/ 0 h 287"/>
                  <a:gd name="T58" fmla="*/ 0 w 332"/>
                  <a:gd name="T59" fmla="*/ 0 h 287"/>
                  <a:gd name="T60" fmla="*/ 0 w 332"/>
                  <a:gd name="T61" fmla="*/ 0 h 287"/>
                  <a:gd name="T62" fmla="*/ 0 w 332"/>
                  <a:gd name="T63" fmla="*/ 0 h 287"/>
                  <a:gd name="T64" fmla="*/ 0 w 332"/>
                  <a:gd name="T65" fmla="*/ 0 h 287"/>
                  <a:gd name="T66" fmla="*/ 0 w 332"/>
                  <a:gd name="T67" fmla="*/ 0 h 287"/>
                  <a:gd name="T68" fmla="*/ 0 w 332"/>
                  <a:gd name="T69" fmla="*/ 0 h 287"/>
                  <a:gd name="T70" fmla="*/ 0 w 332"/>
                  <a:gd name="T71" fmla="*/ 0 h 287"/>
                  <a:gd name="T72" fmla="*/ 0 w 332"/>
                  <a:gd name="T73" fmla="*/ 0 h 287"/>
                  <a:gd name="T74" fmla="*/ 0 w 332"/>
                  <a:gd name="T75" fmla="*/ 0 h 287"/>
                  <a:gd name="T76" fmla="*/ 0 w 332"/>
                  <a:gd name="T77" fmla="*/ 0 h 287"/>
                  <a:gd name="T78" fmla="*/ 0 w 332"/>
                  <a:gd name="T79" fmla="*/ 0 h 287"/>
                  <a:gd name="T80" fmla="*/ 0 w 332"/>
                  <a:gd name="T81" fmla="*/ 0 h 287"/>
                  <a:gd name="T82" fmla="*/ 0 w 332"/>
                  <a:gd name="T83" fmla="*/ 0 h 287"/>
                  <a:gd name="T84" fmla="*/ 0 w 332"/>
                  <a:gd name="T85" fmla="*/ 0 h 287"/>
                  <a:gd name="T86" fmla="*/ 0 w 332"/>
                  <a:gd name="T87" fmla="*/ 0 h 287"/>
                  <a:gd name="T88" fmla="*/ 0 w 332"/>
                  <a:gd name="T89" fmla="*/ 0 h 287"/>
                  <a:gd name="T90" fmla="*/ 0 w 332"/>
                  <a:gd name="T91" fmla="*/ 0 h 287"/>
                  <a:gd name="T92" fmla="*/ 0 w 332"/>
                  <a:gd name="T93" fmla="*/ 0 h 287"/>
                  <a:gd name="T94" fmla="*/ 0 w 332"/>
                  <a:gd name="T95" fmla="*/ 0 h 287"/>
                  <a:gd name="T96" fmla="*/ 0 w 332"/>
                  <a:gd name="T97" fmla="*/ 0 h 287"/>
                  <a:gd name="T98" fmla="*/ 0 w 332"/>
                  <a:gd name="T99" fmla="*/ 0 h 287"/>
                  <a:gd name="T100" fmla="*/ 0 w 332"/>
                  <a:gd name="T101" fmla="*/ 0 h 287"/>
                  <a:gd name="T102" fmla="*/ 0 w 332"/>
                  <a:gd name="T103" fmla="*/ 0 h 287"/>
                  <a:gd name="T104" fmla="*/ 0 w 332"/>
                  <a:gd name="T105" fmla="*/ 0 h 287"/>
                  <a:gd name="T106" fmla="*/ 0 w 332"/>
                  <a:gd name="T107" fmla="*/ 0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332"/>
                  <a:gd name="T163" fmla="*/ 0 h 287"/>
                  <a:gd name="T164" fmla="*/ 332 w 332"/>
                  <a:gd name="T165" fmla="*/ 287 h 28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80" name="Freeform 994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0 w 345"/>
                  <a:gd name="T1" fmla="*/ 0 h 86"/>
                  <a:gd name="T2" fmla="*/ 0 w 345"/>
                  <a:gd name="T3" fmla="*/ 0 h 86"/>
                  <a:gd name="T4" fmla="*/ 0 w 345"/>
                  <a:gd name="T5" fmla="*/ 0 h 86"/>
                  <a:gd name="T6" fmla="*/ 0 w 345"/>
                  <a:gd name="T7" fmla="*/ 0 h 86"/>
                  <a:gd name="T8" fmla="*/ 0 w 345"/>
                  <a:gd name="T9" fmla="*/ 0 h 86"/>
                  <a:gd name="T10" fmla="*/ 0 w 345"/>
                  <a:gd name="T11" fmla="*/ 0 h 86"/>
                  <a:gd name="T12" fmla="*/ 0 w 345"/>
                  <a:gd name="T13" fmla="*/ 0 h 86"/>
                  <a:gd name="T14" fmla="*/ 0 w 345"/>
                  <a:gd name="T15" fmla="*/ 0 h 86"/>
                  <a:gd name="T16" fmla="*/ 0 w 345"/>
                  <a:gd name="T17" fmla="*/ 0 h 86"/>
                  <a:gd name="T18" fmla="*/ 0 w 345"/>
                  <a:gd name="T19" fmla="*/ 0 h 86"/>
                  <a:gd name="T20" fmla="*/ 0 w 345"/>
                  <a:gd name="T21" fmla="*/ 0 h 86"/>
                  <a:gd name="T22" fmla="*/ 0 w 345"/>
                  <a:gd name="T23" fmla="*/ 0 h 86"/>
                  <a:gd name="T24" fmla="*/ 0 w 345"/>
                  <a:gd name="T25" fmla="*/ 0 h 86"/>
                  <a:gd name="T26" fmla="*/ 0 w 345"/>
                  <a:gd name="T27" fmla="*/ 0 h 86"/>
                  <a:gd name="T28" fmla="*/ 0 w 345"/>
                  <a:gd name="T29" fmla="*/ 0 h 86"/>
                  <a:gd name="T30" fmla="*/ 0 w 345"/>
                  <a:gd name="T31" fmla="*/ 0 h 86"/>
                  <a:gd name="T32" fmla="*/ 0 w 345"/>
                  <a:gd name="T33" fmla="*/ 0 h 86"/>
                  <a:gd name="T34" fmla="*/ 0 w 345"/>
                  <a:gd name="T35" fmla="*/ 0 h 86"/>
                  <a:gd name="T36" fmla="*/ 0 w 345"/>
                  <a:gd name="T37" fmla="*/ 0 h 86"/>
                  <a:gd name="T38" fmla="*/ 0 w 345"/>
                  <a:gd name="T39" fmla="*/ 0 h 86"/>
                  <a:gd name="T40" fmla="*/ 0 w 345"/>
                  <a:gd name="T41" fmla="*/ 0 h 86"/>
                  <a:gd name="T42" fmla="*/ 0 w 345"/>
                  <a:gd name="T43" fmla="*/ 0 h 86"/>
                  <a:gd name="T44" fmla="*/ 0 w 345"/>
                  <a:gd name="T45" fmla="*/ 0 h 86"/>
                  <a:gd name="T46" fmla="*/ 0 w 345"/>
                  <a:gd name="T47" fmla="*/ 0 h 86"/>
                  <a:gd name="T48" fmla="*/ 0 w 345"/>
                  <a:gd name="T49" fmla="*/ 0 h 86"/>
                  <a:gd name="T50" fmla="*/ 0 w 345"/>
                  <a:gd name="T51" fmla="*/ 0 h 86"/>
                  <a:gd name="T52" fmla="*/ 0 w 345"/>
                  <a:gd name="T53" fmla="*/ 0 h 86"/>
                  <a:gd name="T54" fmla="*/ 0 w 345"/>
                  <a:gd name="T55" fmla="*/ 0 h 86"/>
                  <a:gd name="T56" fmla="*/ 0 w 345"/>
                  <a:gd name="T57" fmla="*/ 0 h 86"/>
                  <a:gd name="T58" fmla="*/ 0 w 345"/>
                  <a:gd name="T59" fmla="*/ 0 h 86"/>
                  <a:gd name="T60" fmla="*/ 0 w 345"/>
                  <a:gd name="T61" fmla="*/ 0 h 86"/>
                  <a:gd name="T62" fmla="*/ 0 w 345"/>
                  <a:gd name="T63" fmla="*/ 0 h 86"/>
                  <a:gd name="T64" fmla="*/ 0 w 345"/>
                  <a:gd name="T65" fmla="*/ 0 h 86"/>
                  <a:gd name="T66" fmla="*/ 0 w 345"/>
                  <a:gd name="T67" fmla="*/ 0 h 86"/>
                  <a:gd name="T68" fmla="*/ 0 w 345"/>
                  <a:gd name="T69" fmla="*/ 0 h 86"/>
                  <a:gd name="T70" fmla="*/ 0 w 345"/>
                  <a:gd name="T71" fmla="*/ 0 h 86"/>
                  <a:gd name="T72" fmla="*/ 0 w 345"/>
                  <a:gd name="T73" fmla="*/ 0 h 86"/>
                  <a:gd name="T74" fmla="*/ 0 w 345"/>
                  <a:gd name="T75" fmla="*/ 0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45"/>
                  <a:gd name="T115" fmla="*/ 0 h 86"/>
                  <a:gd name="T116" fmla="*/ 345 w 345"/>
                  <a:gd name="T117" fmla="*/ 86 h 8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81" name="Freeform 995"/>
              <p:cNvSpPr>
                <a:spLocks/>
              </p:cNvSpPr>
              <p:nvPr/>
            </p:nvSpPr>
            <p:spPr bwMode="auto">
              <a:xfrm>
                <a:off x="1159" y="1199"/>
                <a:ext cx="148" cy="43"/>
              </a:xfrm>
              <a:custGeom>
                <a:avLst/>
                <a:gdLst>
                  <a:gd name="T0" fmla="*/ 0 w 464"/>
                  <a:gd name="T1" fmla="*/ 0 h 130"/>
                  <a:gd name="T2" fmla="*/ 0 w 464"/>
                  <a:gd name="T3" fmla="*/ 0 h 130"/>
                  <a:gd name="T4" fmla="*/ 0 w 464"/>
                  <a:gd name="T5" fmla="*/ 0 h 130"/>
                  <a:gd name="T6" fmla="*/ 0 w 464"/>
                  <a:gd name="T7" fmla="*/ 0 h 130"/>
                  <a:gd name="T8" fmla="*/ 0 w 464"/>
                  <a:gd name="T9" fmla="*/ 0 h 130"/>
                  <a:gd name="T10" fmla="*/ 0 w 464"/>
                  <a:gd name="T11" fmla="*/ 0 h 130"/>
                  <a:gd name="T12" fmla="*/ 0 w 464"/>
                  <a:gd name="T13" fmla="*/ 0 h 130"/>
                  <a:gd name="T14" fmla="*/ 0 w 464"/>
                  <a:gd name="T15" fmla="*/ 0 h 130"/>
                  <a:gd name="T16" fmla="*/ 0 w 464"/>
                  <a:gd name="T17" fmla="*/ 0 h 130"/>
                  <a:gd name="T18" fmla="*/ 0 w 464"/>
                  <a:gd name="T19" fmla="*/ 0 h 130"/>
                  <a:gd name="T20" fmla="*/ 0 w 464"/>
                  <a:gd name="T21" fmla="*/ 0 h 130"/>
                  <a:gd name="T22" fmla="*/ 0 w 464"/>
                  <a:gd name="T23" fmla="*/ 0 h 130"/>
                  <a:gd name="T24" fmla="*/ 0 w 464"/>
                  <a:gd name="T25" fmla="*/ 0 h 130"/>
                  <a:gd name="T26" fmla="*/ 0 w 464"/>
                  <a:gd name="T27" fmla="*/ 0 h 130"/>
                  <a:gd name="T28" fmla="*/ 0 w 464"/>
                  <a:gd name="T29" fmla="*/ 0 h 130"/>
                  <a:gd name="T30" fmla="*/ 0 w 464"/>
                  <a:gd name="T31" fmla="*/ 0 h 130"/>
                  <a:gd name="T32" fmla="*/ 0 w 464"/>
                  <a:gd name="T33" fmla="*/ 0 h 130"/>
                  <a:gd name="T34" fmla="*/ 0 w 464"/>
                  <a:gd name="T35" fmla="*/ 0 h 130"/>
                  <a:gd name="T36" fmla="*/ 0 w 464"/>
                  <a:gd name="T37" fmla="*/ 0 h 130"/>
                  <a:gd name="T38" fmla="*/ 0 w 464"/>
                  <a:gd name="T39" fmla="*/ 0 h 130"/>
                  <a:gd name="T40" fmla="*/ 0 w 464"/>
                  <a:gd name="T41" fmla="*/ 0 h 130"/>
                  <a:gd name="T42" fmla="*/ 0 w 464"/>
                  <a:gd name="T43" fmla="*/ 0 h 130"/>
                  <a:gd name="T44" fmla="*/ 0 w 464"/>
                  <a:gd name="T45" fmla="*/ 0 h 130"/>
                  <a:gd name="T46" fmla="*/ 0 w 464"/>
                  <a:gd name="T47" fmla="*/ 0 h 130"/>
                  <a:gd name="T48" fmla="*/ 0 w 464"/>
                  <a:gd name="T49" fmla="*/ 0 h 130"/>
                  <a:gd name="T50" fmla="*/ 0 w 464"/>
                  <a:gd name="T51" fmla="*/ 0 h 130"/>
                  <a:gd name="T52" fmla="*/ 0 w 464"/>
                  <a:gd name="T53" fmla="*/ 0 h 130"/>
                  <a:gd name="T54" fmla="*/ 0 w 464"/>
                  <a:gd name="T55" fmla="*/ 0 h 130"/>
                  <a:gd name="T56" fmla="*/ 0 w 464"/>
                  <a:gd name="T57" fmla="*/ 0 h 130"/>
                  <a:gd name="T58" fmla="*/ 0 w 464"/>
                  <a:gd name="T59" fmla="*/ 0 h 130"/>
                  <a:gd name="T60" fmla="*/ 0 w 464"/>
                  <a:gd name="T61" fmla="*/ 0 h 130"/>
                  <a:gd name="T62" fmla="*/ 0 w 464"/>
                  <a:gd name="T63" fmla="*/ 0 h 130"/>
                  <a:gd name="T64" fmla="*/ 0 w 464"/>
                  <a:gd name="T65" fmla="*/ 0 h 130"/>
                  <a:gd name="T66" fmla="*/ 0 w 464"/>
                  <a:gd name="T67" fmla="*/ 0 h 130"/>
                  <a:gd name="T68" fmla="*/ 0 w 464"/>
                  <a:gd name="T69" fmla="*/ 0 h 130"/>
                  <a:gd name="T70" fmla="*/ 0 w 464"/>
                  <a:gd name="T71" fmla="*/ 0 h 130"/>
                  <a:gd name="T72" fmla="*/ 0 w 464"/>
                  <a:gd name="T73" fmla="*/ 0 h 130"/>
                  <a:gd name="T74" fmla="*/ 0 w 464"/>
                  <a:gd name="T75" fmla="*/ 0 h 130"/>
                  <a:gd name="T76" fmla="*/ 0 w 464"/>
                  <a:gd name="T77" fmla="*/ 0 h 130"/>
                  <a:gd name="T78" fmla="*/ 0 w 464"/>
                  <a:gd name="T79" fmla="*/ 0 h 130"/>
                  <a:gd name="T80" fmla="*/ 0 w 464"/>
                  <a:gd name="T81" fmla="*/ 0 h 130"/>
                  <a:gd name="T82" fmla="*/ 0 w 464"/>
                  <a:gd name="T83" fmla="*/ 0 h 130"/>
                  <a:gd name="T84" fmla="*/ 0 w 464"/>
                  <a:gd name="T85" fmla="*/ 0 h 130"/>
                  <a:gd name="T86" fmla="*/ 0 w 464"/>
                  <a:gd name="T87" fmla="*/ 0 h 130"/>
                  <a:gd name="T88" fmla="*/ 0 w 464"/>
                  <a:gd name="T89" fmla="*/ 0 h 130"/>
                  <a:gd name="T90" fmla="*/ 0 w 464"/>
                  <a:gd name="T91" fmla="*/ 0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64"/>
                  <a:gd name="T139" fmla="*/ 0 h 130"/>
                  <a:gd name="T140" fmla="*/ 464 w 464"/>
                  <a:gd name="T141" fmla="*/ 130 h 13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82" name="Freeform 996"/>
              <p:cNvSpPr>
                <a:spLocks/>
              </p:cNvSpPr>
              <p:nvPr/>
            </p:nvSpPr>
            <p:spPr bwMode="auto">
              <a:xfrm>
                <a:off x="1472" y="1205"/>
                <a:ext cx="152" cy="31"/>
              </a:xfrm>
              <a:custGeom>
                <a:avLst/>
                <a:gdLst>
                  <a:gd name="T0" fmla="*/ 0 w 472"/>
                  <a:gd name="T1" fmla="*/ 0 h 92"/>
                  <a:gd name="T2" fmla="*/ 0 w 472"/>
                  <a:gd name="T3" fmla="*/ 0 h 92"/>
                  <a:gd name="T4" fmla="*/ 0 w 472"/>
                  <a:gd name="T5" fmla="*/ 0 h 92"/>
                  <a:gd name="T6" fmla="*/ 0 w 472"/>
                  <a:gd name="T7" fmla="*/ 0 h 92"/>
                  <a:gd name="T8" fmla="*/ 0 w 472"/>
                  <a:gd name="T9" fmla="*/ 0 h 92"/>
                  <a:gd name="T10" fmla="*/ 0 w 472"/>
                  <a:gd name="T11" fmla="*/ 0 h 92"/>
                  <a:gd name="T12" fmla="*/ 0 w 472"/>
                  <a:gd name="T13" fmla="*/ 0 h 92"/>
                  <a:gd name="T14" fmla="*/ 0 w 472"/>
                  <a:gd name="T15" fmla="*/ 0 h 92"/>
                  <a:gd name="T16" fmla="*/ 0 w 472"/>
                  <a:gd name="T17" fmla="*/ 0 h 92"/>
                  <a:gd name="T18" fmla="*/ 0 w 472"/>
                  <a:gd name="T19" fmla="*/ 0 h 92"/>
                  <a:gd name="T20" fmla="*/ 0 w 472"/>
                  <a:gd name="T21" fmla="*/ 0 h 92"/>
                  <a:gd name="T22" fmla="*/ 0 w 472"/>
                  <a:gd name="T23" fmla="*/ 0 h 92"/>
                  <a:gd name="T24" fmla="*/ 0 w 472"/>
                  <a:gd name="T25" fmla="*/ 0 h 92"/>
                  <a:gd name="T26" fmla="*/ 0 w 472"/>
                  <a:gd name="T27" fmla="*/ 0 h 92"/>
                  <a:gd name="T28" fmla="*/ 0 w 472"/>
                  <a:gd name="T29" fmla="*/ 0 h 92"/>
                  <a:gd name="T30" fmla="*/ 0 w 472"/>
                  <a:gd name="T31" fmla="*/ 0 h 92"/>
                  <a:gd name="T32" fmla="*/ 0 w 472"/>
                  <a:gd name="T33" fmla="*/ 0 h 92"/>
                  <a:gd name="T34" fmla="*/ 0 w 472"/>
                  <a:gd name="T35" fmla="*/ 0 h 92"/>
                  <a:gd name="T36" fmla="*/ 0 w 472"/>
                  <a:gd name="T37" fmla="*/ 0 h 92"/>
                  <a:gd name="T38" fmla="*/ 0 w 472"/>
                  <a:gd name="T39" fmla="*/ 0 h 92"/>
                  <a:gd name="T40" fmla="*/ 0 w 472"/>
                  <a:gd name="T41" fmla="*/ 0 h 92"/>
                  <a:gd name="T42" fmla="*/ 0 w 472"/>
                  <a:gd name="T43" fmla="*/ 0 h 92"/>
                  <a:gd name="T44" fmla="*/ 0 w 472"/>
                  <a:gd name="T45" fmla="*/ 0 h 92"/>
                  <a:gd name="T46" fmla="*/ 0 w 472"/>
                  <a:gd name="T47" fmla="*/ 0 h 92"/>
                  <a:gd name="T48" fmla="*/ 0 w 472"/>
                  <a:gd name="T49" fmla="*/ 0 h 92"/>
                  <a:gd name="T50" fmla="*/ 0 w 472"/>
                  <a:gd name="T51" fmla="*/ 0 h 92"/>
                  <a:gd name="T52" fmla="*/ 0 w 472"/>
                  <a:gd name="T53" fmla="*/ 0 h 92"/>
                  <a:gd name="T54" fmla="*/ 0 w 472"/>
                  <a:gd name="T55" fmla="*/ 0 h 92"/>
                  <a:gd name="T56" fmla="*/ 0 w 472"/>
                  <a:gd name="T57" fmla="*/ 0 h 92"/>
                  <a:gd name="T58" fmla="*/ 0 w 472"/>
                  <a:gd name="T59" fmla="*/ 0 h 92"/>
                  <a:gd name="T60" fmla="*/ 0 w 472"/>
                  <a:gd name="T61" fmla="*/ 0 h 92"/>
                  <a:gd name="T62" fmla="*/ 0 w 472"/>
                  <a:gd name="T63" fmla="*/ 0 h 92"/>
                  <a:gd name="T64" fmla="*/ 0 w 472"/>
                  <a:gd name="T65" fmla="*/ 0 h 92"/>
                  <a:gd name="T66" fmla="*/ 0 w 472"/>
                  <a:gd name="T67" fmla="*/ 0 h 92"/>
                  <a:gd name="T68" fmla="*/ 0 w 472"/>
                  <a:gd name="T69" fmla="*/ 0 h 92"/>
                  <a:gd name="T70" fmla="*/ 0 w 472"/>
                  <a:gd name="T71" fmla="*/ 0 h 92"/>
                  <a:gd name="T72" fmla="*/ 0 w 472"/>
                  <a:gd name="T73" fmla="*/ 0 h 92"/>
                  <a:gd name="T74" fmla="*/ 0 w 472"/>
                  <a:gd name="T75" fmla="*/ 0 h 92"/>
                  <a:gd name="T76" fmla="*/ 0 w 472"/>
                  <a:gd name="T77" fmla="*/ 0 h 92"/>
                  <a:gd name="T78" fmla="*/ 0 w 472"/>
                  <a:gd name="T79" fmla="*/ 0 h 92"/>
                  <a:gd name="T80" fmla="*/ 0 w 472"/>
                  <a:gd name="T81" fmla="*/ 0 h 92"/>
                  <a:gd name="T82" fmla="*/ 0 w 472"/>
                  <a:gd name="T83" fmla="*/ 0 h 92"/>
                  <a:gd name="T84" fmla="*/ 0 w 472"/>
                  <a:gd name="T85" fmla="*/ 0 h 92"/>
                  <a:gd name="T86" fmla="*/ 0 w 472"/>
                  <a:gd name="T87" fmla="*/ 0 h 92"/>
                  <a:gd name="T88" fmla="*/ 0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72"/>
                  <a:gd name="T136" fmla="*/ 0 h 92"/>
                  <a:gd name="T137" fmla="*/ 472 w 472"/>
                  <a:gd name="T138" fmla="*/ 92 h 9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83" name="Freeform 997"/>
              <p:cNvSpPr>
                <a:spLocks/>
              </p:cNvSpPr>
              <p:nvPr/>
            </p:nvSpPr>
            <p:spPr bwMode="auto">
              <a:xfrm>
                <a:off x="1513" y="1136"/>
                <a:ext cx="106" cy="53"/>
              </a:xfrm>
              <a:custGeom>
                <a:avLst/>
                <a:gdLst>
                  <a:gd name="T0" fmla="*/ 0 w 326"/>
                  <a:gd name="T1" fmla="*/ 0 h 135"/>
                  <a:gd name="T2" fmla="*/ 0 w 326"/>
                  <a:gd name="T3" fmla="*/ 0 h 135"/>
                  <a:gd name="T4" fmla="*/ 0 w 326"/>
                  <a:gd name="T5" fmla="*/ 0 h 135"/>
                  <a:gd name="T6" fmla="*/ 0 w 326"/>
                  <a:gd name="T7" fmla="*/ 0 h 135"/>
                  <a:gd name="T8" fmla="*/ 0 w 326"/>
                  <a:gd name="T9" fmla="*/ 0 h 135"/>
                  <a:gd name="T10" fmla="*/ 0 w 326"/>
                  <a:gd name="T11" fmla="*/ 0 h 135"/>
                  <a:gd name="T12" fmla="*/ 0 w 326"/>
                  <a:gd name="T13" fmla="*/ 0 h 135"/>
                  <a:gd name="T14" fmla="*/ 0 w 326"/>
                  <a:gd name="T15" fmla="*/ 0 h 135"/>
                  <a:gd name="T16" fmla="*/ 0 w 326"/>
                  <a:gd name="T17" fmla="*/ 0 h 135"/>
                  <a:gd name="T18" fmla="*/ 0 w 326"/>
                  <a:gd name="T19" fmla="*/ 0 h 135"/>
                  <a:gd name="T20" fmla="*/ 0 w 326"/>
                  <a:gd name="T21" fmla="*/ 0 h 135"/>
                  <a:gd name="T22" fmla="*/ 0 w 326"/>
                  <a:gd name="T23" fmla="*/ 0 h 135"/>
                  <a:gd name="T24" fmla="*/ 0 w 326"/>
                  <a:gd name="T25" fmla="*/ 0 h 135"/>
                  <a:gd name="T26" fmla="*/ 0 w 326"/>
                  <a:gd name="T27" fmla="*/ 0 h 135"/>
                  <a:gd name="T28" fmla="*/ 0 w 326"/>
                  <a:gd name="T29" fmla="*/ 0 h 135"/>
                  <a:gd name="T30" fmla="*/ 0 w 326"/>
                  <a:gd name="T31" fmla="*/ 0 h 135"/>
                  <a:gd name="T32" fmla="*/ 0 w 326"/>
                  <a:gd name="T33" fmla="*/ 0 h 135"/>
                  <a:gd name="T34" fmla="*/ 0 w 326"/>
                  <a:gd name="T35" fmla="*/ 0 h 135"/>
                  <a:gd name="T36" fmla="*/ 0 w 326"/>
                  <a:gd name="T37" fmla="*/ 0 h 135"/>
                  <a:gd name="T38" fmla="*/ 0 w 326"/>
                  <a:gd name="T39" fmla="*/ 0 h 135"/>
                  <a:gd name="T40" fmla="*/ 0 w 326"/>
                  <a:gd name="T41" fmla="*/ 0 h 135"/>
                  <a:gd name="T42" fmla="*/ 0 w 326"/>
                  <a:gd name="T43" fmla="*/ 0 h 135"/>
                  <a:gd name="T44" fmla="*/ 0 w 326"/>
                  <a:gd name="T45" fmla="*/ 0 h 135"/>
                  <a:gd name="T46" fmla="*/ 0 w 326"/>
                  <a:gd name="T47" fmla="*/ 0 h 135"/>
                  <a:gd name="T48" fmla="*/ 0 w 326"/>
                  <a:gd name="T49" fmla="*/ 0 h 135"/>
                  <a:gd name="T50" fmla="*/ 0 w 326"/>
                  <a:gd name="T51" fmla="*/ 0 h 135"/>
                  <a:gd name="T52" fmla="*/ 0 w 326"/>
                  <a:gd name="T53" fmla="*/ 0 h 135"/>
                  <a:gd name="T54" fmla="*/ 0 w 326"/>
                  <a:gd name="T55" fmla="*/ 0 h 135"/>
                  <a:gd name="T56" fmla="*/ 0 w 326"/>
                  <a:gd name="T57" fmla="*/ 0 h 135"/>
                  <a:gd name="T58" fmla="*/ 0 w 326"/>
                  <a:gd name="T59" fmla="*/ 0 h 135"/>
                  <a:gd name="T60" fmla="*/ 0 w 326"/>
                  <a:gd name="T61" fmla="*/ 0 h 135"/>
                  <a:gd name="T62" fmla="*/ 0 w 326"/>
                  <a:gd name="T63" fmla="*/ 0 h 135"/>
                  <a:gd name="T64" fmla="*/ 0 w 326"/>
                  <a:gd name="T65" fmla="*/ 0 h 135"/>
                  <a:gd name="T66" fmla="*/ 0 w 326"/>
                  <a:gd name="T67" fmla="*/ 0 h 135"/>
                  <a:gd name="T68" fmla="*/ 0 w 326"/>
                  <a:gd name="T69" fmla="*/ 0 h 135"/>
                  <a:gd name="T70" fmla="*/ 0 w 326"/>
                  <a:gd name="T71" fmla="*/ 0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26"/>
                  <a:gd name="T109" fmla="*/ 0 h 135"/>
                  <a:gd name="T110" fmla="*/ 326 w 326"/>
                  <a:gd name="T111" fmla="*/ 135 h 13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84" name="Freeform 998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0 w 159"/>
                  <a:gd name="T1" fmla="*/ 0 h 56"/>
                  <a:gd name="T2" fmla="*/ 0 w 159"/>
                  <a:gd name="T3" fmla="*/ 0 h 56"/>
                  <a:gd name="T4" fmla="*/ 0 w 159"/>
                  <a:gd name="T5" fmla="*/ 0 h 56"/>
                  <a:gd name="T6" fmla="*/ 0 w 159"/>
                  <a:gd name="T7" fmla="*/ 0 h 56"/>
                  <a:gd name="T8" fmla="*/ 0 w 159"/>
                  <a:gd name="T9" fmla="*/ 0 h 56"/>
                  <a:gd name="T10" fmla="*/ 0 w 159"/>
                  <a:gd name="T11" fmla="*/ 0 h 56"/>
                  <a:gd name="T12" fmla="*/ 0 w 159"/>
                  <a:gd name="T13" fmla="*/ 0 h 56"/>
                  <a:gd name="T14" fmla="*/ 0 w 159"/>
                  <a:gd name="T15" fmla="*/ 0 h 56"/>
                  <a:gd name="T16" fmla="*/ 0 w 159"/>
                  <a:gd name="T17" fmla="*/ 0 h 56"/>
                  <a:gd name="T18" fmla="*/ 0 w 159"/>
                  <a:gd name="T19" fmla="*/ 0 h 56"/>
                  <a:gd name="T20" fmla="*/ 0 w 159"/>
                  <a:gd name="T21" fmla="*/ 0 h 56"/>
                  <a:gd name="T22" fmla="*/ 0 w 159"/>
                  <a:gd name="T23" fmla="*/ 0 h 56"/>
                  <a:gd name="T24" fmla="*/ 0 w 159"/>
                  <a:gd name="T25" fmla="*/ 0 h 56"/>
                  <a:gd name="T26" fmla="*/ 0 w 159"/>
                  <a:gd name="T27" fmla="*/ 0 h 56"/>
                  <a:gd name="T28" fmla="*/ 0 w 159"/>
                  <a:gd name="T29" fmla="*/ 0 h 56"/>
                  <a:gd name="T30" fmla="*/ 0 w 159"/>
                  <a:gd name="T31" fmla="*/ 0 h 56"/>
                  <a:gd name="T32" fmla="*/ 0 w 159"/>
                  <a:gd name="T33" fmla="*/ 0 h 56"/>
                  <a:gd name="T34" fmla="*/ 0 w 159"/>
                  <a:gd name="T35" fmla="*/ 0 h 56"/>
                  <a:gd name="T36" fmla="*/ 0 w 159"/>
                  <a:gd name="T37" fmla="*/ 0 h 56"/>
                  <a:gd name="T38" fmla="*/ 0 w 159"/>
                  <a:gd name="T39" fmla="*/ 0 h 56"/>
                  <a:gd name="T40" fmla="*/ 0 w 159"/>
                  <a:gd name="T41" fmla="*/ 0 h 56"/>
                  <a:gd name="T42" fmla="*/ 0 w 159"/>
                  <a:gd name="T43" fmla="*/ 0 h 56"/>
                  <a:gd name="T44" fmla="*/ 0 w 159"/>
                  <a:gd name="T45" fmla="*/ 0 h 56"/>
                  <a:gd name="T46" fmla="*/ 0 w 159"/>
                  <a:gd name="T47" fmla="*/ 0 h 56"/>
                  <a:gd name="T48" fmla="*/ 0 w 159"/>
                  <a:gd name="T49" fmla="*/ 0 h 56"/>
                  <a:gd name="T50" fmla="*/ 0 w 159"/>
                  <a:gd name="T51" fmla="*/ 0 h 56"/>
                  <a:gd name="T52" fmla="*/ 0 w 159"/>
                  <a:gd name="T53" fmla="*/ 0 h 56"/>
                  <a:gd name="T54" fmla="*/ 0 w 159"/>
                  <a:gd name="T55" fmla="*/ 0 h 56"/>
                  <a:gd name="T56" fmla="*/ 0 w 159"/>
                  <a:gd name="T57" fmla="*/ 0 h 56"/>
                  <a:gd name="T58" fmla="*/ 0 w 159"/>
                  <a:gd name="T59" fmla="*/ 0 h 56"/>
                  <a:gd name="T60" fmla="*/ 0 w 159"/>
                  <a:gd name="T61" fmla="*/ 0 h 56"/>
                  <a:gd name="T62" fmla="*/ 0 w 159"/>
                  <a:gd name="T63" fmla="*/ 0 h 56"/>
                  <a:gd name="T64" fmla="*/ 0 w 159"/>
                  <a:gd name="T65" fmla="*/ 0 h 56"/>
                  <a:gd name="T66" fmla="*/ 0 w 159"/>
                  <a:gd name="T67" fmla="*/ 0 h 56"/>
                  <a:gd name="T68" fmla="*/ 0 w 159"/>
                  <a:gd name="T69" fmla="*/ 0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59"/>
                  <a:gd name="T106" fmla="*/ 0 h 56"/>
                  <a:gd name="T107" fmla="*/ 159 w 159"/>
                  <a:gd name="T108" fmla="*/ 56 h 5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85" name="Freeform 999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0 w 3734"/>
                  <a:gd name="T1" fmla="*/ 0 h 1644"/>
                  <a:gd name="T2" fmla="*/ 0 w 3734"/>
                  <a:gd name="T3" fmla="*/ 0 h 1644"/>
                  <a:gd name="T4" fmla="*/ 0 w 3734"/>
                  <a:gd name="T5" fmla="*/ 0 h 1644"/>
                  <a:gd name="T6" fmla="*/ 0 w 3734"/>
                  <a:gd name="T7" fmla="*/ 0 h 1644"/>
                  <a:gd name="T8" fmla="*/ 0 w 3734"/>
                  <a:gd name="T9" fmla="*/ 0 h 1644"/>
                  <a:gd name="T10" fmla="*/ 0 w 3734"/>
                  <a:gd name="T11" fmla="*/ 0 h 1644"/>
                  <a:gd name="T12" fmla="*/ 0 w 3734"/>
                  <a:gd name="T13" fmla="*/ 0 h 1644"/>
                  <a:gd name="T14" fmla="*/ 0 w 3734"/>
                  <a:gd name="T15" fmla="*/ 0 h 1644"/>
                  <a:gd name="T16" fmla="*/ 0 w 3734"/>
                  <a:gd name="T17" fmla="*/ 0 h 1644"/>
                  <a:gd name="T18" fmla="*/ 0 w 3734"/>
                  <a:gd name="T19" fmla="*/ 0 h 1644"/>
                  <a:gd name="T20" fmla="*/ 0 w 3734"/>
                  <a:gd name="T21" fmla="*/ 0 h 1644"/>
                  <a:gd name="T22" fmla="*/ 0 w 3734"/>
                  <a:gd name="T23" fmla="*/ 0 h 1644"/>
                  <a:gd name="T24" fmla="*/ 0 w 3734"/>
                  <a:gd name="T25" fmla="*/ 0 h 1644"/>
                  <a:gd name="T26" fmla="*/ 0 w 3734"/>
                  <a:gd name="T27" fmla="*/ 0 h 1644"/>
                  <a:gd name="T28" fmla="*/ 0 w 3734"/>
                  <a:gd name="T29" fmla="*/ 0 h 1644"/>
                  <a:gd name="T30" fmla="*/ 0 w 3734"/>
                  <a:gd name="T31" fmla="*/ 0 h 1644"/>
                  <a:gd name="T32" fmla="*/ 0 w 3734"/>
                  <a:gd name="T33" fmla="*/ 0 h 1644"/>
                  <a:gd name="T34" fmla="*/ 0 w 3734"/>
                  <a:gd name="T35" fmla="*/ 0 h 1644"/>
                  <a:gd name="T36" fmla="*/ 0 w 3734"/>
                  <a:gd name="T37" fmla="*/ 0 h 1644"/>
                  <a:gd name="T38" fmla="*/ 0 w 3734"/>
                  <a:gd name="T39" fmla="*/ 0 h 1644"/>
                  <a:gd name="T40" fmla="*/ 0 w 3734"/>
                  <a:gd name="T41" fmla="*/ 0 h 1644"/>
                  <a:gd name="T42" fmla="*/ 0 w 3734"/>
                  <a:gd name="T43" fmla="*/ 0 h 1644"/>
                  <a:gd name="T44" fmla="*/ 0 w 3734"/>
                  <a:gd name="T45" fmla="*/ 0 h 1644"/>
                  <a:gd name="T46" fmla="*/ 0 w 3734"/>
                  <a:gd name="T47" fmla="*/ 0 h 1644"/>
                  <a:gd name="T48" fmla="*/ 0 w 3734"/>
                  <a:gd name="T49" fmla="*/ 0 h 1644"/>
                  <a:gd name="T50" fmla="*/ 0 w 3734"/>
                  <a:gd name="T51" fmla="*/ 0 h 1644"/>
                  <a:gd name="T52" fmla="*/ 0 w 3734"/>
                  <a:gd name="T53" fmla="*/ 0 h 1644"/>
                  <a:gd name="T54" fmla="*/ 0 w 3734"/>
                  <a:gd name="T55" fmla="*/ 0 h 1644"/>
                  <a:gd name="T56" fmla="*/ 0 w 3734"/>
                  <a:gd name="T57" fmla="*/ 0 h 1644"/>
                  <a:gd name="T58" fmla="*/ 0 w 3734"/>
                  <a:gd name="T59" fmla="*/ 0 h 1644"/>
                  <a:gd name="T60" fmla="*/ 0 w 3734"/>
                  <a:gd name="T61" fmla="*/ 0 h 1644"/>
                  <a:gd name="T62" fmla="*/ 0 w 3734"/>
                  <a:gd name="T63" fmla="*/ 0 h 1644"/>
                  <a:gd name="T64" fmla="*/ 0 w 3734"/>
                  <a:gd name="T65" fmla="*/ 0 h 1644"/>
                  <a:gd name="T66" fmla="*/ 0 w 3734"/>
                  <a:gd name="T67" fmla="*/ 0 h 1644"/>
                  <a:gd name="T68" fmla="*/ 0 w 3734"/>
                  <a:gd name="T69" fmla="*/ 0 h 1644"/>
                  <a:gd name="T70" fmla="*/ 0 w 3734"/>
                  <a:gd name="T71" fmla="*/ 0 h 1644"/>
                  <a:gd name="T72" fmla="*/ 0 w 3734"/>
                  <a:gd name="T73" fmla="*/ 0 h 1644"/>
                  <a:gd name="T74" fmla="*/ 0 w 3734"/>
                  <a:gd name="T75" fmla="*/ 0 h 1644"/>
                  <a:gd name="T76" fmla="*/ 0 w 3734"/>
                  <a:gd name="T77" fmla="*/ 0 h 1644"/>
                  <a:gd name="T78" fmla="*/ 0 w 3734"/>
                  <a:gd name="T79" fmla="*/ 0 h 1644"/>
                  <a:gd name="T80" fmla="*/ 0 w 3734"/>
                  <a:gd name="T81" fmla="*/ 0 h 1644"/>
                  <a:gd name="T82" fmla="*/ 0 w 3734"/>
                  <a:gd name="T83" fmla="*/ 0 h 1644"/>
                  <a:gd name="T84" fmla="*/ 0 w 3734"/>
                  <a:gd name="T85" fmla="*/ 0 h 1644"/>
                  <a:gd name="T86" fmla="*/ 0 w 3734"/>
                  <a:gd name="T87" fmla="*/ 0 h 1644"/>
                  <a:gd name="T88" fmla="*/ 0 w 3734"/>
                  <a:gd name="T89" fmla="*/ 0 h 1644"/>
                  <a:gd name="T90" fmla="*/ 0 w 3734"/>
                  <a:gd name="T91" fmla="*/ 0 h 1644"/>
                  <a:gd name="T92" fmla="*/ 0 w 3734"/>
                  <a:gd name="T93" fmla="*/ 0 h 1644"/>
                  <a:gd name="T94" fmla="*/ 0 w 3734"/>
                  <a:gd name="T95" fmla="*/ 0 h 1644"/>
                  <a:gd name="T96" fmla="*/ 0 w 3734"/>
                  <a:gd name="T97" fmla="*/ 0 h 1644"/>
                  <a:gd name="T98" fmla="*/ 0 w 3734"/>
                  <a:gd name="T99" fmla="*/ 0 h 1644"/>
                  <a:gd name="T100" fmla="*/ 0 w 3734"/>
                  <a:gd name="T101" fmla="*/ 0 h 1644"/>
                  <a:gd name="T102" fmla="*/ 0 w 3734"/>
                  <a:gd name="T103" fmla="*/ 0 h 1644"/>
                  <a:gd name="T104" fmla="*/ 0 w 3734"/>
                  <a:gd name="T105" fmla="*/ 0 h 1644"/>
                  <a:gd name="T106" fmla="*/ 0 w 3734"/>
                  <a:gd name="T107" fmla="*/ 0 h 1644"/>
                  <a:gd name="T108" fmla="*/ 0 w 3734"/>
                  <a:gd name="T109" fmla="*/ 0 h 1644"/>
                  <a:gd name="T110" fmla="*/ 0 w 3734"/>
                  <a:gd name="T111" fmla="*/ 0 h 1644"/>
                  <a:gd name="T112" fmla="*/ 0 w 3734"/>
                  <a:gd name="T113" fmla="*/ 0 h 1644"/>
                  <a:gd name="T114" fmla="*/ 0 w 3734"/>
                  <a:gd name="T115" fmla="*/ 0 h 1644"/>
                  <a:gd name="T116" fmla="*/ 0 w 3734"/>
                  <a:gd name="T117" fmla="*/ 0 h 1644"/>
                  <a:gd name="T118" fmla="*/ 0 w 3734"/>
                  <a:gd name="T119" fmla="*/ 0 h 1644"/>
                  <a:gd name="T120" fmla="*/ 0 w 3734"/>
                  <a:gd name="T121" fmla="*/ 0 h 1644"/>
                  <a:gd name="T122" fmla="*/ 0 w 3734"/>
                  <a:gd name="T123" fmla="*/ 0 h 1644"/>
                  <a:gd name="T124" fmla="*/ 0 w 3734"/>
                  <a:gd name="T125" fmla="*/ 0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734"/>
                  <a:gd name="T190" fmla="*/ 0 h 1644"/>
                  <a:gd name="T191" fmla="*/ 3734 w 3734"/>
                  <a:gd name="T192" fmla="*/ 1644 h 164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</p:grpSp>
        <p:sp>
          <p:nvSpPr>
            <p:cNvPr id="18727" name="Freeform 1000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3247" y="2231"/>
              <a:ext cx="86" cy="100"/>
            </a:xfrm>
            <a:custGeom>
              <a:avLst/>
              <a:gdLst>
                <a:gd name="T0" fmla="*/ 0 w 292"/>
                <a:gd name="T1" fmla="*/ 0 h 308"/>
                <a:gd name="T2" fmla="*/ 0 w 292"/>
                <a:gd name="T3" fmla="*/ 0 h 308"/>
                <a:gd name="T4" fmla="*/ 0 w 292"/>
                <a:gd name="T5" fmla="*/ 0 h 308"/>
                <a:gd name="T6" fmla="*/ 0 w 292"/>
                <a:gd name="T7" fmla="*/ 0 h 308"/>
                <a:gd name="T8" fmla="*/ 0 w 292"/>
                <a:gd name="T9" fmla="*/ 0 h 308"/>
                <a:gd name="T10" fmla="*/ 0 w 292"/>
                <a:gd name="T11" fmla="*/ 0 h 308"/>
                <a:gd name="T12" fmla="*/ 0 w 292"/>
                <a:gd name="T13" fmla="*/ 0 h 308"/>
                <a:gd name="T14" fmla="*/ 0 w 292"/>
                <a:gd name="T15" fmla="*/ 0 h 308"/>
                <a:gd name="T16" fmla="*/ 0 w 292"/>
                <a:gd name="T17" fmla="*/ 0 h 308"/>
                <a:gd name="T18" fmla="*/ 0 w 292"/>
                <a:gd name="T19" fmla="*/ 0 h 308"/>
                <a:gd name="T20" fmla="*/ 0 w 292"/>
                <a:gd name="T21" fmla="*/ 0 h 308"/>
                <a:gd name="T22" fmla="*/ 0 w 292"/>
                <a:gd name="T23" fmla="*/ 0 h 308"/>
                <a:gd name="T24" fmla="*/ 0 w 292"/>
                <a:gd name="T25" fmla="*/ 0 h 308"/>
                <a:gd name="T26" fmla="*/ 0 w 292"/>
                <a:gd name="T27" fmla="*/ 0 h 308"/>
                <a:gd name="T28" fmla="*/ 0 w 292"/>
                <a:gd name="T29" fmla="*/ 0 h 308"/>
                <a:gd name="T30" fmla="*/ 0 w 292"/>
                <a:gd name="T31" fmla="*/ 0 h 308"/>
                <a:gd name="T32" fmla="*/ 0 w 292"/>
                <a:gd name="T33" fmla="*/ 0 h 308"/>
                <a:gd name="T34" fmla="*/ 0 w 292"/>
                <a:gd name="T35" fmla="*/ 0 h 308"/>
                <a:gd name="T36" fmla="*/ 0 w 292"/>
                <a:gd name="T37" fmla="*/ 0 h 308"/>
                <a:gd name="T38" fmla="*/ 0 w 292"/>
                <a:gd name="T39" fmla="*/ 0 h 308"/>
                <a:gd name="T40" fmla="*/ 0 w 292"/>
                <a:gd name="T41" fmla="*/ 0 h 308"/>
                <a:gd name="T42" fmla="*/ 0 w 292"/>
                <a:gd name="T43" fmla="*/ 0 h 308"/>
                <a:gd name="T44" fmla="*/ 0 w 292"/>
                <a:gd name="T45" fmla="*/ 0 h 308"/>
                <a:gd name="T46" fmla="*/ 0 w 292"/>
                <a:gd name="T47" fmla="*/ 0 h 308"/>
                <a:gd name="T48" fmla="*/ 0 w 292"/>
                <a:gd name="T49" fmla="*/ 0 h 308"/>
                <a:gd name="T50" fmla="*/ 0 w 292"/>
                <a:gd name="T51" fmla="*/ 0 h 308"/>
                <a:gd name="T52" fmla="*/ 0 w 292"/>
                <a:gd name="T53" fmla="*/ 0 h 308"/>
                <a:gd name="T54" fmla="*/ 0 w 292"/>
                <a:gd name="T55" fmla="*/ 0 h 308"/>
                <a:gd name="T56" fmla="*/ 0 w 292"/>
                <a:gd name="T57" fmla="*/ 0 h 308"/>
                <a:gd name="T58" fmla="*/ 0 w 292"/>
                <a:gd name="T59" fmla="*/ 0 h 308"/>
                <a:gd name="T60" fmla="*/ 0 w 292"/>
                <a:gd name="T61" fmla="*/ 0 h 308"/>
                <a:gd name="T62" fmla="*/ 0 w 292"/>
                <a:gd name="T63" fmla="*/ 0 h 308"/>
                <a:gd name="T64" fmla="*/ 0 w 292"/>
                <a:gd name="T65" fmla="*/ 0 h 308"/>
                <a:gd name="T66" fmla="*/ 0 w 292"/>
                <a:gd name="T67" fmla="*/ 0 h 308"/>
                <a:gd name="T68" fmla="*/ 0 w 292"/>
                <a:gd name="T69" fmla="*/ 0 h 308"/>
                <a:gd name="T70" fmla="*/ 0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92"/>
                <a:gd name="T109" fmla="*/ 0 h 308"/>
                <a:gd name="T110" fmla="*/ 292 w 292"/>
                <a:gd name="T111" fmla="*/ 308 h 30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28" name="Freeform 1001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3319" y="2326"/>
              <a:ext cx="5" cy="36"/>
            </a:xfrm>
            <a:custGeom>
              <a:avLst/>
              <a:gdLst>
                <a:gd name="T0" fmla="*/ 0 w 14"/>
                <a:gd name="T1" fmla="*/ 0 h 7"/>
                <a:gd name="T2" fmla="*/ 0 w 14"/>
                <a:gd name="T3" fmla="*/ 2147483647 h 7"/>
                <a:gd name="T4" fmla="*/ 0 w 14"/>
                <a:gd name="T5" fmla="*/ 2147483647 h 7"/>
                <a:gd name="T6" fmla="*/ 0 w 14"/>
                <a:gd name="T7" fmla="*/ 2147483647 h 7"/>
                <a:gd name="T8" fmla="*/ 0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7"/>
                <a:gd name="T17" fmla="*/ 14 w 1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29" name="Freeform 1002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2972" y="1845"/>
              <a:ext cx="170" cy="315"/>
            </a:xfrm>
            <a:custGeom>
              <a:avLst/>
              <a:gdLst>
                <a:gd name="T0" fmla="*/ 0 w 581"/>
                <a:gd name="T1" fmla="*/ 0 h 955"/>
                <a:gd name="T2" fmla="*/ 0 w 581"/>
                <a:gd name="T3" fmla="*/ 0 h 955"/>
                <a:gd name="T4" fmla="*/ 0 w 581"/>
                <a:gd name="T5" fmla="*/ 0 h 955"/>
                <a:gd name="T6" fmla="*/ 0 w 581"/>
                <a:gd name="T7" fmla="*/ 0 h 955"/>
                <a:gd name="T8" fmla="*/ 0 w 581"/>
                <a:gd name="T9" fmla="*/ 0 h 955"/>
                <a:gd name="T10" fmla="*/ 0 w 581"/>
                <a:gd name="T11" fmla="*/ 0 h 955"/>
                <a:gd name="T12" fmla="*/ 0 w 581"/>
                <a:gd name="T13" fmla="*/ 0 h 955"/>
                <a:gd name="T14" fmla="*/ 0 w 581"/>
                <a:gd name="T15" fmla="*/ 0 h 955"/>
                <a:gd name="T16" fmla="*/ 0 w 581"/>
                <a:gd name="T17" fmla="*/ 0 h 955"/>
                <a:gd name="T18" fmla="*/ 0 w 581"/>
                <a:gd name="T19" fmla="*/ 0 h 955"/>
                <a:gd name="T20" fmla="*/ 0 w 581"/>
                <a:gd name="T21" fmla="*/ 0 h 955"/>
                <a:gd name="T22" fmla="*/ 0 w 581"/>
                <a:gd name="T23" fmla="*/ 0 h 955"/>
                <a:gd name="T24" fmla="*/ 0 w 581"/>
                <a:gd name="T25" fmla="*/ 0 h 955"/>
                <a:gd name="T26" fmla="*/ 0 w 581"/>
                <a:gd name="T27" fmla="*/ 0 h 955"/>
                <a:gd name="T28" fmla="*/ 0 w 581"/>
                <a:gd name="T29" fmla="*/ 0 h 955"/>
                <a:gd name="T30" fmla="*/ 0 w 581"/>
                <a:gd name="T31" fmla="*/ 0 h 955"/>
                <a:gd name="T32" fmla="*/ 0 w 581"/>
                <a:gd name="T33" fmla="*/ 0 h 955"/>
                <a:gd name="T34" fmla="*/ 0 w 581"/>
                <a:gd name="T35" fmla="*/ 0 h 955"/>
                <a:gd name="T36" fmla="*/ 0 w 581"/>
                <a:gd name="T37" fmla="*/ 0 h 955"/>
                <a:gd name="T38" fmla="*/ 0 w 581"/>
                <a:gd name="T39" fmla="*/ 0 h 955"/>
                <a:gd name="T40" fmla="*/ 0 w 581"/>
                <a:gd name="T41" fmla="*/ 0 h 955"/>
                <a:gd name="T42" fmla="*/ 0 w 581"/>
                <a:gd name="T43" fmla="*/ 0 h 955"/>
                <a:gd name="T44" fmla="*/ 0 w 581"/>
                <a:gd name="T45" fmla="*/ 0 h 955"/>
                <a:gd name="T46" fmla="*/ 0 w 581"/>
                <a:gd name="T47" fmla="*/ 0 h 955"/>
                <a:gd name="T48" fmla="*/ 0 w 581"/>
                <a:gd name="T49" fmla="*/ 0 h 955"/>
                <a:gd name="T50" fmla="*/ 0 w 581"/>
                <a:gd name="T51" fmla="*/ 0 h 955"/>
                <a:gd name="T52" fmla="*/ 0 w 581"/>
                <a:gd name="T53" fmla="*/ 0 h 955"/>
                <a:gd name="T54" fmla="*/ 0 w 581"/>
                <a:gd name="T55" fmla="*/ 0 h 955"/>
                <a:gd name="T56" fmla="*/ 0 w 581"/>
                <a:gd name="T57" fmla="*/ 0 h 955"/>
                <a:gd name="T58" fmla="*/ 0 w 581"/>
                <a:gd name="T59" fmla="*/ 0 h 955"/>
                <a:gd name="T60" fmla="*/ 0 w 581"/>
                <a:gd name="T61" fmla="*/ 0 h 955"/>
                <a:gd name="T62" fmla="*/ 0 w 581"/>
                <a:gd name="T63" fmla="*/ 0 h 955"/>
                <a:gd name="T64" fmla="*/ 0 w 581"/>
                <a:gd name="T65" fmla="*/ 0 h 955"/>
                <a:gd name="T66" fmla="*/ 0 w 581"/>
                <a:gd name="T67" fmla="*/ 0 h 955"/>
                <a:gd name="T68" fmla="*/ 0 w 581"/>
                <a:gd name="T69" fmla="*/ 0 h 955"/>
                <a:gd name="T70" fmla="*/ 0 w 581"/>
                <a:gd name="T71" fmla="*/ 0 h 955"/>
                <a:gd name="T72" fmla="*/ 0 w 581"/>
                <a:gd name="T73" fmla="*/ 0 h 955"/>
                <a:gd name="T74" fmla="*/ 0 w 581"/>
                <a:gd name="T75" fmla="*/ 0 h 955"/>
                <a:gd name="T76" fmla="*/ 0 w 581"/>
                <a:gd name="T77" fmla="*/ 0 h 955"/>
                <a:gd name="T78" fmla="*/ 0 w 581"/>
                <a:gd name="T79" fmla="*/ 0 h 955"/>
                <a:gd name="T80" fmla="*/ 0 w 581"/>
                <a:gd name="T81" fmla="*/ 0 h 955"/>
                <a:gd name="T82" fmla="*/ 0 w 581"/>
                <a:gd name="T83" fmla="*/ 0 h 955"/>
                <a:gd name="T84" fmla="*/ 0 w 581"/>
                <a:gd name="T85" fmla="*/ 0 h 955"/>
                <a:gd name="T86" fmla="*/ 0 w 581"/>
                <a:gd name="T87" fmla="*/ 0 h 955"/>
                <a:gd name="T88" fmla="*/ 0 w 581"/>
                <a:gd name="T89" fmla="*/ 0 h 955"/>
                <a:gd name="T90" fmla="*/ 0 w 581"/>
                <a:gd name="T91" fmla="*/ 0 h 955"/>
                <a:gd name="T92" fmla="*/ 0 w 581"/>
                <a:gd name="T93" fmla="*/ 0 h 955"/>
                <a:gd name="T94" fmla="*/ 0 w 581"/>
                <a:gd name="T95" fmla="*/ 0 h 955"/>
                <a:gd name="T96" fmla="*/ 0 w 581"/>
                <a:gd name="T97" fmla="*/ 0 h 955"/>
                <a:gd name="T98" fmla="*/ 0 w 581"/>
                <a:gd name="T99" fmla="*/ 0 h 955"/>
                <a:gd name="T100" fmla="*/ 0 w 581"/>
                <a:gd name="T101" fmla="*/ 0 h 955"/>
                <a:gd name="T102" fmla="*/ 0 w 581"/>
                <a:gd name="T103" fmla="*/ 0 h 955"/>
                <a:gd name="T104" fmla="*/ 0 w 581"/>
                <a:gd name="T105" fmla="*/ 0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81"/>
                <a:gd name="T160" fmla="*/ 0 h 955"/>
                <a:gd name="T161" fmla="*/ 581 w 581"/>
                <a:gd name="T162" fmla="*/ 955 h 95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30" name="Freeform 1003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2751" y="1456"/>
              <a:ext cx="10" cy="36"/>
            </a:xfrm>
            <a:custGeom>
              <a:avLst/>
              <a:gdLst>
                <a:gd name="T0" fmla="*/ 0 w 45"/>
                <a:gd name="T1" fmla="*/ 0 h 36"/>
                <a:gd name="T2" fmla="*/ 0 w 45"/>
                <a:gd name="T3" fmla="*/ 18 h 36"/>
                <a:gd name="T4" fmla="*/ 0 w 45"/>
                <a:gd name="T5" fmla="*/ 36 h 36"/>
                <a:gd name="T6" fmla="*/ 0 w 45"/>
                <a:gd name="T7" fmla="*/ 15 h 36"/>
                <a:gd name="T8" fmla="*/ 0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5"/>
                <a:gd name="T16" fmla="*/ 0 h 36"/>
                <a:gd name="T17" fmla="*/ 45 w 45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grpSp>
          <p:nvGrpSpPr>
            <p:cNvPr id="16" name="Group 1004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1590" y="2754"/>
              <a:ext cx="263" cy="650"/>
              <a:chOff x="1589" y="3126"/>
              <a:chExt cx="290" cy="657"/>
            </a:xfrm>
            <a:grpFill/>
          </p:grpSpPr>
          <p:sp>
            <p:nvSpPr>
              <p:cNvPr id="18841" name="Freeform 1005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0 w 46"/>
                  <a:gd name="T1" fmla="*/ 0 h 51"/>
                  <a:gd name="T2" fmla="*/ 0 w 46"/>
                  <a:gd name="T3" fmla="*/ 0 h 51"/>
                  <a:gd name="T4" fmla="*/ 0 w 46"/>
                  <a:gd name="T5" fmla="*/ 0 h 51"/>
                  <a:gd name="T6" fmla="*/ 0 w 46"/>
                  <a:gd name="T7" fmla="*/ 0 h 51"/>
                  <a:gd name="T8" fmla="*/ 0 w 46"/>
                  <a:gd name="T9" fmla="*/ 0 h 51"/>
                  <a:gd name="T10" fmla="*/ 0 w 46"/>
                  <a:gd name="T11" fmla="*/ 0 h 51"/>
                  <a:gd name="T12" fmla="*/ 0 w 46"/>
                  <a:gd name="T13" fmla="*/ 0 h 51"/>
                  <a:gd name="T14" fmla="*/ 0 w 46"/>
                  <a:gd name="T15" fmla="*/ 0 h 51"/>
                  <a:gd name="T16" fmla="*/ 0 w 46"/>
                  <a:gd name="T17" fmla="*/ 0 h 51"/>
                  <a:gd name="T18" fmla="*/ 0 w 46"/>
                  <a:gd name="T19" fmla="*/ 0 h 51"/>
                  <a:gd name="T20" fmla="*/ 0 w 46"/>
                  <a:gd name="T21" fmla="*/ 0 h 51"/>
                  <a:gd name="T22" fmla="*/ 0 w 46"/>
                  <a:gd name="T23" fmla="*/ 0 h 51"/>
                  <a:gd name="T24" fmla="*/ 0 w 46"/>
                  <a:gd name="T25" fmla="*/ 0 h 51"/>
                  <a:gd name="T26" fmla="*/ 0 w 46"/>
                  <a:gd name="T27" fmla="*/ 0 h 51"/>
                  <a:gd name="T28" fmla="*/ 0 w 46"/>
                  <a:gd name="T29" fmla="*/ 0 h 51"/>
                  <a:gd name="T30" fmla="*/ 0 w 46"/>
                  <a:gd name="T31" fmla="*/ 0 h 51"/>
                  <a:gd name="T32" fmla="*/ 0 w 46"/>
                  <a:gd name="T33" fmla="*/ 0 h 51"/>
                  <a:gd name="T34" fmla="*/ 0 w 46"/>
                  <a:gd name="T35" fmla="*/ 0 h 51"/>
                  <a:gd name="T36" fmla="*/ 0 w 46"/>
                  <a:gd name="T37" fmla="*/ 0 h 51"/>
                  <a:gd name="T38" fmla="*/ 0 w 46"/>
                  <a:gd name="T39" fmla="*/ 0 h 51"/>
                  <a:gd name="T40" fmla="*/ 0 w 46"/>
                  <a:gd name="T41" fmla="*/ 0 h 51"/>
                  <a:gd name="T42" fmla="*/ 0 w 46"/>
                  <a:gd name="T43" fmla="*/ 0 h 51"/>
                  <a:gd name="T44" fmla="*/ 0 w 46"/>
                  <a:gd name="T45" fmla="*/ 0 h 51"/>
                  <a:gd name="T46" fmla="*/ 0 w 46"/>
                  <a:gd name="T47" fmla="*/ 0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46"/>
                  <a:gd name="T73" fmla="*/ 0 h 51"/>
                  <a:gd name="T74" fmla="*/ 46 w 46"/>
                  <a:gd name="T75" fmla="*/ 51 h 51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42" name="Freeform 1006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0 h 158"/>
                  <a:gd name="T4" fmla="*/ 0 w 192"/>
                  <a:gd name="T5" fmla="*/ 0 h 158"/>
                  <a:gd name="T6" fmla="*/ 0 w 192"/>
                  <a:gd name="T7" fmla="*/ 0 h 158"/>
                  <a:gd name="T8" fmla="*/ 0 w 192"/>
                  <a:gd name="T9" fmla="*/ 0 h 158"/>
                  <a:gd name="T10" fmla="*/ 0 w 192"/>
                  <a:gd name="T11" fmla="*/ 0 h 158"/>
                  <a:gd name="T12" fmla="*/ 0 w 192"/>
                  <a:gd name="T13" fmla="*/ 0 h 158"/>
                  <a:gd name="T14" fmla="*/ 0 w 192"/>
                  <a:gd name="T15" fmla="*/ 0 h 158"/>
                  <a:gd name="T16" fmla="*/ 0 w 192"/>
                  <a:gd name="T17" fmla="*/ 0 h 158"/>
                  <a:gd name="T18" fmla="*/ 0 w 192"/>
                  <a:gd name="T19" fmla="*/ 0 h 158"/>
                  <a:gd name="T20" fmla="*/ 0 w 192"/>
                  <a:gd name="T21" fmla="*/ 0 h 158"/>
                  <a:gd name="T22" fmla="*/ 0 w 192"/>
                  <a:gd name="T23" fmla="*/ 0 h 158"/>
                  <a:gd name="T24" fmla="*/ 0 w 192"/>
                  <a:gd name="T25" fmla="*/ 0 h 158"/>
                  <a:gd name="T26" fmla="*/ 0 w 192"/>
                  <a:gd name="T27" fmla="*/ 0 h 158"/>
                  <a:gd name="T28" fmla="*/ 0 w 192"/>
                  <a:gd name="T29" fmla="*/ 0 h 158"/>
                  <a:gd name="T30" fmla="*/ 0 w 192"/>
                  <a:gd name="T31" fmla="*/ 0 h 158"/>
                  <a:gd name="T32" fmla="*/ 0 w 192"/>
                  <a:gd name="T33" fmla="*/ 0 h 158"/>
                  <a:gd name="T34" fmla="*/ 0 w 192"/>
                  <a:gd name="T35" fmla="*/ 0 h 158"/>
                  <a:gd name="T36" fmla="*/ 0 w 192"/>
                  <a:gd name="T37" fmla="*/ 0 h 158"/>
                  <a:gd name="T38" fmla="*/ 0 w 192"/>
                  <a:gd name="T39" fmla="*/ 0 h 158"/>
                  <a:gd name="T40" fmla="*/ 0 w 192"/>
                  <a:gd name="T41" fmla="*/ 0 h 158"/>
                  <a:gd name="T42" fmla="*/ 0 w 192"/>
                  <a:gd name="T43" fmla="*/ 0 h 158"/>
                  <a:gd name="T44" fmla="*/ 0 w 192"/>
                  <a:gd name="T45" fmla="*/ 0 h 158"/>
                  <a:gd name="T46" fmla="*/ 0 w 192"/>
                  <a:gd name="T47" fmla="*/ 0 h 158"/>
                  <a:gd name="T48" fmla="*/ 0 w 192"/>
                  <a:gd name="T49" fmla="*/ 0 h 158"/>
                  <a:gd name="T50" fmla="*/ 0 w 192"/>
                  <a:gd name="T51" fmla="*/ 0 h 158"/>
                  <a:gd name="T52" fmla="*/ 0 w 192"/>
                  <a:gd name="T53" fmla="*/ 0 h 158"/>
                  <a:gd name="T54" fmla="*/ 0 w 192"/>
                  <a:gd name="T55" fmla="*/ 0 h 158"/>
                  <a:gd name="T56" fmla="*/ 0 w 192"/>
                  <a:gd name="T57" fmla="*/ 0 h 158"/>
                  <a:gd name="T58" fmla="*/ 0 w 192"/>
                  <a:gd name="T59" fmla="*/ 0 h 158"/>
                  <a:gd name="T60" fmla="*/ 0 w 192"/>
                  <a:gd name="T61" fmla="*/ 0 h 158"/>
                  <a:gd name="T62" fmla="*/ 0 w 192"/>
                  <a:gd name="T63" fmla="*/ 0 h 158"/>
                  <a:gd name="T64" fmla="*/ 0 w 192"/>
                  <a:gd name="T65" fmla="*/ 0 h 158"/>
                  <a:gd name="T66" fmla="*/ 0 w 192"/>
                  <a:gd name="T67" fmla="*/ 0 h 158"/>
                  <a:gd name="T68" fmla="*/ 0 w 192"/>
                  <a:gd name="T69" fmla="*/ 0 h 158"/>
                  <a:gd name="T70" fmla="*/ 0 w 192"/>
                  <a:gd name="T71" fmla="*/ 0 h 158"/>
                  <a:gd name="T72" fmla="*/ 0 w 192"/>
                  <a:gd name="T73" fmla="*/ 0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92"/>
                  <a:gd name="T115" fmla="*/ 0 h 158"/>
                  <a:gd name="T116" fmla="*/ 192 w 192"/>
                  <a:gd name="T117" fmla="*/ 158 h 15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43" name="Freeform 1007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0 w 884"/>
                  <a:gd name="T1" fmla="*/ 0 h 1818"/>
                  <a:gd name="T2" fmla="*/ 0 w 884"/>
                  <a:gd name="T3" fmla="*/ 0 h 1818"/>
                  <a:gd name="T4" fmla="*/ 0 w 884"/>
                  <a:gd name="T5" fmla="*/ 0 h 1818"/>
                  <a:gd name="T6" fmla="*/ 0 w 884"/>
                  <a:gd name="T7" fmla="*/ 0 h 1818"/>
                  <a:gd name="T8" fmla="*/ 0 w 884"/>
                  <a:gd name="T9" fmla="*/ 0 h 1818"/>
                  <a:gd name="T10" fmla="*/ 0 w 884"/>
                  <a:gd name="T11" fmla="*/ 0 h 1818"/>
                  <a:gd name="T12" fmla="*/ 0 w 884"/>
                  <a:gd name="T13" fmla="*/ 0 h 1818"/>
                  <a:gd name="T14" fmla="*/ 0 w 884"/>
                  <a:gd name="T15" fmla="*/ 0 h 1818"/>
                  <a:gd name="T16" fmla="*/ 0 w 884"/>
                  <a:gd name="T17" fmla="*/ 0 h 1818"/>
                  <a:gd name="T18" fmla="*/ 0 w 884"/>
                  <a:gd name="T19" fmla="*/ 0 h 1818"/>
                  <a:gd name="T20" fmla="*/ 0 w 884"/>
                  <a:gd name="T21" fmla="*/ 0 h 1818"/>
                  <a:gd name="T22" fmla="*/ 0 w 884"/>
                  <a:gd name="T23" fmla="*/ 0 h 1818"/>
                  <a:gd name="T24" fmla="*/ 0 w 884"/>
                  <a:gd name="T25" fmla="*/ 0 h 1818"/>
                  <a:gd name="T26" fmla="*/ 0 w 884"/>
                  <a:gd name="T27" fmla="*/ 0 h 1818"/>
                  <a:gd name="T28" fmla="*/ 0 w 884"/>
                  <a:gd name="T29" fmla="*/ 0 h 1818"/>
                  <a:gd name="T30" fmla="*/ 0 w 884"/>
                  <a:gd name="T31" fmla="*/ 0 h 1818"/>
                  <a:gd name="T32" fmla="*/ 0 w 884"/>
                  <a:gd name="T33" fmla="*/ 0 h 1818"/>
                  <a:gd name="T34" fmla="*/ 0 w 884"/>
                  <a:gd name="T35" fmla="*/ 0 h 1818"/>
                  <a:gd name="T36" fmla="*/ 0 w 884"/>
                  <a:gd name="T37" fmla="*/ 0 h 1818"/>
                  <a:gd name="T38" fmla="*/ 0 w 884"/>
                  <a:gd name="T39" fmla="*/ 0 h 1818"/>
                  <a:gd name="T40" fmla="*/ 0 w 884"/>
                  <a:gd name="T41" fmla="*/ 0 h 1818"/>
                  <a:gd name="T42" fmla="*/ 0 w 884"/>
                  <a:gd name="T43" fmla="*/ 0 h 1818"/>
                  <a:gd name="T44" fmla="*/ 0 w 884"/>
                  <a:gd name="T45" fmla="*/ 0 h 1818"/>
                  <a:gd name="T46" fmla="*/ 0 w 884"/>
                  <a:gd name="T47" fmla="*/ 0 h 1818"/>
                  <a:gd name="T48" fmla="*/ 0 w 884"/>
                  <a:gd name="T49" fmla="*/ 0 h 1818"/>
                  <a:gd name="T50" fmla="*/ 0 w 884"/>
                  <a:gd name="T51" fmla="*/ 0 h 1818"/>
                  <a:gd name="T52" fmla="*/ 0 w 884"/>
                  <a:gd name="T53" fmla="*/ 0 h 1818"/>
                  <a:gd name="T54" fmla="*/ 0 w 884"/>
                  <a:gd name="T55" fmla="*/ 0 h 1818"/>
                  <a:gd name="T56" fmla="*/ 0 w 884"/>
                  <a:gd name="T57" fmla="*/ 0 h 1818"/>
                  <a:gd name="T58" fmla="*/ 0 w 884"/>
                  <a:gd name="T59" fmla="*/ 0 h 1818"/>
                  <a:gd name="T60" fmla="*/ 0 w 884"/>
                  <a:gd name="T61" fmla="*/ 0 h 1818"/>
                  <a:gd name="T62" fmla="*/ 0 w 884"/>
                  <a:gd name="T63" fmla="*/ 0 h 1818"/>
                  <a:gd name="T64" fmla="*/ 0 w 884"/>
                  <a:gd name="T65" fmla="*/ 0 h 1818"/>
                  <a:gd name="T66" fmla="*/ 0 w 884"/>
                  <a:gd name="T67" fmla="*/ 0 h 1818"/>
                  <a:gd name="T68" fmla="*/ 0 w 884"/>
                  <a:gd name="T69" fmla="*/ 0 h 1818"/>
                  <a:gd name="T70" fmla="*/ 0 w 884"/>
                  <a:gd name="T71" fmla="*/ 0 h 1818"/>
                  <a:gd name="T72" fmla="*/ 0 w 884"/>
                  <a:gd name="T73" fmla="*/ 0 h 1818"/>
                  <a:gd name="T74" fmla="*/ 0 w 884"/>
                  <a:gd name="T75" fmla="*/ 0 h 1818"/>
                  <a:gd name="T76" fmla="*/ 0 w 884"/>
                  <a:gd name="T77" fmla="*/ 0 h 1818"/>
                  <a:gd name="T78" fmla="*/ 0 w 884"/>
                  <a:gd name="T79" fmla="*/ 0 h 1818"/>
                  <a:gd name="T80" fmla="*/ 0 w 884"/>
                  <a:gd name="T81" fmla="*/ 0 h 1818"/>
                  <a:gd name="T82" fmla="*/ 0 w 884"/>
                  <a:gd name="T83" fmla="*/ 0 h 1818"/>
                  <a:gd name="T84" fmla="*/ 0 w 884"/>
                  <a:gd name="T85" fmla="*/ 0 h 1818"/>
                  <a:gd name="T86" fmla="*/ 0 w 884"/>
                  <a:gd name="T87" fmla="*/ 0 h 1818"/>
                  <a:gd name="T88" fmla="*/ 0 w 884"/>
                  <a:gd name="T89" fmla="*/ 0 h 1818"/>
                  <a:gd name="T90" fmla="*/ 0 w 884"/>
                  <a:gd name="T91" fmla="*/ 0 h 1818"/>
                  <a:gd name="T92" fmla="*/ 0 w 884"/>
                  <a:gd name="T93" fmla="*/ 0 h 1818"/>
                  <a:gd name="T94" fmla="*/ 0 w 884"/>
                  <a:gd name="T95" fmla="*/ 0 h 1818"/>
                  <a:gd name="T96" fmla="*/ 0 w 884"/>
                  <a:gd name="T97" fmla="*/ 0 h 1818"/>
                  <a:gd name="T98" fmla="*/ 0 w 884"/>
                  <a:gd name="T99" fmla="*/ 0 h 1818"/>
                  <a:gd name="T100" fmla="*/ 0 w 884"/>
                  <a:gd name="T101" fmla="*/ 0 h 1818"/>
                  <a:gd name="T102" fmla="*/ 0 w 884"/>
                  <a:gd name="T103" fmla="*/ 0 h 1818"/>
                  <a:gd name="T104" fmla="*/ 0 w 884"/>
                  <a:gd name="T105" fmla="*/ 0 h 1818"/>
                  <a:gd name="T106" fmla="*/ 0 w 884"/>
                  <a:gd name="T107" fmla="*/ 0 h 1818"/>
                  <a:gd name="T108" fmla="*/ 0 w 884"/>
                  <a:gd name="T109" fmla="*/ 0 h 1818"/>
                  <a:gd name="T110" fmla="*/ 0 w 884"/>
                  <a:gd name="T111" fmla="*/ 0 h 1818"/>
                  <a:gd name="T112" fmla="*/ 0 w 884"/>
                  <a:gd name="T113" fmla="*/ 0 h 1818"/>
                  <a:gd name="T114" fmla="*/ 0 w 884"/>
                  <a:gd name="T115" fmla="*/ 0 h 1818"/>
                  <a:gd name="T116" fmla="*/ 0 w 884"/>
                  <a:gd name="T117" fmla="*/ 0 h 1818"/>
                  <a:gd name="T118" fmla="*/ 0 w 884"/>
                  <a:gd name="T119" fmla="*/ 0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884"/>
                  <a:gd name="T181" fmla="*/ 0 h 1818"/>
                  <a:gd name="T182" fmla="*/ 884 w 884"/>
                  <a:gd name="T183" fmla="*/ 1818 h 181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</p:grpSp>
        <p:sp>
          <p:nvSpPr>
            <p:cNvPr id="18732" name="Freeform 1008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3440" y="1464"/>
              <a:ext cx="84" cy="69"/>
            </a:xfrm>
            <a:custGeom>
              <a:avLst/>
              <a:gdLst>
                <a:gd name="T0" fmla="*/ 0 w 279"/>
                <a:gd name="T1" fmla="*/ 0 h 204"/>
                <a:gd name="T2" fmla="*/ 0 w 279"/>
                <a:gd name="T3" fmla="*/ 0 h 204"/>
                <a:gd name="T4" fmla="*/ 0 w 279"/>
                <a:gd name="T5" fmla="*/ 0 h 204"/>
                <a:gd name="T6" fmla="*/ 0 w 279"/>
                <a:gd name="T7" fmla="*/ 0 h 204"/>
                <a:gd name="T8" fmla="*/ 0 w 279"/>
                <a:gd name="T9" fmla="*/ 0 h 204"/>
                <a:gd name="T10" fmla="*/ 0 w 279"/>
                <a:gd name="T11" fmla="*/ 0 h 204"/>
                <a:gd name="T12" fmla="*/ 0 w 279"/>
                <a:gd name="T13" fmla="*/ 0 h 204"/>
                <a:gd name="T14" fmla="*/ 0 w 279"/>
                <a:gd name="T15" fmla="*/ 0 h 204"/>
                <a:gd name="T16" fmla="*/ 0 w 279"/>
                <a:gd name="T17" fmla="*/ 0 h 204"/>
                <a:gd name="T18" fmla="*/ 0 w 279"/>
                <a:gd name="T19" fmla="*/ 0 h 204"/>
                <a:gd name="T20" fmla="*/ 0 w 279"/>
                <a:gd name="T21" fmla="*/ 0 h 204"/>
                <a:gd name="T22" fmla="*/ 0 w 279"/>
                <a:gd name="T23" fmla="*/ 0 h 204"/>
                <a:gd name="T24" fmla="*/ 0 w 279"/>
                <a:gd name="T25" fmla="*/ 0 h 204"/>
                <a:gd name="T26" fmla="*/ 0 w 279"/>
                <a:gd name="T27" fmla="*/ 0 h 204"/>
                <a:gd name="T28" fmla="*/ 0 w 279"/>
                <a:gd name="T29" fmla="*/ 0 h 204"/>
                <a:gd name="T30" fmla="*/ 0 w 279"/>
                <a:gd name="T31" fmla="*/ 0 h 204"/>
                <a:gd name="T32" fmla="*/ 0 w 279"/>
                <a:gd name="T33" fmla="*/ 0 h 204"/>
                <a:gd name="T34" fmla="*/ 0 w 279"/>
                <a:gd name="T35" fmla="*/ 0 h 204"/>
                <a:gd name="T36" fmla="*/ 0 w 279"/>
                <a:gd name="T37" fmla="*/ 0 h 204"/>
                <a:gd name="T38" fmla="*/ 0 w 279"/>
                <a:gd name="T39" fmla="*/ 0 h 204"/>
                <a:gd name="T40" fmla="*/ 0 w 279"/>
                <a:gd name="T41" fmla="*/ 0 h 204"/>
                <a:gd name="T42" fmla="*/ 0 w 279"/>
                <a:gd name="T43" fmla="*/ 0 h 204"/>
                <a:gd name="T44" fmla="*/ 0 w 279"/>
                <a:gd name="T45" fmla="*/ 0 h 204"/>
                <a:gd name="T46" fmla="*/ 0 w 279"/>
                <a:gd name="T47" fmla="*/ 0 h 204"/>
                <a:gd name="T48" fmla="*/ 0 w 279"/>
                <a:gd name="T49" fmla="*/ 0 h 204"/>
                <a:gd name="T50" fmla="*/ 0 w 279"/>
                <a:gd name="T51" fmla="*/ 0 h 204"/>
                <a:gd name="T52" fmla="*/ 0 w 279"/>
                <a:gd name="T53" fmla="*/ 0 h 204"/>
                <a:gd name="T54" fmla="*/ 0 w 279"/>
                <a:gd name="T55" fmla="*/ 0 h 204"/>
                <a:gd name="T56" fmla="*/ 0 w 279"/>
                <a:gd name="T57" fmla="*/ 0 h 204"/>
                <a:gd name="T58" fmla="*/ 0 w 279"/>
                <a:gd name="T59" fmla="*/ 0 h 204"/>
                <a:gd name="T60" fmla="*/ 0 w 279"/>
                <a:gd name="T61" fmla="*/ 0 h 204"/>
                <a:gd name="T62" fmla="*/ 0 w 279"/>
                <a:gd name="T63" fmla="*/ 0 h 204"/>
                <a:gd name="T64" fmla="*/ 0 w 279"/>
                <a:gd name="T65" fmla="*/ 0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9"/>
                <a:gd name="T100" fmla="*/ 0 h 204"/>
                <a:gd name="T101" fmla="*/ 279 w 279"/>
                <a:gd name="T102" fmla="*/ 204 h 2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33" name="Freeform 1009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3076" y="1195"/>
              <a:ext cx="143" cy="95"/>
            </a:xfrm>
            <a:custGeom>
              <a:avLst/>
              <a:gdLst>
                <a:gd name="T0" fmla="*/ 0 w 485"/>
                <a:gd name="T1" fmla="*/ 0 h 291"/>
                <a:gd name="T2" fmla="*/ 0 w 485"/>
                <a:gd name="T3" fmla="*/ 0 h 291"/>
                <a:gd name="T4" fmla="*/ 0 w 485"/>
                <a:gd name="T5" fmla="*/ 0 h 291"/>
                <a:gd name="T6" fmla="*/ 0 w 485"/>
                <a:gd name="T7" fmla="*/ 0 h 291"/>
                <a:gd name="T8" fmla="*/ 0 w 485"/>
                <a:gd name="T9" fmla="*/ 0 h 291"/>
                <a:gd name="T10" fmla="*/ 0 w 485"/>
                <a:gd name="T11" fmla="*/ 0 h 291"/>
                <a:gd name="T12" fmla="*/ 0 w 485"/>
                <a:gd name="T13" fmla="*/ 0 h 291"/>
                <a:gd name="T14" fmla="*/ 0 w 485"/>
                <a:gd name="T15" fmla="*/ 0 h 291"/>
                <a:gd name="T16" fmla="*/ 0 w 485"/>
                <a:gd name="T17" fmla="*/ 0 h 291"/>
                <a:gd name="T18" fmla="*/ 0 w 485"/>
                <a:gd name="T19" fmla="*/ 0 h 291"/>
                <a:gd name="T20" fmla="*/ 0 w 485"/>
                <a:gd name="T21" fmla="*/ 0 h 291"/>
                <a:gd name="T22" fmla="*/ 0 w 485"/>
                <a:gd name="T23" fmla="*/ 0 h 291"/>
                <a:gd name="T24" fmla="*/ 0 w 485"/>
                <a:gd name="T25" fmla="*/ 0 h 291"/>
                <a:gd name="T26" fmla="*/ 0 w 485"/>
                <a:gd name="T27" fmla="*/ 0 h 291"/>
                <a:gd name="T28" fmla="*/ 0 w 485"/>
                <a:gd name="T29" fmla="*/ 0 h 291"/>
                <a:gd name="T30" fmla="*/ 0 w 485"/>
                <a:gd name="T31" fmla="*/ 0 h 291"/>
                <a:gd name="T32" fmla="*/ 0 w 485"/>
                <a:gd name="T33" fmla="*/ 0 h 291"/>
                <a:gd name="T34" fmla="*/ 0 w 485"/>
                <a:gd name="T35" fmla="*/ 0 h 291"/>
                <a:gd name="T36" fmla="*/ 0 w 485"/>
                <a:gd name="T37" fmla="*/ 0 h 291"/>
                <a:gd name="T38" fmla="*/ 0 w 485"/>
                <a:gd name="T39" fmla="*/ 0 h 291"/>
                <a:gd name="T40" fmla="*/ 0 w 485"/>
                <a:gd name="T41" fmla="*/ 0 h 291"/>
                <a:gd name="T42" fmla="*/ 0 w 485"/>
                <a:gd name="T43" fmla="*/ 0 h 291"/>
                <a:gd name="T44" fmla="*/ 0 w 485"/>
                <a:gd name="T45" fmla="*/ 0 h 291"/>
                <a:gd name="T46" fmla="*/ 0 w 485"/>
                <a:gd name="T47" fmla="*/ 0 h 291"/>
                <a:gd name="T48" fmla="*/ 0 w 485"/>
                <a:gd name="T49" fmla="*/ 0 h 291"/>
                <a:gd name="T50" fmla="*/ 0 w 485"/>
                <a:gd name="T51" fmla="*/ 0 h 291"/>
                <a:gd name="T52" fmla="*/ 0 w 485"/>
                <a:gd name="T53" fmla="*/ 0 h 291"/>
                <a:gd name="T54" fmla="*/ 0 w 485"/>
                <a:gd name="T55" fmla="*/ 0 h 291"/>
                <a:gd name="T56" fmla="*/ 0 w 485"/>
                <a:gd name="T57" fmla="*/ 0 h 291"/>
                <a:gd name="T58" fmla="*/ 0 w 485"/>
                <a:gd name="T59" fmla="*/ 0 h 291"/>
                <a:gd name="T60" fmla="*/ 0 w 485"/>
                <a:gd name="T61" fmla="*/ 0 h 291"/>
                <a:gd name="T62" fmla="*/ 0 w 485"/>
                <a:gd name="T63" fmla="*/ 0 h 291"/>
                <a:gd name="T64" fmla="*/ 0 w 485"/>
                <a:gd name="T65" fmla="*/ 0 h 291"/>
                <a:gd name="T66" fmla="*/ 0 w 485"/>
                <a:gd name="T67" fmla="*/ 0 h 291"/>
                <a:gd name="T68" fmla="*/ 0 w 485"/>
                <a:gd name="T69" fmla="*/ 0 h 291"/>
                <a:gd name="T70" fmla="*/ 0 w 485"/>
                <a:gd name="T71" fmla="*/ 0 h 291"/>
                <a:gd name="T72" fmla="*/ 0 w 485"/>
                <a:gd name="T73" fmla="*/ 0 h 291"/>
                <a:gd name="T74" fmla="*/ 0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85"/>
                <a:gd name="T115" fmla="*/ 0 h 291"/>
                <a:gd name="T116" fmla="*/ 485 w 485"/>
                <a:gd name="T117" fmla="*/ 291 h 29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34" name="Freeform 1010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2978" y="1404"/>
              <a:ext cx="56" cy="55"/>
            </a:xfrm>
            <a:custGeom>
              <a:avLst/>
              <a:gdLst>
                <a:gd name="T0" fmla="*/ 0 w 186"/>
                <a:gd name="T1" fmla="*/ 0 h 166"/>
                <a:gd name="T2" fmla="*/ 0 w 186"/>
                <a:gd name="T3" fmla="*/ 0 h 166"/>
                <a:gd name="T4" fmla="*/ 0 w 186"/>
                <a:gd name="T5" fmla="*/ 0 h 166"/>
                <a:gd name="T6" fmla="*/ 0 w 186"/>
                <a:gd name="T7" fmla="*/ 0 h 166"/>
                <a:gd name="T8" fmla="*/ 0 w 186"/>
                <a:gd name="T9" fmla="*/ 0 h 166"/>
                <a:gd name="T10" fmla="*/ 0 w 186"/>
                <a:gd name="T11" fmla="*/ 0 h 166"/>
                <a:gd name="T12" fmla="*/ 0 w 186"/>
                <a:gd name="T13" fmla="*/ 0 h 166"/>
                <a:gd name="T14" fmla="*/ 0 w 186"/>
                <a:gd name="T15" fmla="*/ 0 h 166"/>
                <a:gd name="T16" fmla="*/ 0 w 186"/>
                <a:gd name="T17" fmla="*/ 0 h 166"/>
                <a:gd name="T18" fmla="*/ 0 w 186"/>
                <a:gd name="T19" fmla="*/ 0 h 166"/>
                <a:gd name="T20" fmla="*/ 0 w 186"/>
                <a:gd name="T21" fmla="*/ 0 h 166"/>
                <a:gd name="T22" fmla="*/ 0 w 186"/>
                <a:gd name="T23" fmla="*/ 0 h 166"/>
                <a:gd name="T24" fmla="*/ 0 w 186"/>
                <a:gd name="T25" fmla="*/ 0 h 166"/>
                <a:gd name="T26" fmla="*/ 0 w 186"/>
                <a:gd name="T27" fmla="*/ 0 h 166"/>
                <a:gd name="T28" fmla="*/ 0 w 186"/>
                <a:gd name="T29" fmla="*/ 0 h 166"/>
                <a:gd name="T30" fmla="*/ 0 w 186"/>
                <a:gd name="T31" fmla="*/ 0 h 166"/>
                <a:gd name="T32" fmla="*/ 0 w 186"/>
                <a:gd name="T33" fmla="*/ 0 h 166"/>
                <a:gd name="T34" fmla="*/ 0 w 186"/>
                <a:gd name="T35" fmla="*/ 0 h 166"/>
                <a:gd name="T36" fmla="*/ 0 w 186"/>
                <a:gd name="T37" fmla="*/ 0 h 166"/>
                <a:gd name="T38" fmla="*/ 0 w 186"/>
                <a:gd name="T39" fmla="*/ 0 h 166"/>
                <a:gd name="T40" fmla="*/ 0 w 186"/>
                <a:gd name="T41" fmla="*/ 0 h 166"/>
                <a:gd name="T42" fmla="*/ 0 w 186"/>
                <a:gd name="T43" fmla="*/ 0 h 166"/>
                <a:gd name="T44" fmla="*/ 0 w 186"/>
                <a:gd name="T45" fmla="*/ 0 h 166"/>
                <a:gd name="T46" fmla="*/ 0 w 186"/>
                <a:gd name="T47" fmla="*/ 0 h 166"/>
                <a:gd name="T48" fmla="*/ 0 w 186"/>
                <a:gd name="T49" fmla="*/ 0 h 166"/>
                <a:gd name="T50" fmla="*/ 0 w 186"/>
                <a:gd name="T51" fmla="*/ 0 h 166"/>
                <a:gd name="T52" fmla="*/ 0 w 186"/>
                <a:gd name="T53" fmla="*/ 0 h 166"/>
                <a:gd name="T54" fmla="*/ 0 w 186"/>
                <a:gd name="T55" fmla="*/ 0 h 166"/>
                <a:gd name="T56" fmla="*/ 0 w 186"/>
                <a:gd name="T57" fmla="*/ 0 h 166"/>
                <a:gd name="T58" fmla="*/ 0 w 186"/>
                <a:gd name="T59" fmla="*/ 0 h 166"/>
                <a:gd name="T60" fmla="*/ 0 w 186"/>
                <a:gd name="T61" fmla="*/ 0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86"/>
                <a:gd name="T94" fmla="*/ 0 h 166"/>
                <a:gd name="T95" fmla="*/ 186 w 186"/>
                <a:gd name="T96" fmla="*/ 166 h 16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35" name="Freeform 1011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1862" y="2309"/>
              <a:ext cx="57" cy="36"/>
            </a:xfrm>
            <a:custGeom>
              <a:avLst/>
              <a:gdLst>
                <a:gd name="T0" fmla="*/ 0 w 186"/>
                <a:gd name="T1" fmla="*/ 0 h 104"/>
                <a:gd name="T2" fmla="*/ 0 w 186"/>
                <a:gd name="T3" fmla="*/ 0 h 104"/>
                <a:gd name="T4" fmla="*/ 0 w 186"/>
                <a:gd name="T5" fmla="*/ 0 h 104"/>
                <a:gd name="T6" fmla="*/ 0 w 186"/>
                <a:gd name="T7" fmla="*/ 0 h 104"/>
                <a:gd name="T8" fmla="*/ 0 w 186"/>
                <a:gd name="T9" fmla="*/ 0 h 104"/>
                <a:gd name="T10" fmla="*/ 0 w 186"/>
                <a:gd name="T11" fmla="*/ 0 h 104"/>
                <a:gd name="T12" fmla="*/ 0 w 186"/>
                <a:gd name="T13" fmla="*/ 0 h 104"/>
                <a:gd name="T14" fmla="*/ 0 w 186"/>
                <a:gd name="T15" fmla="*/ 0 h 104"/>
                <a:gd name="T16" fmla="*/ 0 w 186"/>
                <a:gd name="T17" fmla="*/ 0 h 104"/>
                <a:gd name="T18" fmla="*/ 0 w 186"/>
                <a:gd name="T19" fmla="*/ 0 h 104"/>
                <a:gd name="T20" fmla="*/ 0 w 186"/>
                <a:gd name="T21" fmla="*/ 0 h 104"/>
                <a:gd name="T22" fmla="*/ 0 w 186"/>
                <a:gd name="T23" fmla="*/ 0 h 104"/>
                <a:gd name="T24" fmla="*/ 0 w 186"/>
                <a:gd name="T25" fmla="*/ 0 h 104"/>
                <a:gd name="T26" fmla="*/ 0 w 186"/>
                <a:gd name="T27" fmla="*/ 0 h 104"/>
                <a:gd name="T28" fmla="*/ 0 w 186"/>
                <a:gd name="T29" fmla="*/ 0 h 104"/>
                <a:gd name="T30" fmla="*/ 0 w 186"/>
                <a:gd name="T31" fmla="*/ 0 h 104"/>
                <a:gd name="T32" fmla="*/ 0 w 186"/>
                <a:gd name="T33" fmla="*/ 0 h 104"/>
                <a:gd name="T34" fmla="*/ 0 w 186"/>
                <a:gd name="T35" fmla="*/ 0 h 104"/>
                <a:gd name="T36" fmla="*/ 0 w 186"/>
                <a:gd name="T37" fmla="*/ 0 h 104"/>
                <a:gd name="T38" fmla="*/ 0 w 186"/>
                <a:gd name="T39" fmla="*/ 0 h 104"/>
                <a:gd name="T40" fmla="*/ 0 w 186"/>
                <a:gd name="T41" fmla="*/ 0 h 104"/>
                <a:gd name="T42" fmla="*/ 0 w 186"/>
                <a:gd name="T43" fmla="*/ 0 h 104"/>
                <a:gd name="T44" fmla="*/ 0 w 186"/>
                <a:gd name="T45" fmla="*/ 0 h 104"/>
                <a:gd name="T46" fmla="*/ 0 w 186"/>
                <a:gd name="T47" fmla="*/ 0 h 104"/>
                <a:gd name="T48" fmla="*/ 0 w 186"/>
                <a:gd name="T49" fmla="*/ 0 h 104"/>
                <a:gd name="T50" fmla="*/ 0 w 186"/>
                <a:gd name="T51" fmla="*/ 0 h 104"/>
                <a:gd name="T52" fmla="*/ 0 w 186"/>
                <a:gd name="T53" fmla="*/ 0 h 104"/>
                <a:gd name="T54" fmla="*/ 0 w 186"/>
                <a:gd name="T55" fmla="*/ 0 h 104"/>
                <a:gd name="T56" fmla="*/ 0 w 186"/>
                <a:gd name="T57" fmla="*/ 0 h 104"/>
                <a:gd name="T58" fmla="*/ 0 w 186"/>
                <a:gd name="T59" fmla="*/ 0 h 104"/>
                <a:gd name="T60" fmla="*/ 0 w 186"/>
                <a:gd name="T61" fmla="*/ 0 h 104"/>
                <a:gd name="T62" fmla="*/ 0 w 186"/>
                <a:gd name="T63" fmla="*/ 0 h 104"/>
                <a:gd name="T64" fmla="*/ 0 w 186"/>
                <a:gd name="T65" fmla="*/ 0 h 104"/>
                <a:gd name="T66" fmla="*/ 0 w 186"/>
                <a:gd name="T67" fmla="*/ 0 h 104"/>
                <a:gd name="T68" fmla="*/ 0 w 186"/>
                <a:gd name="T69" fmla="*/ 0 h 104"/>
                <a:gd name="T70" fmla="*/ 0 w 186"/>
                <a:gd name="T71" fmla="*/ 0 h 104"/>
                <a:gd name="T72" fmla="*/ 0 w 186"/>
                <a:gd name="T73" fmla="*/ 0 h 104"/>
                <a:gd name="T74" fmla="*/ 0 w 186"/>
                <a:gd name="T75" fmla="*/ 0 h 104"/>
                <a:gd name="T76" fmla="*/ 0 w 186"/>
                <a:gd name="T77" fmla="*/ 0 h 104"/>
                <a:gd name="T78" fmla="*/ 0 w 186"/>
                <a:gd name="T79" fmla="*/ 0 h 104"/>
                <a:gd name="T80" fmla="*/ 0 w 186"/>
                <a:gd name="T81" fmla="*/ 0 h 104"/>
                <a:gd name="T82" fmla="*/ 0 w 186"/>
                <a:gd name="T83" fmla="*/ 0 h 104"/>
                <a:gd name="T84" fmla="*/ 0 w 186"/>
                <a:gd name="T85" fmla="*/ 0 h 104"/>
                <a:gd name="T86" fmla="*/ 0 w 186"/>
                <a:gd name="T87" fmla="*/ 0 h 104"/>
                <a:gd name="T88" fmla="*/ 0 w 186"/>
                <a:gd name="T89" fmla="*/ 0 h 104"/>
                <a:gd name="T90" fmla="*/ 0 w 186"/>
                <a:gd name="T91" fmla="*/ 0 h 104"/>
                <a:gd name="T92" fmla="*/ 0 w 186"/>
                <a:gd name="T93" fmla="*/ 0 h 104"/>
                <a:gd name="T94" fmla="*/ 0 w 186"/>
                <a:gd name="T95" fmla="*/ 0 h 104"/>
                <a:gd name="T96" fmla="*/ 0 w 186"/>
                <a:gd name="T97" fmla="*/ 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86"/>
                <a:gd name="T148" fmla="*/ 0 h 104"/>
                <a:gd name="T149" fmla="*/ 186 w 186"/>
                <a:gd name="T150" fmla="*/ 104 h 10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36" name="Freeform 1012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3086" y="1426"/>
              <a:ext cx="91" cy="61"/>
            </a:xfrm>
            <a:custGeom>
              <a:avLst/>
              <a:gdLst>
                <a:gd name="T0" fmla="*/ 0 w 311"/>
                <a:gd name="T1" fmla="*/ 0 h 179"/>
                <a:gd name="T2" fmla="*/ 0 w 311"/>
                <a:gd name="T3" fmla="*/ 0 h 179"/>
                <a:gd name="T4" fmla="*/ 0 w 311"/>
                <a:gd name="T5" fmla="*/ 0 h 179"/>
                <a:gd name="T6" fmla="*/ 0 w 311"/>
                <a:gd name="T7" fmla="*/ 0 h 179"/>
                <a:gd name="T8" fmla="*/ 0 w 311"/>
                <a:gd name="T9" fmla="*/ 0 h 179"/>
                <a:gd name="T10" fmla="*/ 0 w 311"/>
                <a:gd name="T11" fmla="*/ 0 h 179"/>
                <a:gd name="T12" fmla="*/ 0 w 311"/>
                <a:gd name="T13" fmla="*/ 0 h 179"/>
                <a:gd name="T14" fmla="*/ 0 w 311"/>
                <a:gd name="T15" fmla="*/ 0 h 179"/>
                <a:gd name="T16" fmla="*/ 0 w 311"/>
                <a:gd name="T17" fmla="*/ 0 h 179"/>
                <a:gd name="T18" fmla="*/ 0 w 311"/>
                <a:gd name="T19" fmla="*/ 0 h 179"/>
                <a:gd name="T20" fmla="*/ 0 w 311"/>
                <a:gd name="T21" fmla="*/ 0 h 179"/>
                <a:gd name="T22" fmla="*/ 0 w 311"/>
                <a:gd name="T23" fmla="*/ 0 h 179"/>
                <a:gd name="T24" fmla="*/ 0 w 311"/>
                <a:gd name="T25" fmla="*/ 0 h 179"/>
                <a:gd name="T26" fmla="*/ 0 w 311"/>
                <a:gd name="T27" fmla="*/ 0 h 179"/>
                <a:gd name="T28" fmla="*/ 0 w 311"/>
                <a:gd name="T29" fmla="*/ 0 h 179"/>
                <a:gd name="T30" fmla="*/ 0 w 311"/>
                <a:gd name="T31" fmla="*/ 0 h 179"/>
                <a:gd name="T32" fmla="*/ 0 w 311"/>
                <a:gd name="T33" fmla="*/ 0 h 179"/>
                <a:gd name="T34" fmla="*/ 0 w 311"/>
                <a:gd name="T35" fmla="*/ 0 h 179"/>
                <a:gd name="T36" fmla="*/ 0 w 311"/>
                <a:gd name="T37" fmla="*/ 0 h 179"/>
                <a:gd name="T38" fmla="*/ 0 w 311"/>
                <a:gd name="T39" fmla="*/ 0 h 179"/>
                <a:gd name="T40" fmla="*/ 0 w 311"/>
                <a:gd name="T41" fmla="*/ 0 h 179"/>
                <a:gd name="T42" fmla="*/ 0 w 311"/>
                <a:gd name="T43" fmla="*/ 0 h 179"/>
                <a:gd name="T44" fmla="*/ 0 w 311"/>
                <a:gd name="T45" fmla="*/ 0 h 179"/>
                <a:gd name="T46" fmla="*/ 0 w 311"/>
                <a:gd name="T47" fmla="*/ 0 h 179"/>
                <a:gd name="T48" fmla="*/ 0 w 311"/>
                <a:gd name="T49" fmla="*/ 0 h 179"/>
                <a:gd name="T50" fmla="*/ 0 w 311"/>
                <a:gd name="T51" fmla="*/ 0 h 179"/>
                <a:gd name="T52" fmla="*/ 0 w 311"/>
                <a:gd name="T53" fmla="*/ 0 h 179"/>
                <a:gd name="T54" fmla="*/ 0 w 311"/>
                <a:gd name="T55" fmla="*/ 0 h 179"/>
                <a:gd name="T56" fmla="*/ 0 w 311"/>
                <a:gd name="T57" fmla="*/ 0 h 179"/>
                <a:gd name="T58" fmla="*/ 0 w 311"/>
                <a:gd name="T59" fmla="*/ 0 h 179"/>
                <a:gd name="T60" fmla="*/ 0 w 311"/>
                <a:gd name="T61" fmla="*/ 0 h 179"/>
                <a:gd name="T62" fmla="*/ 0 w 311"/>
                <a:gd name="T63" fmla="*/ 0 h 179"/>
                <a:gd name="T64" fmla="*/ 0 w 311"/>
                <a:gd name="T65" fmla="*/ 0 h 179"/>
                <a:gd name="T66" fmla="*/ 0 w 311"/>
                <a:gd name="T67" fmla="*/ 0 h 179"/>
                <a:gd name="T68" fmla="*/ 0 w 311"/>
                <a:gd name="T69" fmla="*/ 0 h 179"/>
                <a:gd name="T70" fmla="*/ 0 w 311"/>
                <a:gd name="T71" fmla="*/ 0 h 179"/>
                <a:gd name="T72" fmla="*/ 0 w 311"/>
                <a:gd name="T73" fmla="*/ 0 h 179"/>
                <a:gd name="T74" fmla="*/ 0 w 311"/>
                <a:gd name="T75" fmla="*/ 0 h 179"/>
                <a:gd name="T76" fmla="*/ 0 w 311"/>
                <a:gd name="T77" fmla="*/ 0 h 179"/>
                <a:gd name="T78" fmla="*/ 0 w 311"/>
                <a:gd name="T79" fmla="*/ 0 h 179"/>
                <a:gd name="T80" fmla="*/ 0 w 311"/>
                <a:gd name="T81" fmla="*/ 0 h 179"/>
                <a:gd name="T82" fmla="*/ 0 w 311"/>
                <a:gd name="T83" fmla="*/ 0 h 179"/>
                <a:gd name="T84" fmla="*/ 0 w 311"/>
                <a:gd name="T85" fmla="*/ 0 h 179"/>
                <a:gd name="T86" fmla="*/ 0 w 311"/>
                <a:gd name="T87" fmla="*/ 0 h 179"/>
                <a:gd name="T88" fmla="*/ 0 w 311"/>
                <a:gd name="T89" fmla="*/ 0 h 179"/>
                <a:gd name="T90" fmla="*/ 0 w 311"/>
                <a:gd name="T91" fmla="*/ 0 h 179"/>
                <a:gd name="T92" fmla="*/ 0 w 311"/>
                <a:gd name="T93" fmla="*/ 0 h 179"/>
                <a:gd name="T94" fmla="*/ 0 w 311"/>
                <a:gd name="T95" fmla="*/ 0 h 179"/>
                <a:gd name="T96" fmla="*/ 0 w 311"/>
                <a:gd name="T97" fmla="*/ 0 h 179"/>
                <a:gd name="T98" fmla="*/ 0 w 311"/>
                <a:gd name="T99" fmla="*/ 0 h 179"/>
                <a:gd name="T100" fmla="*/ 0 w 311"/>
                <a:gd name="T101" fmla="*/ 0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11"/>
                <a:gd name="T154" fmla="*/ 0 h 179"/>
                <a:gd name="T155" fmla="*/ 311 w 311"/>
                <a:gd name="T156" fmla="*/ 179 h 17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37" name="Freeform 1013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2647" y="2010"/>
              <a:ext cx="121" cy="104"/>
            </a:xfrm>
            <a:custGeom>
              <a:avLst/>
              <a:gdLst>
                <a:gd name="T0" fmla="*/ 0 w 405"/>
                <a:gd name="T1" fmla="*/ 0 h 314"/>
                <a:gd name="T2" fmla="*/ 0 w 405"/>
                <a:gd name="T3" fmla="*/ 0 h 314"/>
                <a:gd name="T4" fmla="*/ 0 w 405"/>
                <a:gd name="T5" fmla="*/ 0 h 314"/>
                <a:gd name="T6" fmla="*/ 0 w 405"/>
                <a:gd name="T7" fmla="*/ 0 h 314"/>
                <a:gd name="T8" fmla="*/ 0 w 405"/>
                <a:gd name="T9" fmla="*/ 0 h 314"/>
                <a:gd name="T10" fmla="*/ 0 w 405"/>
                <a:gd name="T11" fmla="*/ 0 h 314"/>
                <a:gd name="T12" fmla="*/ 0 w 405"/>
                <a:gd name="T13" fmla="*/ 0 h 314"/>
                <a:gd name="T14" fmla="*/ 0 w 405"/>
                <a:gd name="T15" fmla="*/ 0 h 314"/>
                <a:gd name="T16" fmla="*/ 0 w 405"/>
                <a:gd name="T17" fmla="*/ 0 h 314"/>
                <a:gd name="T18" fmla="*/ 0 w 405"/>
                <a:gd name="T19" fmla="*/ 0 h 314"/>
                <a:gd name="T20" fmla="*/ 0 w 405"/>
                <a:gd name="T21" fmla="*/ 0 h 314"/>
                <a:gd name="T22" fmla="*/ 0 w 405"/>
                <a:gd name="T23" fmla="*/ 0 h 314"/>
                <a:gd name="T24" fmla="*/ 0 w 405"/>
                <a:gd name="T25" fmla="*/ 0 h 314"/>
                <a:gd name="T26" fmla="*/ 0 w 405"/>
                <a:gd name="T27" fmla="*/ 0 h 314"/>
                <a:gd name="T28" fmla="*/ 0 w 405"/>
                <a:gd name="T29" fmla="*/ 0 h 314"/>
                <a:gd name="T30" fmla="*/ 0 w 405"/>
                <a:gd name="T31" fmla="*/ 0 h 314"/>
                <a:gd name="T32" fmla="*/ 0 w 405"/>
                <a:gd name="T33" fmla="*/ 0 h 314"/>
                <a:gd name="T34" fmla="*/ 0 w 405"/>
                <a:gd name="T35" fmla="*/ 0 h 314"/>
                <a:gd name="T36" fmla="*/ 0 w 405"/>
                <a:gd name="T37" fmla="*/ 0 h 314"/>
                <a:gd name="T38" fmla="*/ 0 w 405"/>
                <a:gd name="T39" fmla="*/ 0 h 314"/>
                <a:gd name="T40" fmla="*/ 0 w 405"/>
                <a:gd name="T41" fmla="*/ 0 h 314"/>
                <a:gd name="T42" fmla="*/ 0 w 405"/>
                <a:gd name="T43" fmla="*/ 0 h 314"/>
                <a:gd name="T44" fmla="*/ 0 w 405"/>
                <a:gd name="T45" fmla="*/ 0 h 314"/>
                <a:gd name="T46" fmla="*/ 0 w 405"/>
                <a:gd name="T47" fmla="*/ 0 h 314"/>
                <a:gd name="T48" fmla="*/ 0 w 405"/>
                <a:gd name="T49" fmla="*/ 0 h 314"/>
                <a:gd name="T50" fmla="*/ 0 w 405"/>
                <a:gd name="T51" fmla="*/ 0 h 314"/>
                <a:gd name="T52" fmla="*/ 0 w 405"/>
                <a:gd name="T53" fmla="*/ 0 h 314"/>
                <a:gd name="T54" fmla="*/ 0 w 405"/>
                <a:gd name="T55" fmla="*/ 0 h 314"/>
                <a:gd name="T56" fmla="*/ 0 w 405"/>
                <a:gd name="T57" fmla="*/ 0 h 314"/>
                <a:gd name="T58" fmla="*/ 0 w 405"/>
                <a:gd name="T59" fmla="*/ 0 h 314"/>
                <a:gd name="T60" fmla="*/ 0 w 405"/>
                <a:gd name="T61" fmla="*/ 0 h 314"/>
                <a:gd name="T62" fmla="*/ 0 w 405"/>
                <a:gd name="T63" fmla="*/ 0 h 314"/>
                <a:gd name="T64" fmla="*/ 0 w 405"/>
                <a:gd name="T65" fmla="*/ 0 h 314"/>
                <a:gd name="T66" fmla="*/ 0 w 405"/>
                <a:gd name="T67" fmla="*/ 0 h 314"/>
                <a:gd name="T68" fmla="*/ 0 w 405"/>
                <a:gd name="T69" fmla="*/ 0 h 314"/>
                <a:gd name="T70" fmla="*/ 0 w 405"/>
                <a:gd name="T71" fmla="*/ 0 h 314"/>
                <a:gd name="T72" fmla="*/ 0 w 405"/>
                <a:gd name="T73" fmla="*/ 0 h 314"/>
                <a:gd name="T74" fmla="*/ 0 w 405"/>
                <a:gd name="T75" fmla="*/ 0 h 314"/>
                <a:gd name="T76" fmla="*/ 0 w 405"/>
                <a:gd name="T77" fmla="*/ 0 h 314"/>
                <a:gd name="T78" fmla="*/ 0 w 405"/>
                <a:gd name="T79" fmla="*/ 0 h 314"/>
                <a:gd name="T80" fmla="*/ 0 w 405"/>
                <a:gd name="T81" fmla="*/ 0 h 314"/>
                <a:gd name="T82" fmla="*/ 0 w 405"/>
                <a:gd name="T83" fmla="*/ 0 h 314"/>
                <a:gd name="T84" fmla="*/ 0 w 405"/>
                <a:gd name="T85" fmla="*/ 0 h 314"/>
                <a:gd name="T86" fmla="*/ 0 w 405"/>
                <a:gd name="T87" fmla="*/ 0 h 314"/>
                <a:gd name="T88" fmla="*/ 0 w 405"/>
                <a:gd name="T89" fmla="*/ 0 h 314"/>
                <a:gd name="T90" fmla="*/ 0 w 405"/>
                <a:gd name="T91" fmla="*/ 0 h 314"/>
                <a:gd name="T92" fmla="*/ 0 w 405"/>
                <a:gd name="T93" fmla="*/ 0 h 314"/>
                <a:gd name="T94" fmla="*/ 0 w 405"/>
                <a:gd name="T95" fmla="*/ 0 h 314"/>
                <a:gd name="T96" fmla="*/ 0 w 405"/>
                <a:gd name="T97" fmla="*/ 0 h 314"/>
                <a:gd name="T98" fmla="*/ 0 w 405"/>
                <a:gd name="T99" fmla="*/ 0 h 314"/>
                <a:gd name="T100" fmla="*/ 0 w 405"/>
                <a:gd name="T101" fmla="*/ 0 h 314"/>
                <a:gd name="T102" fmla="*/ 0 w 405"/>
                <a:gd name="T103" fmla="*/ 0 h 314"/>
                <a:gd name="T104" fmla="*/ 0 w 405"/>
                <a:gd name="T105" fmla="*/ 0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05"/>
                <a:gd name="T160" fmla="*/ 0 h 314"/>
                <a:gd name="T161" fmla="*/ 405 w 405"/>
                <a:gd name="T162" fmla="*/ 314 h 31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38" name="Freeform 1014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2884" y="2053"/>
              <a:ext cx="132" cy="220"/>
            </a:xfrm>
            <a:custGeom>
              <a:avLst/>
              <a:gdLst>
                <a:gd name="T0" fmla="*/ 0 w 453"/>
                <a:gd name="T1" fmla="*/ 0 h 661"/>
                <a:gd name="T2" fmla="*/ 0 w 453"/>
                <a:gd name="T3" fmla="*/ 0 h 661"/>
                <a:gd name="T4" fmla="*/ 0 w 453"/>
                <a:gd name="T5" fmla="*/ 0 h 661"/>
                <a:gd name="T6" fmla="*/ 0 w 453"/>
                <a:gd name="T7" fmla="*/ 0 h 661"/>
                <a:gd name="T8" fmla="*/ 0 w 453"/>
                <a:gd name="T9" fmla="*/ 0 h 661"/>
                <a:gd name="T10" fmla="*/ 0 w 453"/>
                <a:gd name="T11" fmla="*/ 0 h 661"/>
                <a:gd name="T12" fmla="*/ 0 w 453"/>
                <a:gd name="T13" fmla="*/ 0 h 661"/>
                <a:gd name="T14" fmla="*/ 0 w 453"/>
                <a:gd name="T15" fmla="*/ 0 h 661"/>
                <a:gd name="T16" fmla="*/ 0 w 453"/>
                <a:gd name="T17" fmla="*/ 0 h 661"/>
                <a:gd name="T18" fmla="*/ 0 w 453"/>
                <a:gd name="T19" fmla="*/ 0 h 661"/>
                <a:gd name="T20" fmla="*/ 0 w 453"/>
                <a:gd name="T21" fmla="*/ 0 h 661"/>
                <a:gd name="T22" fmla="*/ 0 w 453"/>
                <a:gd name="T23" fmla="*/ 0 h 661"/>
                <a:gd name="T24" fmla="*/ 0 w 453"/>
                <a:gd name="T25" fmla="*/ 0 h 661"/>
                <a:gd name="T26" fmla="*/ 0 w 453"/>
                <a:gd name="T27" fmla="*/ 0 h 661"/>
                <a:gd name="T28" fmla="*/ 0 w 453"/>
                <a:gd name="T29" fmla="*/ 0 h 661"/>
                <a:gd name="T30" fmla="*/ 0 w 453"/>
                <a:gd name="T31" fmla="*/ 0 h 661"/>
                <a:gd name="T32" fmla="*/ 0 w 453"/>
                <a:gd name="T33" fmla="*/ 0 h 661"/>
                <a:gd name="T34" fmla="*/ 0 w 453"/>
                <a:gd name="T35" fmla="*/ 0 h 661"/>
                <a:gd name="T36" fmla="*/ 0 w 453"/>
                <a:gd name="T37" fmla="*/ 0 h 661"/>
                <a:gd name="T38" fmla="*/ 0 w 453"/>
                <a:gd name="T39" fmla="*/ 0 h 661"/>
                <a:gd name="T40" fmla="*/ 0 w 453"/>
                <a:gd name="T41" fmla="*/ 0 h 661"/>
                <a:gd name="T42" fmla="*/ 0 w 453"/>
                <a:gd name="T43" fmla="*/ 0 h 661"/>
                <a:gd name="T44" fmla="*/ 0 w 453"/>
                <a:gd name="T45" fmla="*/ 0 h 661"/>
                <a:gd name="T46" fmla="*/ 0 w 453"/>
                <a:gd name="T47" fmla="*/ 0 h 661"/>
                <a:gd name="T48" fmla="*/ 0 w 453"/>
                <a:gd name="T49" fmla="*/ 0 h 661"/>
                <a:gd name="T50" fmla="*/ 0 w 453"/>
                <a:gd name="T51" fmla="*/ 0 h 661"/>
                <a:gd name="T52" fmla="*/ 0 w 453"/>
                <a:gd name="T53" fmla="*/ 0 h 661"/>
                <a:gd name="T54" fmla="*/ 0 w 453"/>
                <a:gd name="T55" fmla="*/ 0 h 661"/>
                <a:gd name="T56" fmla="*/ 0 w 453"/>
                <a:gd name="T57" fmla="*/ 0 h 661"/>
                <a:gd name="T58" fmla="*/ 0 w 453"/>
                <a:gd name="T59" fmla="*/ 0 h 661"/>
                <a:gd name="T60" fmla="*/ 0 w 453"/>
                <a:gd name="T61" fmla="*/ 0 h 661"/>
                <a:gd name="T62" fmla="*/ 0 w 453"/>
                <a:gd name="T63" fmla="*/ 0 h 661"/>
                <a:gd name="T64" fmla="*/ 0 w 453"/>
                <a:gd name="T65" fmla="*/ 0 h 661"/>
                <a:gd name="T66" fmla="*/ 0 w 453"/>
                <a:gd name="T67" fmla="*/ 0 h 661"/>
                <a:gd name="T68" fmla="*/ 0 w 453"/>
                <a:gd name="T69" fmla="*/ 0 h 661"/>
                <a:gd name="T70" fmla="*/ 0 w 453"/>
                <a:gd name="T71" fmla="*/ 0 h 661"/>
                <a:gd name="T72" fmla="*/ 0 w 453"/>
                <a:gd name="T73" fmla="*/ 0 h 661"/>
                <a:gd name="T74" fmla="*/ 0 w 453"/>
                <a:gd name="T75" fmla="*/ 0 h 661"/>
                <a:gd name="T76" fmla="*/ 0 w 453"/>
                <a:gd name="T77" fmla="*/ 0 h 661"/>
                <a:gd name="T78" fmla="*/ 0 w 453"/>
                <a:gd name="T79" fmla="*/ 0 h 661"/>
                <a:gd name="T80" fmla="*/ 0 w 453"/>
                <a:gd name="T81" fmla="*/ 0 h 661"/>
                <a:gd name="T82" fmla="*/ 0 w 453"/>
                <a:gd name="T83" fmla="*/ 0 h 661"/>
                <a:gd name="T84" fmla="*/ 0 w 453"/>
                <a:gd name="T85" fmla="*/ 0 h 661"/>
                <a:gd name="T86" fmla="*/ 0 w 453"/>
                <a:gd name="T87" fmla="*/ 0 h 661"/>
                <a:gd name="T88" fmla="*/ 0 w 453"/>
                <a:gd name="T89" fmla="*/ 0 h 661"/>
                <a:gd name="T90" fmla="*/ 0 w 453"/>
                <a:gd name="T91" fmla="*/ 0 h 661"/>
                <a:gd name="T92" fmla="*/ 0 w 453"/>
                <a:gd name="T93" fmla="*/ 0 h 661"/>
                <a:gd name="T94" fmla="*/ 0 w 453"/>
                <a:gd name="T95" fmla="*/ 0 h 661"/>
                <a:gd name="T96" fmla="*/ 0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3"/>
                <a:gd name="T148" fmla="*/ 0 h 661"/>
                <a:gd name="T149" fmla="*/ 453 w 453"/>
                <a:gd name="T150" fmla="*/ 661 h 66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39" name="Freeform 1015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4557" y="1901"/>
              <a:ext cx="37" cy="36"/>
            </a:xfrm>
            <a:custGeom>
              <a:avLst/>
              <a:gdLst>
                <a:gd name="T0" fmla="*/ 0 w 126"/>
                <a:gd name="T1" fmla="*/ 0 h 105"/>
                <a:gd name="T2" fmla="*/ 0 w 126"/>
                <a:gd name="T3" fmla="*/ 0 h 105"/>
                <a:gd name="T4" fmla="*/ 0 w 126"/>
                <a:gd name="T5" fmla="*/ 0 h 105"/>
                <a:gd name="T6" fmla="*/ 0 w 126"/>
                <a:gd name="T7" fmla="*/ 0 h 105"/>
                <a:gd name="T8" fmla="*/ 0 w 126"/>
                <a:gd name="T9" fmla="*/ 0 h 105"/>
                <a:gd name="T10" fmla="*/ 0 w 126"/>
                <a:gd name="T11" fmla="*/ 0 h 105"/>
                <a:gd name="T12" fmla="*/ 0 w 126"/>
                <a:gd name="T13" fmla="*/ 0 h 105"/>
                <a:gd name="T14" fmla="*/ 0 w 126"/>
                <a:gd name="T15" fmla="*/ 0 h 105"/>
                <a:gd name="T16" fmla="*/ 0 w 126"/>
                <a:gd name="T17" fmla="*/ 0 h 105"/>
                <a:gd name="T18" fmla="*/ 0 w 126"/>
                <a:gd name="T19" fmla="*/ 0 h 105"/>
                <a:gd name="T20" fmla="*/ 0 w 126"/>
                <a:gd name="T21" fmla="*/ 0 h 105"/>
                <a:gd name="T22" fmla="*/ 0 w 126"/>
                <a:gd name="T23" fmla="*/ 0 h 105"/>
                <a:gd name="T24" fmla="*/ 0 w 126"/>
                <a:gd name="T25" fmla="*/ 0 h 105"/>
                <a:gd name="T26" fmla="*/ 0 w 126"/>
                <a:gd name="T27" fmla="*/ 0 h 105"/>
                <a:gd name="T28" fmla="*/ 0 w 126"/>
                <a:gd name="T29" fmla="*/ 0 h 105"/>
                <a:gd name="T30" fmla="*/ 0 w 126"/>
                <a:gd name="T31" fmla="*/ 0 h 105"/>
                <a:gd name="T32" fmla="*/ 0 w 126"/>
                <a:gd name="T33" fmla="*/ 0 h 105"/>
                <a:gd name="T34" fmla="*/ 0 w 126"/>
                <a:gd name="T35" fmla="*/ 0 h 105"/>
                <a:gd name="T36" fmla="*/ 0 w 126"/>
                <a:gd name="T37" fmla="*/ 0 h 105"/>
                <a:gd name="T38" fmla="*/ 0 w 126"/>
                <a:gd name="T39" fmla="*/ 0 h 105"/>
                <a:gd name="T40" fmla="*/ 0 w 126"/>
                <a:gd name="T41" fmla="*/ 0 h 105"/>
                <a:gd name="T42" fmla="*/ 0 w 126"/>
                <a:gd name="T43" fmla="*/ 0 h 105"/>
                <a:gd name="T44" fmla="*/ 0 w 126"/>
                <a:gd name="T45" fmla="*/ 0 h 105"/>
                <a:gd name="T46" fmla="*/ 0 w 126"/>
                <a:gd name="T47" fmla="*/ 0 h 105"/>
                <a:gd name="T48" fmla="*/ 0 w 126"/>
                <a:gd name="T49" fmla="*/ 0 h 105"/>
                <a:gd name="T50" fmla="*/ 0 w 126"/>
                <a:gd name="T51" fmla="*/ 0 h 105"/>
                <a:gd name="T52" fmla="*/ 0 w 126"/>
                <a:gd name="T53" fmla="*/ 0 h 105"/>
                <a:gd name="T54" fmla="*/ 0 w 126"/>
                <a:gd name="T55" fmla="*/ 0 h 105"/>
                <a:gd name="T56" fmla="*/ 0 w 126"/>
                <a:gd name="T57" fmla="*/ 0 h 105"/>
                <a:gd name="T58" fmla="*/ 0 w 126"/>
                <a:gd name="T59" fmla="*/ 0 h 105"/>
                <a:gd name="T60" fmla="*/ 0 w 126"/>
                <a:gd name="T61" fmla="*/ 0 h 105"/>
                <a:gd name="T62" fmla="*/ 0 w 126"/>
                <a:gd name="T63" fmla="*/ 0 h 105"/>
                <a:gd name="T64" fmla="*/ 0 w 126"/>
                <a:gd name="T65" fmla="*/ 0 h 105"/>
                <a:gd name="T66" fmla="*/ 0 w 126"/>
                <a:gd name="T67" fmla="*/ 0 h 105"/>
                <a:gd name="T68" fmla="*/ 0 w 126"/>
                <a:gd name="T69" fmla="*/ 0 h 105"/>
                <a:gd name="T70" fmla="*/ 0 w 126"/>
                <a:gd name="T71" fmla="*/ 0 h 105"/>
                <a:gd name="T72" fmla="*/ 0 w 126"/>
                <a:gd name="T73" fmla="*/ 0 h 105"/>
                <a:gd name="T74" fmla="*/ 0 w 126"/>
                <a:gd name="T75" fmla="*/ 0 h 105"/>
                <a:gd name="T76" fmla="*/ 0 w 126"/>
                <a:gd name="T77" fmla="*/ 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6"/>
                <a:gd name="T118" fmla="*/ 0 h 105"/>
                <a:gd name="T119" fmla="*/ 126 w 126"/>
                <a:gd name="T120" fmla="*/ 105 h 10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40" name="Freeform 1016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1387" y="2067"/>
              <a:ext cx="203" cy="330"/>
            </a:xfrm>
            <a:custGeom>
              <a:avLst/>
              <a:gdLst>
                <a:gd name="T0" fmla="*/ 0 w 684"/>
                <a:gd name="T1" fmla="*/ 0 h 998"/>
                <a:gd name="T2" fmla="*/ 0 w 684"/>
                <a:gd name="T3" fmla="*/ 0 h 998"/>
                <a:gd name="T4" fmla="*/ 0 w 684"/>
                <a:gd name="T5" fmla="*/ 0 h 998"/>
                <a:gd name="T6" fmla="*/ 0 w 684"/>
                <a:gd name="T7" fmla="*/ 0 h 998"/>
                <a:gd name="T8" fmla="*/ 0 w 684"/>
                <a:gd name="T9" fmla="*/ 0 h 998"/>
                <a:gd name="T10" fmla="*/ 0 w 684"/>
                <a:gd name="T11" fmla="*/ 0 h 998"/>
                <a:gd name="T12" fmla="*/ 0 w 684"/>
                <a:gd name="T13" fmla="*/ 0 h 998"/>
                <a:gd name="T14" fmla="*/ 0 w 684"/>
                <a:gd name="T15" fmla="*/ 0 h 998"/>
                <a:gd name="T16" fmla="*/ 0 w 684"/>
                <a:gd name="T17" fmla="*/ 0 h 998"/>
                <a:gd name="T18" fmla="*/ 0 w 684"/>
                <a:gd name="T19" fmla="*/ 0 h 998"/>
                <a:gd name="T20" fmla="*/ 0 w 684"/>
                <a:gd name="T21" fmla="*/ 0 h 998"/>
                <a:gd name="T22" fmla="*/ 0 w 684"/>
                <a:gd name="T23" fmla="*/ 0 h 998"/>
                <a:gd name="T24" fmla="*/ 0 w 684"/>
                <a:gd name="T25" fmla="*/ 0 h 998"/>
                <a:gd name="T26" fmla="*/ 0 w 684"/>
                <a:gd name="T27" fmla="*/ 0 h 998"/>
                <a:gd name="T28" fmla="*/ 0 w 684"/>
                <a:gd name="T29" fmla="*/ 0 h 998"/>
                <a:gd name="T30" fmla="*/ 0 w 684"/>
                <a:gd name="T31" fmla="*/ 0 h 998"/>
                <a:gd name="T32" fmla="*/ 0 w 684"/>
                <a:gd name="T33" fmla="*/ 0 h 998"/>
                <a:gd name="T34" fmla="*/ 0 w 684"/>
                <a:gd name="T35" fmla="*/ 0 h 998"/>
                <a:gd name="T36" fmla="*/ 0 w 684"/>
                <a:gd name="T37" fmla="*/ 0 h 998"/>
                <a:gd name="T38" fmla="*/ 0 w 684"/>
                <a:gd name="T39" fmla="*/ 0 h 998"/>
                <a:gd name="T40" fmla="*/ 0 w 684"/>
                <a:gd name="T41" fmla="*/ 0 h 998"/>
                <a:gd name="T42" fmla="*/ 0 w 684"/>
                <a:gd name="T43" fmla="*/ 0 h 998"/>
                <a:gd name="T44" fmla="*/ 0 w 684"/>
                <a:gd name="T45" fmla="*/ 0 h 998"/>
                <a:gd name="T46" fmla="*/ 0 w 684"/>
                <a:gd name="T47" fmla="*/ 0 h 998"/>
                <a:gd name="T48" fmla="*/ 0 w 684"/>
                <a:gd name="T49" fmla="*/ 0 h 998"/>
                <a:gd name="T50" fmla="*/ 0 w 684"/>
                <a:gd name="T51" fmla="*/ 0 h 998"/>
                <a:gd name="T52" fmla="*/ 0 w 684"/>
                <a:gd name="T53" fmla="*/ 0 h 998"/>
                <a:gd name="T54" fmla="*/ 0 w 684"/>
                <a:gd name="T55" fmla="*/ 0 h 998"/>
                <a:gd name="T56" fmla="*/ 0 w 684"/>
                <a:gd name="T57" fmla="*/ 0 h 998"/>
                <a:gd name="T58" fmla="*/ 0 w 684"/>
                <a:gd name="T59" fmla="*/ 0 h 998"/>
                <a:gd name="T60" fmla="*/ 0 w 684"/>
                <a:gd name="T61" fmla="*/ 0 h 998"/>
                <a:gd name="T62" fmla="*/ 0 w 684"/>
                <a:gd name="T63" fmla="*/ 0 h 998"/>
                <a:gd name="T64" fmla="*/ 0 w 684"/>
                <a:gd name="T65" fmla="*/ 0 h 998"/>
                <a:gd name="T66" fmla="*/ 0 w 684"/>
                <a:gd name="T67" fmla="*/ 0 h 998"/>
                <a:gd name="T68" fmla="*/ 0 w 684"/>
                <a:gd name="T69" fmla="*/ 0 h 998"/>
                <a:gd name="T70" fmla="*/ 0 w 684"/>
                <a:gd name="T71" fmla="*/ 0 h 998"/>
                <a:gd name="T72" fmla="*/ 0 w 684"/>
                <a:gd name="T73" fmla="*/ 0 h 998"/>
                <a:gd name="T74" fmla="*/ 0 w 684"/>
                <a:gd name="T75" fmla="*/ 0 h 998"/>
                <a:gd name="T76" fmla="*/ 0 w 684"/>
                <a:gd name="T77" fmla="*/ 0 h 998"/>
                <a:gd name="T78" fmla="*/ 0 w 684"/>
                <a:gd name="T79" fmla="*/ 0 h 998"/>
                <a:gd name="T80" fmla="*/ 0 w 684"/>
                <a:gd name="T81" fmla="*/ 0 h 998"/>
                <a:gd name="T82" fmla="*/ 0 w 684"/>
                <a:gd name="T83" fmla="*/ 0 h 998"/>
                <a:gd name="T84" fmla="*/ 0 w 684"/>
                <a:gd name="T85" fmla="*/ 0 h 998"/>
                <a:gd name="T86" fmla="*/ 0 w 684"/>
                <a:gd name="T87" fmla="*/ 0 h 998"/>
                <a:gd name="T88" fmla="*/ 0 w 684"/>
                <a:gd name="T89" fmla="*/ 0 h 998"/>
                <a:gd name="T90" fmla="*/ 0 w 684"/>
                <a:gd name="T91" fmla="*/ 0 h 998"/>
                <a:gd name="T92" fmla="*/ 0 w 684"/>
                <a:gd name="T93" fmla="*/ 0 h 998"/>
                <a:gd name="T94" fmla="*/ 0 w 684"/>
                <a:gd name="T95" fmla="*/ 0 h 998"/>
                <a:gd name="T96" fmla="*/ 0 w 684"/>
                <a:gd name="T97" fmla="*/ 0 h 998"/>
                <a:gd name="T98" fmla="*/ 0 w 684"/>
                <a:gd name="T99" fmla="*/ 0 h 998"/>
                <a:gd name="T100" fmla="*/ 0 w 684"/>
                <a:gd name="T101" fmla="*/ 0 h 998"/>
                <a:gd name="T102" fmla="*/ 0 w 684"/>
                <a:gd name="T103" fmla="*/ 0 h 998"/>
                <a:gd name="T104" fmla="*/ 0 w 684"/>
                <a:gd name="T105" fmla="*/ 0 h 998"/>
                <a:gd name="T106" fmla="*/ 0 w 684"/>
                <a:gd name="T107" fmla="*/ 0 h 998"/>
                <a:gd name="T108" fmla="*/ 0 w 684"/>
                <a:gd name="T109" fmla="*/ 0 h 998"/>
                <a:gd name="T110" fmla="*/ 0 w 684"/>
                <a:gd name="T111" fmla="*/ 0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4"/>
                <a:gd name="T169" fmla="*/ 0 h 998"/>
                <a:gd name="T170" fmla="*/ 684 w 684"/>
                <a:gd name="T171" fmla="*/ 998 h 99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41" name="Freeform 1017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2924" y="2236"/>
              <a:ext cx="128" cy="173"/>
            </a:xfrm>
            <a:custGeom>
              <a:avLst/>
              <a:gdLst>
                <a:gd name="T0" fmla="*/ 0 w 429"/>
                <a:gd name="T1" fmla="*/ 0 h 524"/>
                <a:gd name="T2" fmla="*/ 0 w 429"/>
                <a:gd name="T3" fmla="*/ 0 h 524"/>
                <a:gd name="T4" fmla="*/ 0 w 429"/>
                <a:gd name="T5" fmla="*/ 0 h 524"/>
                <a:gd name="T6" fmla="*/ 0 w 429"/>
                <a:gd name="T7" fmla="*/ 0 h 524"/>
                <a:gd name="T8" fmla="*/ 0 w 429"/>
                <a:gd name="T9" fmla="*/ 0 h 524"/>
                <a:gd name="T10" fmla="*/ 0 w 429"/>
                <a:gd name="T11" fmla="*/ 0 h 524"/>
                <a:gd name="T12" fmla="*/ 0 w 429"/>
                <a:gd name="T13" fmla="*/ 0 h 524"/>
                <a:gd name="T14" fmla="*/ 0 w 429"/>
                <a:gd name="T15" fmla="*/ 0 h 524"/>
                <a:gd name="T16" fmla="*/ 0 w 429"/>
                <a:gd name="T17" fmla="*/ 0 h 524"/>
                <a:gd name="T18" fmla="*/ 0 w 429"/>
                <a:gd name="T19" fmla="*/ 0 h 524"/>
                <a:gd name="T20" fmla="*/ 0 w 429"/>
                <a:gd name="T21" fmla="*/ 0 h 524"/>
                <a:gd name="T22" fmla="*/ 0 w 429"/>
                <a:gd name="T23" fmla="*/ 0 h 524"/>
                <a:gd name="T24" fmla="*/ 0 w 429"/>
                <a:gd name="T25" fmla="*/ 0 h 524"/>
                <a:gd name="T26" fmla="*/ 0 w 429"/>
                <a:gd name="T27" fmla="*/ 0 h 524"/>
                <a:gd name="T28" fmla="*/ 0 w 429"/>
                <a:gd name="T29" fmla="*/ 0 h 524"/>
                <a:gd name="T30" fmla="*/ 0 w 429"/>
                <a:gd name="T31" fmla="*/ 0 h 524"/>
                <a:gd name="T32" fmla="*/ 0 w 429"/>
                <a:gd name="T33" fmla="*/ 0 h 524"/>
                <a:gd name="T34" fmla="*/ 0 w 429"/>
                <a:gd name="T35" fmla="*/ 0 h 524"/>
                <a:gd name="T36" fmla="*/ 0 w 429"/>
                <a:gd name="T37" fmla="*/ 0 h 524"/>
                <a:gd name="T38" fmla="*/ 0 w 429"/>
                <a:gd name="T39" fmla="*/ 0 h 524"/>
                <a:gd name="T40" fmla="*/ 0 w 429"/>
                <a:gd name="T41" fmla="*/ 0 h 524"/>
                <a:gd name="T42" fmla="*/ 0 w 429"/>
                <a:gd name="T43" fmla="*/ 0 h 524"/>
                <a:gd name="T44" fmla="*/ 0 w 429"/>
                <a:gd name="T45" fmla="*/ 0 h 524"/>
                <a:gd name="T46" fmla="*/ 0 w 429"/>
                <a:gd name="T47" fmla="*/ 0 h 524"/>
                <a:gd name="T48" fmla="*/ 0 w 429"/>
                <a:gd name="T49" fmla="*/ 0 h 524"/>
                <a:gd name="T50" fmla="*/ 0 w 429"/>
                <a:gd name="T51" fmla="*/ 0 h 524"/>
                <a:gd name="T52" fmla="*/ 0 w 429"/>
                <a:gd name="T53" fmla="*/ 0 h 524"/>
                <a:gd name="T54" fmla="*/ 0 w 429"/>
                <a:gd name="T55" fmla="*/ 0 h 524"/>
                <a:gd name="T56" fmla="*/ 0 w 429"/>
                <a:gd name="T57" fmla="*/ 0 h 524"/>
                <a:gd name="T58" fmla="*/ 0 w 429"/>
                <a:gd name="T59" fmla="*/ 0 h 524"/>
                <a:gd name="T60" fmla="*/ 0 w 429"/>
                <a:gd name="T61" fmla="*/ 0 h 524"/>
                <a:gd name="T62" fmla="*/ 0 w 429"/>
                <a:gd name="T63" fmla="*/ 0 h 524"/>
                <a:gd name="T64" fmla="*/ 0 w 429"/>
                <a:gd name="T65" fmla="*/ 0 h 524"/>
                <a:gd name="T66" fmla="*/ 0 w 429"/>
                <a:gd name="T67" fmla="*/ 0 h 524"/>
                <a:gd name="T68" fmla="*/ 0 w 429"/>
                <a:gd name="T69" fmla="*/ 0 h 524"/>
                <a:gd name="T70" fmla="*/ 0 w 429"/>
                <a:gd name="T71" fmla="*/ 0 h 524"/>
                <a:gd name="T72" fmla="*/ 0 w 429"/>
                <a:gd name="T73" fmla="*/ 0 h 524"/>
                <a:gd name="T74" fmla="*/ 0 w 429"/>
                <a:gd name="T75" fmla="*/ 0 h 524"/>
                <a:gd name="T76" fmla="*/ 0 w 429"/>
                <a:gd name="T77" fmla="*/ 0 h 524"/>
                <a:gd name="T78" fmla="*/ 0 w 429"/>
                <a:gd name="T79" fmla="*/ 0 h 524"/>
                <a:gd name="T80" fmla="*/ 0 w 429"/>
                <a:gd name="T81" fmla="*/ 0 h 524"/>
                <a:gd name="T82" fmla="*/ 0 w 429"/>
                <a:gd name="T83" fmla="*/ 0 h 524"/>
                <a:gd name="T84" fmla="*/ 0 w 429"/>
                <a:gd name="T85" fmla="*/ 0 h 524"/>
                <a:gd name="T86" fmla="*/ 0 w 429"/>
                <a:gd name="T87" fmla="*/ 0 h 524"/>
                <a:gd name="T88" fmla="*/ 0 w 429"/>
                <a:gd name="T89" fmla="*/ 0 h 524"/>
                <a:gd name="T90" fmla="*/ 0 w 429"/>
                <a:gd name="T91" fmla="*/ 0 h 524"/>
                <a:gd name="T92" fmla="*/ 0 w 429"/>
                <a:gd name="T93" fmla="*/ 0 h 524"/>
                <a:gd name="T94" fmla="*/ 0 w 429"/>
                <a:gd name="T95" fmla="*/ 0 h 524"/>
                <a:gd name="T96" fmla="*/ 0 w 429"/>
                <a:gd name="T97" fmla="*/ 0 h 524"/>
                <a:gd name="T98" fmla="*/ 0 w 429"/>
                <a:gd name="T99" fmla="*/ 0 h 524"/>
                <a:gd name="T100" fmla="*/ 0 w 429"/>
                <a:gd name="T101" fmla="*/ 0 h 524"/>
                <a:gd name="T102" fmla="*/ 0 w 429"/>
                <a:gd name="T103" fmla="*/ 0 h 524"/>
                <a:gd name="T104" fmla="*/ 0 w 429"/>
                <a:gd name="T105" fmla="*/ 0 h 524"/>
                <a:gd name="T106" fmla="*/ 0 w 429"/>
                <a:gd name="T107" fmla="*/ 0 h 524"/>
                <a:gd name="T108" fmla="*/ 0 w 429"/>
                <a:gd name="T109" fmla="*/ 0 h 524"/>
                <a:gd name="T110" fmla="*/ 0 w 429"/>
                <a:gd name="T111" fmla="*/ 0 h 524"/>
                <a:gd name="T112" fmla="*/ 0 w 429"/>
                <a:gd name="T113" fmla="*/ 0 h 524"/>
                <a:gd name="T114" fmla="*/ 0 w 429"/>
                <a:gd name="T115" fmla="*/ 0 h 524"/>
                <a:gd name="T116" fmla="*/ 0 w 429"/>
                <a:gd name="T117" fmla="*/ 0 h 524"/>
                <a:gd name="T118" fmla="*/ 0 w 429"/>
                <a:gd name="T119" fmla="*/ 0 h 524"/>
                <a:gd name="T120" fmla="*/ 0 w 429"/>
                <a:gd name="T121" fmla="*/ 0 h 524"/>
                <a:gd name="T122" fmla="*/ 0 w 429"/>
                <a:gd name="T123" fmla="*/ 0 h 524"/>
                <a:gd name="T124" fmla="*/ 0 w 429"/>
                <a:gd name="T125" fmla="*/ 0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29"/>
                <a:gd name="T190" fmla="*/ 0 h 524"/>
                <a:gd name="T191" fmla="*/ 429 w 429"/>
                <a:gd name="T192" fmla="*/ 524 h 52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42" name="Freeform 1018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2946" y="1381"/>
              <a:ext cx="86" cy="72"/>
            </a:xfrm>
            <a:custGeom>
              <a:avLst/>
              <a:gdLst>
                <a:gd name="T0" fmla="*/ 0 w 292"/>
                <a:gd name="T1" fmla="*/ 0 h 223"/>
                <a:gd name="T2" fmla="*/ 0 w 292"/>
                <a:gd name="T3" fmla="*/ 0 h 223"/>
                <a:gd name="T4" fmla="*/ 0 w 292"/>
                <a:gd name="T5" fmla="*/ 0 h 223"/>
                <a:gd name="T6" fmla="*/ 0 w 292"/>
                <a:gd name="T7" fmla="*/ 0 h 223"/>
                <a:gd name="T8" fmla="*/ 0 w 292"/>
                <a:gd name="T9" fmla="*/ 0 h 223"/>
                <a:gd name="T10" fmla="*/ 0 w 292"/>
                <a:gd name="T11" fmla="*/ 0 h 223"/>
                <a:gd name="T12" fmla="*/ 0 w 292"/>
                <a:gd name="T13" fmla="*/ 0 h 223"/>
                <a:gd name="T14" fmla="*/ 0 w 292"/>
                <a:gd name="T15" fmla="*/ 0 h 223"/>
                <a:gd name="T16" fmla="*/ 0 w 292"/>
                <a:gd name="T17" fmla="*/ 0 h 223"/>
                <a:gd name="T18" fmla="*/ 0 w 292"/>
                <a:gd name="T19" fmla="*/ 0 h 223"/>
                <a:gd name="T20" fmla="*/ 0 w 292"/>
                <a:gd name="T21" fmla="*/ 0 h 223"/>
                <a:gd name="T22" fmla="*/ 0 w 292"/>
                <a:gd name="T23" fmla="*/ 0 h 223"/>
                <a:gd name="T24" fmla="*/ 0 w 292"/>
                <a:gd name="T25" fmla="*/ 0 h 223"/>
                <a:gd name="T26" fmla="*/ 0 w 292"/>
                <a:gd name="T27" fmla="*/ 0 h 223"/>
                <a:gd name="T28" fmla="*/ 0 w 292"/>
                <a:gd name="T29" fmla="*/ 0 h 223"/>
                <a:gd name="T30" fmla="*/ 0 w 292"/>
                <a:gd name="T31" fmla="*/ 0 h 223"/>
                <a:gd name="T32" fmla="*/ 0 w 292"/>
                <a:gd name="T33" fmla="*/ 0 h 223"/>
                <a:gd name="T34" fmla="*/ 0 w 292"/>
                <a:gd name="T35" fmla="*/ 0 h 223"/>
                <a:gd name="T36" fmla="*/ 0 w 292"/>
                <a:gd name="T37" fmla="*/ 0 h 223"/>
                <a:gd name="T38" fmla="*/ 0 w 292"/>
                <a:gd name="T39" fmla="*/ 0 h 223"/>
                <a:gd name="T40" fmla="*/ 0 w 292"/>
                <a:gd name="T41" fmla="*/ 0 h 223"/>
                <a:gd name="T42" fmla="*/ 0 w 292"/>
                <a:gd name="T43" fmla="*/ 0 h 223"/>
                <a:gd name="T44" fmla="*/ 0 w 292"/>
                <a:gd name="T45" fmla="*/ 0 h 223"/>
                <a:gd name="T46" fmla="*/ 0 w 292"/>
                <a:gd name="T47" fmla="*/ 0 h 223"/>
                <a:gd name="T48" fmla="*/ 0 w 292"/>
                <a:gd name="T49" fmla="*/ 0 h 223"/>
                <a:gd name="T50" fmla="*/ 0 w 292"/>
                <a:gd name="T51" fmla="*/ 0 h 223"/>
                <a:gd name="T52" fmla="*/ 0 w 292"/>
                <a:gd name="T53" fmla="*/ 0 h 223"/>
                <a:gd name="T54" fmla="*/ 0 w 292"/>
                <a:gd name="T55" fmla="*/ 0 h 223"/>
                <a:gd name="T56" fmla="*/ 0 w 292"/>
                <a:gd name="T57" fmla="*/ 0 h 223"/>
                <a:gd name="T58" fmla="*/ 0 w 292"/>
                <a:gd name="T59" fmla="*/ 0 h 223"/>
                <a:gd name="T60" fmla="*/ 0 w 292"/>
                <a:gd name="T61" fmla="*/ 0 h 223"/>
                <a:gd name="T62" fmla="*/ 0 w 292"/>
                <a:gd name="T63" fmla="*/ 0 h 223"/>
                <a:gd name="T64" fmla="*/ 0 w 292"/>
                <a:gd name="T65" fmla="*/ 0 h 223"/>
                <a:gd name="T66" fmla="*/ 0 w 292"/>
                <a:gd name="T67" fmla="*/ 0 h 223"/>
                <a:gd name="T68" fmla="*/ 0 w 292"/>
                <a:gd name="T69" fmla="*/ 0 h 223"/>
                <a:gd name="T70" fmla="*/ 0 w 292"/>
                <a:gd name="T71" fmla="*/ 0 h 223"/>
                <a:gd name="T72" fmla="*/ 0 w 292"/>
                <a:gd name="T73" fmla="*/ 0 h 223"/>
                <a:gd name="T74" fmla="*/ 0 w 292"/>
                <a:gd name="T75" fmla="*/ 0 h 223"/>
                <a:gd name="T76" fmla="*/ 0 w 292"/>
                <a:gd name="T77" fmla="*/ 0 h 223"/>
                <a:gd name="T78" fmla="*/ 0 w 292"/>
                <a:gd name="T79" fmla="*/ 0 h 223"/>
                <a:gd name="T80" fmla="*/ 0 w 292"/>
                <a:gd name="T81" fmla="*/ 0 h 223"/>
                <a:gd name="T82" fmla="*/ 0 w 292"/>
                <a:gd name="T83" fmla="*/ 0 h 223"/>
                <a:gd name="T84" fmla="*/ 0 w 292"/>
                <a:gd name="T85" fmla="*/ 0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92"/>
                <a:gd name="T130" fmla="*/ 0 h 223"/>
                <a:gd name="T131" fmla="*/ 292 w 292"/>
                <a:gd name="T132" fmla="*/ 223 h 22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43" name="Freeform 1019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2912" y="1292"/>
              <a:ext cx="115" cy="49"/>
            </a:xfrm>
            <a:custGeom>
              <a:avLst/>
              <a:gdLst>
                <a:gd name="T0" fmla="*/ 0 w 379"/>
                <a:gd name="T1" fmla="*/ 0 h 147"/>
                <a:gd name="T2" fmla="*/ 0 w 379"/>
                <a:gd name="T3" fmla="*/ 0 h 147"/>
                <a:gd name="T4" fmla="*/ 0 w 379"/>
                <a:gd name="T5" fmla="*/ 0 h 147"/>
                <a:gd name="T6" fmla="*/ 0 w 379"/>
                <a:gd name="T7" fmla="*/ 0 h 147"/>
                <a:gd name="T8" fmla="*/ 0 w 379"/>
                <a:gd name="T9" fmla="*/ 0 h 147"/>
                <a:gd name="T10" fmla="*/ 0 w 379"/>
                <a:gd name="T11" fmla="*/ 0 h 147"/>
                <a:gd name="T12" fmla="*/ 0 w 379"/>
                <a:gd name="T13" fmla="*/ 0 h 147"/>
                <a:gd name="T14" fmla="*/ 0 w 379"/>
                <a:gd name="T15" fmla="*/ 0 h 147"/>
                <a:gd name="T16" fmla="*/ 0 w 379"/>
                <a:gd name="T17" fmla="*/ 0 h 147"/>
                <a:gd name="T18" fmla="*/ 0 w 379"/>
                <a:gd name="T19" fmla="*/ 0 h 147"/>
                <a:gd name="T20" fmla="*/ 0 w 379"/>
                <a:gd name="T21" fmla="*/ 0 h 147"/>
                <a:gd name="T22" fmla="*/ 0 w 379"/>
                <a:gd name="T23" fmla="*/ 0 h 147"/>
                <a:gd name="T24" fmla="*/ 0 w 379"/>
                <a:gd name="T25" fmla="*/ 0 h 147"/>
                <a:gd name="T26" fmla="*/ 0 w 379"/>
                <a:gd name="T27" fmla="*/ 0 h 147"/>
                <a:gd name="T28" fmla="*/ 0 w 379"/>
                <a:gd name="T29" fmla="*/ 0 h 147"/>
                <a:gd name="T30" fmla="*/ 0 w 379"/>
                <a:gd name="T31" fmla="*/ 0 h 147"/>
                <a:gd name="T32" fmla="*/ 0 w 379"/>
                <a:gd name="T33" fmla="*/ 0 h 147"/>
                <a:gd name="T34" fmla="*/ 0 w 379"/>
                <a:gd name="T35" fmla="*/ 0 h 147"/>
                <a:gd name="T36" fmla="*/ 0 w 379"/>
                <a:gd name="T37" fmla="*/ 0 h 147"/>
                <a:gd name="T38" fmla="*/ 0 w 379"/>
                <a:gd name="T39" fmla="*/ 0 h 147"/>
                <a:gd name="T40" fmla="*/ 0 w 379"/>
                <a:gd name="T41" fmla="*/ 0 h 147"/>
                <a:gd name="T42" fmla="*/ 0 w 379"/>
                <a:gd name="T43" fmla="*/ 0 h 147"/>
                <a:gd name="T44" fmla="*/ 0 w 379"/>
                <a:gd name="T45" fmla="*/ 0 h 147"/>
                <a:gd name="T46" fmla="*/ 0 w 379"/>
                <a:gd name="T47" fmla="*/ 0 h 147"/>
                <a:gd name="T48" fmla="*/ 0 w 379"/>
                <a:gd name="T49" fmla="*/ 0 h 147"/>
                <a:gd name="T50" fmla="*/ 0 w 379"/>
                <a:gd name="T51" fmla="*/ 0 h 147"/>
                <a:gd name="T52" fmla="*/ 0 w 379"/>
                <a:gd name="T53" fmla="*/ 0 h 147"/>
                <a:gd name="T54" fmla="*/ 0 w 379"/>
                <a:gd name="T55" fmla="*/ 0 h 147"/>
                <a:gd name="T56" fmla="*/ 0 w 379"/>
                <a:gd name="T57" fmla="*/ 0 h 147"/>
                <a:gd name="T58" fmla="*/ 0 w 379"/>
                <a:gd name="T59" fmla="*/ 0 h 147"/>
                <a:gd name="T60" fmla="*/ 0 w 379"/>
                <a:gd name="T61" fmla="*/ 0 h 147"/>
                <a:gd name="T62" fmla="*/ 0 w 379"/>
                <a:gd name="T63" fmla="*/ 0 h 147"/>
                <a:gd name="T64" fmla="*/ 0 w 379"/>
                <a:gd name="T65" fmla="*/ 0 h 147"/>
                <a:gd name="T66" fmla="*/ 0 w 379"/>
                <a:gd name="T67" fmla="*/ 0 h 147"/>
                <a:gd name="T68" fmla="*/ 0 w 379"/>
                <a:gd name="T69" fmla="*/ 0 h 147"/>
                <a:gd name="T70" fmla="*/ 0 w 379"/>
                <a:gd name="T71" fmla="*/ 0 h 147"/>
                <a:gd name="T72" fmla="*/ 0 w 379"/>
                <a:gd name="T73" fmla="*/ 0 h 147"/>
                <a:gd name="T74" fmla="*/ 0 w 379"/>
                <a:gd name="T75" fmla="*/ 0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79"/>
                <a:gd name="T115" fmla="*/ 0 h 147"/>
                <a:gd name="T116" fmla="*/ 379 w 379"/>
                <a:gd name="T117" fmla="*/ 147 h 14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44" name="Freeform 1020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2887" y="1201"/>
              <a:ext cx="21" cy="38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1 h 67"/>
                <a:gd name="T4" fmla="*/ 0 w 61"/>
                <a:gd name="T5" fmla="*/ 1 h 67"/>
                <a:gd name="T6" fmla="*/ 0 w 61"/>
                <a:gd name="T7" fmla="*/ 1 h 67"/>
                <a:gd name="T8" fmla="*/ 0 w 61"/>
                <a:gd name="T9" fmla="*/ 1 h 67"/>
                <a:gd name="T10" fmla="*/ 0 w 61"/>
                <a:gd name="T11" fmla="*/ 1 h 67"/>
                <a:gd name="T12" fmla="*/ 0 w 61"/>
                <a:gd name="T13" fmla="*/ 1 h 67"/>
                <a:gd name="T14" fmla="*/ 0 w 61"/>
                <a:gd name="T15" fmla="*/ 1 h 67"/>
                <a:gd name="T16" fmla="*/ 0 w 61"/>
                <a:gd name="T17" fmla="*/ 1 h 67"/>
                <a:gd name="T18" fmla="*/ 0 w 61"/>
                <a:gd name="T19" fmla="*/ 1 h 67"/>
                <a:gd name="T20" fmla="*/ 0 w 61"/>
                <a:gd name="T21" fmla="*/ 1 h 67"/>
                <a:gd name="T22" fmla="*/ 0 w 61"/>
                <a:gd name="T23" fmla="*/ 1 h 67"/>
                <a:gd name="T24" fmla="*/ 0 w 61"/>
                <a:gd name="T25" fmla="*/ 1 h 67"/>
                <a:gd name="T26" fmla="*/ 0 w 61"/>
                <a:gd name="T27" fmla="*/ 1 h 67"/>
                <a:gd name="T28" fmla="*/ 0 w 61"/>
                <a:gd name="T29" fmla="*/ 1 h 67"/>
                <a:gd name="T30" fmla="*/ 0 w 61"/>
                <a:gd name="T31" fmla="*/ 1 h 67"/>
                <a:gd name="T32" fmla="*/ 0 w 61"/>
                <a:gd name="T33" fmla="*/ 1 h 67"/>
                <a:gd name="T34" fmla="*/ 0 w 61"/>
                <a:gd name="T35" fmla="*/ 1 h 67"/>
                <a:gd name="T36" fmla="*/ 0 w 61"/>
                <a:gd name="T37" fmla="*/ 0 h 67"/>
                <a:gd name="T38" fmla="*/ 0 w 61"/>
                <a:gd name="T39" fmla="*/ 1 h 67"/>
                <a:gd name="T40" fmla="*/ 0 w 61"/>
                <a:gd name="T41" fmla="*/ 1 h 67"/>
                <a:gd name="T42" fmla="*/ 0 w 61"/>
                <a:gd name="T43" fmla="*/ 1 h 67"/>
                <a:gd name="T44" fmla="*/ 0 w 61"/>
                <a:gd name="T45" fmla="*/ 1 h 67"/>
                <a:gd name="T46" fmla="*/ 0 w 61"/>
                <a:gd name="T47" fmla="*/ 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1"/>
                <a:gd name="T76" fmla="*/ 0 h 67"/>
                <a:gd name="T77" fmla="*/ 61 w 61"/>
                <a:gd name="T78" fmla="*/ 67 h 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45" name="Freeform 1021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2868" y="1204"/>
              <a:ext cx="17" cy="37"/>
            </a:xfrm>
            <a:custGeom>
              <a:avLst/>
              <a:gdLst>
                <a:gd name="T0" fmla="*/ 0 w 60"/>
                <a:gd name="T1" fmla="*/ 1 h 55"/>
                <a:gd name="T2" fmla="*/ 0 w 60"/>
                <a:gd name="T3" fmla="*/ 1 h 55"/>
                <a:gd name="T4" fmla="*/ 0 w 60"/>
                <a:gd name="T5" fmla="*/ 1 h 55"/>
                <a:gd name="T6" fmla="*/ 0 w 60"/>
                <a:gd name="T7" fmla="*/ 1 h 55"/>
                <a:gd name="T8" fmla="*/ 0 w 60"/>
                <a:gd name="T9" fmla="*/ 1 h 55"/>
                <a:gd name="T10" fmla="*/ 0 w 60"/>
                <a:gd name="T11" fmla="*/ 1 h 55"/>
                <a:gd name="T12" fmla="*/ 0 w 60"/>
                <a:gd name="T13" fmla="*/ 1 h 55"/>
                <a:gd name="T14" fmla="*/ 0 w 60"/>
                <a:gd name="T15" fmla="*/ 1 h 55"/>
                <a:gd name="T16" fmla="*/ 0 w 60"/>
                <a:gd name="T17" fmla="*/ 1 h 55"/>
                <a:gd name="T18" fmla="*/ 0 w 60"/>
                <a:gd name="T19" fmla="*/ 1 h 55"/>
                <a:gd name="T20" fmla="*/ 0 w 60"/>
                <a:gd name="T21" fmla="*/ 1 h 55"/>
                <a:gd name="T22" fmla="*/ 0 w 60"/>
                <a:gd name="T23" fmla="*/ 1 h 55"/>
                <a:gd name="T24" fmla="*/ 0 w 60"/>
                <a:gd name="T25" fmla="*/ 1 h 55"/>
                <a:gd name="T26" fmla="*/ 0 w 60"/>
                <a:gd name="T27" fmla="*/ 1 h 55"/>
                <a:gd name="T28" fmla="*/ 0 w 60"/>
                <a:gd name="T29" fmla="*/ 1 h 55"/>
                <a:gd name="T30" fmla="*/ 0 w 60"/>
                <a:gd name="T31" fmla="*/ 1 h 55"/>
                <a:gd name="T32" fmla="*/ 0 w 60"/>
                <a:gd name="T33" fmla="*/ 1 h 55"/>
                <a:gd name="T34" fmla="*/ 0 w 60"/>
                <a:gd name="T35" fmla="*/ 0 h 55"/>
                <a:gd name="T36" fmla="*/ 0 w 60"/>
                <a:gd name="T37" fmla="*/ 1 h 55"/>
                <a:gd name="T38" fmla="*/ 0 w 60"/>
                <a:gd name="T39" fmla="*/ 1 h 55"/>
                <a:gd name="T40" fmla="*/ 0 w 60"/>
                <a:gd name="T41" fmla="*/ 1 h 55"/>
                <a:gd name="T42" fmla="*/ 0 w 60"/>
                <a:gd name="T43" fmla="*/ 1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0"/>
                <a:gd name="T67" fmla="*/ 0 h 55"/>
                <a:gd name="T68" fmla="*/ 60 w 60"/>
                <a:gd name="T69" fmla="*/ 55 h 5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46" name="Freeform 1022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2847" y="1170"/>
              <a:ext cx="36" cy="49"/>
            </a:xfrm>
            <a:custGeom>
              <a:avLst/>
              <a:gdLst>
                <a:gd name="T0" fmla="*/ 0 w 120"/>
                <a:gd name="T1" fmla="*/ 0 h 148"/>
                <a:gd name="T2" fmla="*/ 0 w 120"/>
                <a:gd name="T3" fmla="*/ 0 h 148"/>
                <a:gd name="T4" fmla="*/ 0 w 120"/>
                <a:gd name="T5" fmla="*/ 0 h 148"/>
                <a:gd name="T6" fmla="*/ 0 w 120"/>
                <a:gd name="T7" fmla="*/ 0 h 148"/>
                <a:gd name="T8" fmla="*/ 0 w 120"/>
                <a:gd name="T9" fmla="*/ 0 h 148"/>
                <a:gd name="T10" fmla="*/ 0 w 120"/>
                <a:gd name="T11" fmla="*/ 0 h 148"/>
                <a:gd name="T12" fmla="*/ 0 w 120"/>
                <a:gd name="T13" fmla="*/ 0 h 148"/>
                <a:gd name="T14" fmla="*/ 0 w 120"/>
                <a:gd name="T15" fmla="*/ 0 h 148"/>
                <a:gd name="T16" fmla="*/ 0 w 120"/>
                <a:gd name="T17" fmla="*/ 0 h 148"/>
                <a:gd name="T18" fmla="*/ 0 w 120"/>
                <a:gd name="T19" fmla="*/ 0 h 148"/>
                <a:gd name="T20" fmla="*/ 0 w 120"/>
                <a:gd name="T21" fmla="*/ 0 h 148"/>
                <a:gd name="T22" fmla="*/ 0 w 120"/>
                <a:gd name="T23" fmla="*/ 0 h 148"/>
                <a:gd name="T24" fmla="*/ 0 w 120"/>
                <a:gd name="T25" fmla="*/ 0 h 148"/>
                <a:gd name="T26" fmla="*/ 0 w 120"/>
                <a:gd name="T27" fmla="*/ 0 h 148"/>
                <a:gd name="T28" fmla="*/ 0 w 120"/>
                <a:gd name="T29" fmla="*/ 0 h 148"/>
                <a:gd name="T30" fmla="*/ 0 w 120"/>
                <a:gd name="T31" fmla="*/ 0 h 148"/>
                <a:gd name="T32" fmla="*/ 0 w 120"/>
                <a:gd name="T33" fmla="*/ 0 h 148"/>
                <a:gd name="T34" fmla="*/ 0 w 120"/>
                <a:gd name="T35" fmla="*/ 0 h 148"/>
                <a:gd name="T36" fmla="*/ 0 w 120"/>
                <a:gd name="T37" fmla="*/ 0 h 148"/>
                <a:gd name="T38" fmla="*/ 0 w 120"/>
                <a:gd name="T39" fmla="*/ 0 h 148"/>
                <a:gd name="T40" fmla="*/ 0 w 120"/>
                <a:gd name="T41" fmla="*/ 0 h 148"/>
                <a:gd name="T42" fmla="*/ 0 w 120"/>
                <a:gd name="T43" fmla="*/ 0 h 148"/>
                <a:gd name="T44" fmla="*/ 0 w 120"/>
                <a:gd name="T45" fmla="*/ 0 h 148"/>
                <a:gd name="T46" fmla="*/ 0 w 120"/>
                <a:gd name="T47" fmla="*/ 0 h 148"/>
                <a:gd name="T48" fmla="*/ 0 w 120"/>
                <a:gd name="T49" fmla="*/ 0 h 148"/>
                <a:gd name="T50" fmla="*/ 0 w 120"/>
                <a:gd name="T51" fmla="*/ 0 h 148"/>
                <a:gd name="T52" fmla="*/ 0 w 120"/>
                <a:gd name="T53" fmla="*/ 0 h 148"/>
                <a:gd name="T54" fmla="*/ 0 w 120"/>
                <a:gd name="T55" fmla="*/ 0 h 148"/>
                <a:gd name="T56" fmla="*/ 0 w 120"/>
                <a:gd name="T57" fmla="*/ 0 h 148"/>
                <a:gd name="T58" fmla="*/ 0 w 120"/>
                <a:gd name="T59" fmla="*/ 0 h 148"/>
                <a:gd name="T60" fmla="*/ 0 w 120"/>
                <a:gd name="T61" fmla="*/ 0 h 148"/>
                <a:gd name="T62" fmla="*/ 0 w 120"/>
                <a:gd name="T63" fmla="*/ 0 h 148"/>
                <a:gd name="T64" fmla="*/ 0 w 120"/>
                <a:gd name="T65" fmla="*/ 0 h 148"/>
                <a:gd name="T66" fmla="*/ 0 w 120"/>
                <a:gd name="T67" fmla="*/ 0 h 148"/>
                <a:gd name="T68" fmla="*/ 0 w 120"/>
                <a:gd name="T69" fmla="*/ 0 h 148"/>
                <a:gd name="T70" fmla="*/ 0 w 120"/>
                <a:gd name="T71" fmla="*/ 0 h 148"/>
                <a:gd name="T72" fmla="*/ 0 w 120"/>
                <a:gd name="T73" fmla="*/ 0 h 148"/>
                <a:gd name="T74" fmla="*/ 0 w 120"/>
                <a:gd name="T75" fmla="*/ 0 h 148"/>
                <a:gd name="T76" fmla="*/ 0 w 120"/>
                <a:gd name="T77" fmla="*/ 0 h 148"/>
                <a:gd name="T78" fmla="*/ 0 w 120"/>
                <a:gd name="T79" fmla="*/ 0 h 148"/>
                <a:gd name="T80" fmla="*/ 0 w 120"/>
                <a:gd name="T81" fmla="*/ 0 h 148"/>
                <a:gd name="T82" fmla="*/ 0 w 120"/>
                <a:gd name="T83" fmla="*/ 0 h 148"/>
                <a:gd name="T84" fmla="*/ 0 w 120"/>
                <a:gd name="T85" fmla="*/ 0 h 148"/>
                <a:gd name="T86" fmla="*/ 0 w 120"/>
                <a:gd name="T87" fmla="*/ 0 h 148"/>
                <a:gd name="T88" fmla="*/ 0 w 120"/>
                <a:gd name="T89" fmla="*/ 0 h 148"/>
                <a:gd name="T90" fmla="*/ 0 w 120"/>
                <a:gd name="T91" fmla="*/ 0 h 148"/>
                <a:gd name="T92" fmla="*/ 0 w 120"/>
                <a:gd name="T93" fmla="*/ 0 h 148"/>
                <a:gd name="T94" fmla="*/ 0 w 120"/>
                <a:gd name="T95" fmla="*/ 0 h 148"/>
                <a:gd name="T96" fmla="*/ 0 w 120"/>
                <a:gd name="T97" fmla="*/ 0 h 148"/>
                <a:gd name="T98" fmla="*/ 0 w 120"/>
                <a:gd name="T99" fmla="*/ 0 h 148"/>
                <a:gd name="T100" fmla="*/ 0 w 120"/>
                <a:gd name="T101" fmla="*/ 0 h 148"/>
                <a:gd name="T102" fmla="*/ 0 w 120"/>
                <a:gd name="T103" fmla="*/ 0 h 148"/>
                <a:gd name="T104" fmla="*/ 0 w 120"/>
                <a:gd name="T105" fmla="*/ 0 h 148"/>
                <a:gd name="T106" fmla="*/ 0 w 120"/>
                <a:gd name="T107" fmla="*/ 0 h 148"/>
                <a:gd name="T108" fmla="*/ 0 w 120"/>
                <a:gd name="T109" fmla="*/ 0 h 148"/>
                <a:gd name="T110" fmla="*/ 0 w 120"/>
                <a:gd name="T111" fmla="*/ 0 h 148"/>
                <a:gd name="T112" fmla="*/ 0 w 120"/>
                <a:gd name="T113" fmla="*/ 0 h 148"/>
                <a:gd name="T114" fmla="*/ 0 w 120"/>
                <a:gd name="T115" fmla="*/ 0 h 148"/>
                <a:gd name="T116" fmla="*/ 0 w 120"/>
                <a:gd name="T117" fmla="*/ 0 h 148"/>
                <a:gd name="T118" fmla="*/ 0 w 120"/>
                <a:gd name="T119" fmla="*/ 0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20"/>
                <a:gd name="T181" fmla="*/ 0 h 148"/>
                <a:gd name="T182" fmla="*/ 120 w 120"/>
                <a:gd name="T183" fmla="*/ 148 h 14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47" name="Freeform 1023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3142" y="1677"/>
              <a:ext cx="186" cy="194"/>
            </a:xfrm>
            <a:custGeom>
              <a:avLst/>
              <a:gdLst>
                <a:gd name="T0" fmla="*/ 0 w 631"/>
                <a:gd name="T1" fmla="*/ 0 h 592"/>
                <a:gd name="T2" fmla="*/ 0 w 631"/>
                <a:gd name="T3" fmla="*/ 0 h 592"/>
                <a:gd name="T4" fmla="*/ 0 w 631"/>
                <a:gd name="T5" fmla="*/ 0 h 592"/>
                <a:gd name="T6" fmla="*/ 0 w 631"/>
                <a:gd name="T7" fmla="*/ 0 h 592"/>
                <a:gd name="T8" fmla="*/ 0 w 631"/>
                <a:gd name="T9" fmla="*/ 0 h 592"/>
                <a:gd name="T10" fmla="*/ 0 w 631"/>
                <a:gd name="T11" fmla="*/ 0 h 592"/>
                <a:gd name="T12" fmla="*/ 0 w 631"/>
                <a:gd name="T13" fmla="*/ 0 h 592"/>
                <a:gd name="T14" fmla="*/ 0 w 631"/>
                <a:gd name="T15" fmla="*/ 0 h 592"/>
                <a:gd name="T16" fmla="*/ 0 w 631"/>
                <a:gd name="T17" fmla="*/ 0 h 592"/>
                <a:gd name="T18" fmla="*/ 0 w 631"/>
                <a:gd name="T19" fmla="*/ 0 h 592"/>
                <a:gd name="T20" fmla="*/ 0 w 631"/>
                <a:gd name="T21" fmla="*/ 0 h 592"/>
                <a:gd name="T22" fmla="*/ 0 w 631"/>
                <a:gd name="T23" fmla="*/ 0 h 592"/>
                <a:gd name="T24" fmla="*/ 0 w 631"/>
                <a:gd name="T25" fmla="*/ 0 h 592"/>
                <a:gd name="T26" fmla="*/ 0 w 631"/>
                <a:gd name="T27" fmla="*/ 0 h 592"/>
                <a:gd name="T28" fmla="*/ 0 w 631"/>
                <a:gd name="T29" fmla="*/ 0 h 592"/>
                <a:gd name="T30" fmla="*/ 0 w 631"/>
                <a:gd name="T31" fmla="*/ 0 h 592"/>
                <a:gd name="T32" fmla="*/ 0 w 631"/>
                <a:gd name="T33" fmla="*/ 0 h 592"/>
                <a:gd name="T34" fmla="*/ 0 w 631"/>
                <a:gd name="T35" fmla="*/ 0 h 592"/>
                <a:gd name="T36" fmla="*/ 0 w 631"/>
                <a:gd name="T37" fmla="*/ 0 h 592"/>
                <a:gd name="T38" fmla="*/ 0 w 631"/>
                <a:gd name="T39" fmla="*/ 0 h 592"/>
                <a:gd name="T40" fmla="*/ 0 w 631"/>
                <a:gd name="T41" fmla="*/ 0 h 592"/>
                <a:gd name="T42" fmla="*/ 0 w 631"/>
                <a:gd name="T43" fmla="*/ 0 h 592"/>
                <a:gd name="T44" fmla="*/ 0 w 631"/>
                <a:gd name="T45" fmla="*/ 0 h 592"/>
                <a:gd name="T46" fmla="*/ 0 w 631"/>
                <a:gd name="T47" fmla="*/ 0 h 592"/>
                <a:gd name="T48" fmla="*/ 0 w 631"/>
                <a:gd name="T49" fmla="*/ 0 h 592"/>
                <a:gd name="T50" fmla="*/ 0 w 631"/>
                <a:gd name="T51" fmla="*/ 0 h 592"/>
                <a:gd name="T52" fmla="*/ 0 w 631"/>
                <a:gd name="T53" fmla="*/ 0 h 592"/>
                <a:gd name="T54" fmla="*/ 0 w 631"/>
                <a:gd name="T55" fmla="*/ 0 h 592"/>
                <a:gd name="T56" fmla="*/ 0 w 631"/>
                <a:gd name="T57" fmla="*/ 0 h 592"/>
                <a:gd name="T58" fmla="*/ 0 w 631"/>
                <a:gd name="T59" fmla="*/ 0 h 592"/>
                <a:gd name="T60" fmla="*/ 0 w 631"/>
                <a:gd name="T61" fmla="*/ 0 h 592"/>
                <a:gd name="T62" fmla="*/ 0 w 631"/>
                <a:gd name="T63" fmla="*/ 0 h 592"/>
                <a:gd name="T64" fmla="*/ 0 w 631"/>
                <a:gd name="T65" fmla="*/ 0 h 592"/>
                <a:gd name="T66" fmla="*/ 0 w 631"/>
                <a:gd name="T67" fmla="*/ 0 h 592"/>
                <a:gd name="T68" fmla="*/ 0 w 631"/>
                <a:gd name="T69" fmla="*/ 0 h 592"/>
                <a:gd name="T70" fmla="*/ 0 w 631"/>
                <a:gd name="T71" fmla="*/ 0 h 592"/>
                <a:gd name="T72" fmla="*/ 0 w 631"/>
                <a:gd name="T73" fmla="*/ 0 h 592"/>
                <a:gd name="T74" fmla="*/ 0 w 631"/>
                <a:gd name="T75" fmla="*/ 0 h 592"/>
                <a:gd name="T76" fmla="*/ 0 w 631"/>
                <a:gd name="T77" fmla="*/ 0 h 592"/>
                <a:gd name="T78" fmla="*/ 0 w 631"/>
                <a:gd name="T79" fmla="*/ 0 h 592"/>
                <a:gd name="T80" fmla="*/ 0 w 631"/>
                <a:gd name="T81" fmla="*/ 0 h 592"/>
                <a:gd name="T82" fmla="*/ 0 w 631"/>
                <a:gd name="T83" fmla="*/ 0 h 592"/>
                <a:gd name="T84" fmla="*/ 0 w 631"/>
                <a:gd name="T85" fmla="*/ 0 h 592"/>
                <a:gd name="T86" fmla="*/ 0 w 631"/>
                <a:gd name="T87" fmla="*/ 0 h 592"/>
                <a:gd name="T88" fmla="*/ 0 w 631"/>
                <a:gd name="T89" fmla="*/ 0 h 592"/>
                <a:gd name="T90" fmla="*/ 0 w 631"/>
                <a:gd name="T91" fmla="*/ 0 h 592"/>
                <a:gd name="T92" fmla="*/ 0 w 631"/>
                <a:gd name="T93" fmla="*/ 0 h 592"/>
                <a:gd name="T94" fmla="*/ 0 w 631"/>
                <a:gd name="T95" fmla="*/ 0 h 592"/>
                <a:gd name="T96" fmla="*/ 0 w 631"/>
                <a:gd name="T97" fmla="*/ 0 h 592"/>
                <a:gd name="T98" fmla="*/ 0 w 631"/>
                <a:gd name="T99" fmla="*/ 0 h 592"/>
                <a:gd name="T100" fmla="*/ 0 w 631"/>
                <a:gd name="T101" fmla="*/ 0 h 592"/>
                <a:gd name="T102" fmla="*/ 0 w 631"/>
                <a:gd name="T103" fmla="*/ 0 h 592"/>
                <a:gd name="T104" fmla="*/ 0 w 631"/>
                <a:gd name="T105" fmla="*/ 0 h 592"/>
                <a:gd name="T106" fmla="*/ 0 w 631"/>
                <a:gd name="T107" fmla="*/ 0 h 592"/>
                <a:gd name="T108" fmla="*/ 0 w 631"/>
                <a:gd name="T109" fmla="*/ 0 h 592"/>
                <a:gd name="T110" fmla="*/ 0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31"/>
                <a:gd name="T169" fmla="*/ 0 h 592"/>
                <a:gd name="T170" fmla="*/ 631 w 631"/>
                <a:gd name="T171" fmla="*/ 592 h 59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48" name="Freeform 1024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2865" y="1447"/>
              <a:ext cx="12" cy="36"/>
            </a:xfrm>
            <a:custGeom>
              <a:avLst/>
              <a:gdLst>
                <a:gd name="T0" fmla="*/ 0 w 40"/>
                <a:gd name="T1" fmla="*/ 0 h 93"/>
                <a:gd name="T2" fmla="*/ 0 w 40"/>
                <a:gd name="T3" fmla="*/ 0 h 93"/>
                <a:gd name="T4" fmla="*/ 0 w 40"/>
                <a:gd name="T5" fmla="*/ 0 h 93"/>
                <a:gd name="T6" fmla="*/ 0 w 40"/>
                <a:gd name="T7" fmla="*/ 0 h 93"/>
                <a:gd name="T8" fmla="*/ 0 w 40"/>
                <a:gd name="T9" fmla="*/ 0 h 93"/>
                <a:gd name="T10" fmla="*/ 0 w 40"/>
                <a:gd name="T11" fmla="*/ 0 h 93"/>
                <a:gd name="T12" fmla="*/ 0 w 40"/>
                <a:gd name="T13" fmla="*/ 0 h 93"/>
                <a:gd name="T14" fmla="*/ 0 w 40"/>
                <a:gd name="T15" fmla="*/ 0 h 93"/>
                <a:gd name="T16" fmla="*/ 0 w 40"/>
                <a:gd name="T17" fmla="*/ 0 h 93"/>
                <a:gd name="T18" fmla="*/ 0 w 40"/>
                <a:gd name="T19" fmla="*/ 0 h 93"/>
                <a:gd name="T20" fmla="*/ 0 w 40"/>
                <a:gd name="T21" fmla="*/ 0 h 93"/>
                <a:gd name="T22" fmla="*/ 0 w 40"/>
                <a:gd name="T23" fmla="*/ 0 h 93"/>
                <a:gd name="T24" fmla="*/ 0 w 40"/>
                <a:gd name="T25" fmla="*/ 0 h 93"/>
                <a:gd name="T26" fmla="*/ 0 w 40"/>
                <a:gd name="T27" fmla="*/ 0 h 93"/>
                <a:gd name="T28" fmla="*/ 0 w 40"/>
                <a:gd name="T29" fmla="*/ 0 h 93"/>
                <a:gd name="T30" fmla="*/ 0 w 40"/>
                <a:gd name="T31" fmla="*/ 0 h 93"/>
                <a:gd name="T32" fmla="*/ 0 w 40"/>
                <a:gd name="T33" fmla="*/ 0 h 93"/>
                <a:gd name="T34" fmla="*/ 0 w 40"/>
                <a:gd name="T35" fmla="*/ 0 h 93"/>
                <a:gd name="T36" fmla="*/ 0 w 40"/>
                <a:gd name="T37" fmla="*/ 0 h 93"/>
                <a:gd name="T38" fmla="*/ 0 w 40"/>
                <a:gd name="T39" fmla="*/ 0 h 93"/>
                <a:gd name="T40" fmla="*/ 0 w 40"/>
                <a:gd name="T41" fmla="*/ 0 h 93"/>
                <a:gd name="T42" fmla="*/ 0 w 40"/>
                <a:gd name="T43" fmla="*/ 0 h 93"/>
                <a:gd name="T44" fmla="*/ 0 w 40"/>
                <a:gd name="T45" fmla="*/ 0 h 93"/>
                <a:gd name="T46" fmla="*/ 0 w 40"/>
                <a:gd name="T47" fmla="*/ 0 h 93"/>
                <a:gd name="T48" fmla="*/ 0 w 40"/>
                <a:gd name="T49" fmla="*/ 0 h 93"/>
                <a:gd name="T50" fmla="*/ 0 w 40"/>
                <a:gd name="T51" fmla="*/ 0 h 93"/>
                <a:gd name="T52" fmla="*/ 0 w 40"/>
                <a:gd name="T53" fmla="*/ 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0"/>
                <a:gd name="T82" fmla="*/ 0 h 93"/>
                <a:gd name="T83" fmla="*/ 40 w 40"/>
                <a:gd name="T84" fmla="*/ 93 h 9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49" name="Freeform 1025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2620" y="1290"/>
              <a:ext cx="201" cy="172"/>
            </a:xfrm>
            <a:custGeom>
              <a:avLst/>
              <a:gdLst>
                <a:gd name="T0" fmla="*/ 0 w 664"/>
                <a:gd name="T1" fmla="*/ 0 h 518"/>
                <a:gd name="T2" fmla="*/ 0 w 664"/>
                <a:gd name="T3" fmla="*/ 0 h 518"/>
                <a:gd name="T4" fmla="*/ 0 w 664"/>
                <a:gd name="T5" fmla="*/ 0 h 518"/>
                <a:gd name="T6" fmla="*/ 0 w 664"/>
                <a:gd name="T7" fmla="*/ 0 h 518"/>
                <a:gd name="T8" fmla="*/ 0 w 664"/>
                <a:gd name="T9" fmla="*/ 0 h 518"/>
                <a:gd name="T10" fmla="*/ 0 w 664"/>
                <a:gd name="T11" fmla="*/ 0 h 518"/>
                <a:gd name="T12" fmla="*/ 0 w 664"/>
                <a:gd name="T13" fmla="*/ 0 h 518"/>
                <a:gd name="T14" fmla="*/ 0 w 664"/>
                <a:gd name="T15" fmla="*/ 0 h 518"/>
                <a:gd name="T16" fmla="*/ 0 w 664"/>
                <a:gd name="T17" fmla="*/ 0 h 518"/>
                <a:gd name="T18" fmla="*/ 0 w 664"/>
                <a:gd name="T19" fmla="*/ 0 h 518"/>
                <a:gd name="T20" fmla="*/ 0 w 664"/>
                <a:gd name="T21" fmla="*/ 0 h 518"/>
                <a:gd name="T22" fmla="*/ 0 w 664"/>
                <a:gd name="T23" fmla="*/ 0 h 518"/>
                <a:gd name="T24" fmla="*/ 0 w 664"/>
                <a:gd name="T25" fmla="*/ 0 h 518"/>
                <a:gd name="T26" fmla="*/ 0 w 664"/>
                <a:gd name="T27" fmla="*/ 0 h 518"/>
                <a:gd name="T28" fmla="*/ 0 w 664"/>
                <a:gd name="T29" fmla="*/ 0 h 518"/>
                <a:gd name="T30" fmla="*/ 0 w 664"/>
                <a:gd name="T31" fmla="*/ 0 h 518"/>
                <a:gd name="T32" fmla="*/ 0 w 664"/>
                <a:gd name="T33" fmla="*/ 0 h 518"/>
                <a:gd name="T34" fmla="*/ 0 w 664"/>
                <a:gd name="T35" fmla="*/ 0 h 518"/>
                <a:gd name="T36" fmla="*/ 0 w 664"/>
                <a:gd name="T37" fmla="*/ 0 h 518"/>
                <a:gd name="T38" fmla="*/ 0 w 664"/>
                <a:gd name="T39" fmla="*/ 0 h 518"/>
                <a:gd name="T40" fmla="*/ 0 w 664"/>
                <a:gd name="T41" fmla="*/ 0 h 518"/>
                <a:gd name="T42" fmla="*/ 0 w 664"/>
                <a:gd name="T43" fmla="*/ 0 h 518"/>
                <a:gd name="T44" fmla="*/ 0 w 664"/>
                <a:gd name="T45" fmla="*/ 0 h 518"/>
                <a:gd name="T46" fmla="*/ 0 w 664"/>
                <a:gd name="T47" fmla="*/ 0 h 518"/>
                <a:gd name="T48" fmla="*/ 0 w 664"/>
                <a:gd name="T49" fmla="*/ 0 h 518"/>
                <a:gd name="T50" fmla="*/ 0 w 664"/>
                <a:gd name="T51" fmla="*/ 0 h 518"/>
                <a:gd name="T52" fmla="*/ 0 w 664"/>
                <a:gd name="T53" fmla="*/ 0 h 518"/>
                <a:gd name="T54" fmla="*/ 0 w 664"/>
                <a:gd name="T55" fmla="*/ 0 h 518"/>
                <a:gd name="T56" fmla="*/ 0 w 664"/>
                <a:gd name="T57" fmla="*/ 0 h 518"/>
                <a:gd name="T58" fmla="*/ 0 w 664"/>
                <a:gd name="T59" fmla="*/ 0 h 518"/>
                <a:gd name="T60" fmla="*/ 0 w 664"/>
                <a:gd name="T61" fmla="*/ 0 h 518"/>
                <a:gd name="T62" fmla="*/ 0 w 664"/>
                <a:gd name="T63" fmla="*/ 0 h 518"/>
                <a:gd name="T64" fmla="*/ 0 w 664"/>
                <a:gd name="T65" fmla="*/ 0 h 518"/>
                <a:gd name="T66" fmla="*/ 0 w 664"/>
                <a:gd name="T67" fmla="*/ 0 h 518"/>
                <a:gd name="T68" fmla="*/ 0 w 664"/>
                <a:gd name="T69" fmla="*/ 0 h 518"/>
                <a:gd name="T70" fmla="*/ 0 w 664"/>
                <a:gd name="T71" fmla="*/ 0 h 518"/>
                <a:gd name="T72" fmla="*/ 0 w 664"/>
                <a:gd name="T73" fmla="*/ 0 h 518"/>
                <a:gd name="T74" fmla="*/ 0 w 664"/>
                <a:gd name="T75" fmla="*/ 0 h 518"/>
                <a:gd name="T76" fmla="*/ 0 w 664"/>
                <a:gd name="T77" fmla="*/ 0 h 518"/>
                <a:gd name="T78" fmla="*/ 0 w 664"/>
                <a:gd name="T79" fmla="*/ 0 h 518"/>
                <a:gd name="T80" fmla="*/ 0 w 664"/>
                <a:gd name="T81" fmla="*/ 0 h 518"/>
                <a:gd name="T82" fmla="*/ 0 w 664"/>
                <a:gd name="T83" fmla="*/ 0 h 518"/>
                <a:gd name="T84" fmla="*/ 0 w 664"/>
                <a:gd name="T85" fmla="*/ 0 h 518"/>
                <a:gd name="T86" fmla="*/ 0 w 664"/>
                <a:gd name="T87" fmla="*/ 0 h 518"/>
                <a:gd name="T88" fmla="*/ 0 w 664"/>
                <a:gd name="T89" fmla="*/ 0 h 518"/>
                <a:gd name="T90" fmla="*/ 0 w 664"/>
                <a:gd name="T91" fmla="*/ 0 h 518"/>
                <a:gd name="T92" fmla="*/ 0 w 664"/>
                <a:gd name="T93" fmla="*/ 0 h 518"/>
                <a:gd name="T94" fmla="*/ 0 w 664"/>
                <a:gd name="T95" fmla="*/ 0 h 518"/>
                <a:gd name="T96" fmla="*/ 0 w 664"/>
                <a:gd name="T97" fmla="*/ 0 h 518"/>
                <a:gd name="T98" fmla="*/ 0 w 664"/>
                <a:gd name="T99" fmla="*/ 0 h 518"/>
                <a:gd name="T100" fmla="*/ 0 w 664"/>
                <a:gd name="T101" fmla="*/ 0 h 518"/>
                <a:gd name="T102" fmla="*/ 0 w 664"/>
                <a:gd name="T103" fmla="*/ 0 h 518"/>
                <a:gd name="T104" fmla="*/ 0 w 664"/>
                <a:gd name="T105" fmla="*/ 0 h 518"/>
                <a:gd name="T106" fmla="*/ 0 w 664"/>
                <a:gd name="T107" fmla="*/ 0 h 518"/>
                <a:gd name="T108" fmla="*/ 0 w 664"/>
                <a:gd name="T109" fmla="*/ 0 h 518"/>
                <a:gd name="T110" fmla="*/ 0 w 664"/>
                <a:gd name="T111" fmla="*/ 0 h 518"/>
                <a:gd name="T112" fmla="*/ 0 w 664"/>
                <a:gd name="T113" fmla="*/ 0 h 518"/>
                <a:gd name="T114" fmla="*/ 0 w 664"/>
                <a:gd name="T115" fmla="*/ 0 h 518"/>
                <a:gd name="T116" fmla="*/ 0 w 664"/>
                <a:gd name="T117" fmla="*/ 0 h 518"/>
                <a:gd name="T118" fmla="*/ 0 w 664"/>
                <a:gd name="T119" fmla="*/ 0 h 518"/>
                <a:gd name="T120" fmla="*/ 0 w 664"/>
                <a:gd name="T121" fmla="*/ 0 h 518"/>
                <a:gd name="T122" fmla="*/ 0 w 664"/>
                <a:gd name="T123" fmla="*/ 0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64"/>
                <a:gd name="T187" fmla="*/ 0 h 518"/>
                <a:gd name="T188" fmla="*/ 664 w 664"/>
                <a:gd name="T189" fmla="*/ 518 h 51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50" name="Freeform 1026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3357" y="1438"/>
              <a:ext cx="103" cy="52"/>
            </a:xfrm>
            <a:custGeom>
              <a:avLst/>
              <a:gdLst>
                <a:gd name="T0" fmla="*/ 0 w 352"/>
                <a:gd name="T1" fmla="*/ 0 h 153"/>
                <a:gd name="T2" fmla="*/ 0 w 352"/>
                <a:gd name="T3" fmla="*/ 0 h 153"/>
                <a:gd name="T4" fmla="*/ 0 w 352"/>
                <a:gd name="T5" fmla="*/ 0 h 153"/>
                <a:gd name="T6" fmla="*/ 0 w 352"/>
                <a:gd name="T7" fmla="*/ 0 h 153"/>
                <a:gd name="T8" fmla="*/ 0 w 352"/>
                <a:gd name="T9" fmla="*/ 0 h 153"/>
                <a:gd name="T10" fmla="*/ 0 w 352"/>
                <a:gd name="T11" fmla="*/ 0 h 153"/>
                <a:gd name="T12" fmla="*/ 0 w 352"/>
                <a:gd name="T13" fmla="*/ 0 h 153"/>
                <a:gd name="T14" fmla="*/ 0 w 352"/>
                <a:gd name="T15" fmla="*/ 0 h 153"/>
                <a:gd name="T16" fmla="*/ 0 w 352"/>
                <a:gd name="T17" fmla="*/ 0 h 153"/>
                <a:gd name="T18" fmla="*/ 0 w 352"/>
                <a:gd name="T19" fmla="*/ 0 h 153"/>
                <a:gd name="T20" fmla="*/ 0 w 352"/>
                <a:gd name="T21" fmla="*/ 0 h 153"/>
                <a:gd name="T22" fmla="*/ 0 w 352"/>
                <a:gd name="T23" fmla="*/ 0 h 153"/>
                <a:gd name="T24" fmla="*/ 0 w 352"/>
                <a:gd name="T25" fmla="*/ 0 h 153"/>
                <a:gd name="T26" fmla="*/ 0 w 352"/>
                <a:gd name="T27" fmla="*/ 0 h 153"/>
                <a:gd name="T28" fmla="*/ 0 w 352"/>
                <a:gd name="T29" fmla="*/ 0 h 153"/>
                <a:gd name="T30" fmla="*/ 0 w 352"/>
                <a:gd name="T31" fmla="*/ 0 h 153"/>
                <a:gd name="T32" fmla="*/ 0 w 352"/>
                <a:gd name="T33" fmla="*/ 0 h 153"/>
                <a:gd name="T34" fmla="*/ 0 w 352"/>
                <a:gd name="T35" fmla="*/ 0 h 153"/>
                <a:gd name="T36" fmla="*/ 0 w 352"/>
                <a:gd name="T37" fmla="*/ 0 h 153"/>
                <a:gd name="T38" fmla="*/ 0 w 352"/>
                <a:gd name="T39" fmla="*/ 0 h 153"/>
                <a:gd name="T40" fmla="*/ 0 w 352"/>
                <a:gd name="T41" fmla="*/ 0 h 153"/>
                <a:gd name="T42" fmla="*/ 0 w 352"/>
                <a:gd name="T43" fmla="*/ 0 h 153"/>
                <a:gd name="T44" fmla="*/ 0 w 352"/>
                <a:gd name="T45" fmla="*/ 0 h 153"/>
                <a:gd name="T46" fmla="*/ 0 w 352"/>
                <a:gd name="T47" fmla="*/ 0 h 153"/>
                <a:gd name="T48" fmla="*/ 0 w 352"/>
                <a:gd name="T49" fmla="*/ 0 h 153"/>
                <a:gd name="T50" fmla="*/ 0 w 352"/>
                <a:gd name="T51" fmla="*/ 0 h 153"/>
                <a:gd name="T52" fmla="*/ 0 w 352"/>
                <a:gd name="T53" fmla="*/ 0 h 153"/>
                <a:gd name="T54" fmla="*/ 0 w 352"/>
                <a:gd name="T55" fmla="*/ 0 h 153"/>
                <a:gd name="T56" fmla="*/ 0 w 352"/>
                <a:gd name="T57" fmla="*/ 0 h 153"/>
                <a:gd name="T58" fmla="*/ 0 w 352"/>
                <a:gd name="T59" fmla="*/ 0 h 153"/>
                <a:gd name="T60" fmla="*/ 0 w 352"/>
                <a:gd name="T61" fmla="*/ 0 h 153"/>
                <a:gd name="T62" fmla="*/ 0 w 352"/>
                <a:gd name="T63" fmla="*/ 0 h 153"/>
                <a:gd name="T64" fmla="*/ 0 w 352"/>
                <a:gd name="T65" fmla="*/ 0 h 153"/>
                <a:gd name="T66" fmla="*/ 0 w 352"/>
                <a:gd name="T67" fmla="*/ 0 h 153"/>
                <a:gd name="T68" fmla="*/ 0 w 352"/>
                <a:gd name="T69" fmla="*/ 0 h 153"/>
                <a:gd name="T70" fmla="*/ 0 w 352"/>
                <a:gd name="T71" fmla="*/ 0 h 153"/>
                <a:gd name="T72" fmla="*/ 0 w 352"/>
                <a:gd name="T73" fmla="*/ 0 h 153"/>
                <a:gd name="T74" fmla="*/ 0 w 352"/>
                <a:gd name="T75" fmla="*/ 0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52"/>
                <a:gd name="T115" fmla="*/ 0 h 153"/>
                <a:gd name="T116" fmla="*/ 352 w 352"/>
                <a:gd name="T117" fmla="*/ 153 h 15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51" name="Freeform 1027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3050" y="1476"/>
              <a:ext cx="100" cy="109"/>
            </a:xfrm>
            <a:custGeom>
              <a:avLst/>
              <a:gdLst>
                <a:gd name="T0" fmla="*/ 0 w 331"/>
                <a:gd name="T1" fmla="*/ 0 h 327"/>
                <a:gd name="T2" fmla="*/ 0 w 331"/>
                <a:gd name="T3" fmla="*/ 0 h 327"/>
                <a:gd name="T4" fmla="*/ 0 w 331"/>
                <a:gd name="T5" fmla="*/ 0 h 327"/>
                <a:gd name="T6" fmla="*/ 0 w 331"/>
                <a:gd name="T7" fmla="*/ 0 h 327"/>
                <a:gd name="T8" fmla="*/ 0 w 331"/>
                <a:gd name="T9" fmla="*/ 0 h 327"/>
                <a:gd name="T10" fmla="*/ 0 w 331"/>
                <a:gd name="T11" fmla="*/ 0 h 327"/>
                <a:gd name="T12" fmla="*/ 0 w 331"/>
                <a:gd name="T13" fmla="*/ 0 h 327"/>
                <a:gd name="T14" fmla="*/ 0 w 331"/>
                <a:gd name="T15" fmla="*/ 0 h 327"/>
                <a:gd name="T16" fmla="*/ 0 w 331"/>
                <a:gd name="T17" fmla="*/ 0 h 327"/>
                <a:gd name="T18" fmla="*/ 0 w 331"/>
                <a:gd name="T19" fmla="*/ 0 h 327"/>
                <a:gd name="T20" fmla="*/ 0 w 331"/>
                <a:gd name="T21" fmla="*/ 0 h 327"/>
                <a:gd name="T22" fmla="*/ 0 w 331"/>
                <a:gd name="T23" fmla="*/ 0 h 327"/>
                <a:gd name="T24" fmla="*/ 0 w 331"/>
                <a:gd name="T25" fmla="*/ 0 h 327"/>
                <a:gd name="T26" fmla="*/ 0 w 331"/>
                <a:gd name="T27" fmla="*/ 0 h 327"/>
                <a:gd name="T28" fmla="*/ 0 w 331"/>
                <a:gd name="T29" fmla="*/ 0 h 327"/>
                <a:gd name="T30" fmla="*/ 0 w 331"/>
                <a:gd name="T31" fmla="*/ 0 h 327"/>
                <a:gd name="T32" fmla="*/ 0 w 331"/>
                <a:gd name="T33" fmla="*/ 0 h 327"/>
                <a:gd name="T34" fmla="*/ 0 w 331"/>
                <a:gd name="T35" fmla="*/ 0 h 327"/>
                <a:gd name="T36" fmla="*/ 0 w 331"/>
                <a:gd name="T37" fmla="*/ 0 h 327"/>
                <a:gd name="T38" fmla="*/ 0 w 331"/>
                <a:gd name="T39" fmla="*/ 0 h 327"/>
                <a:gd name="T40" fmla="*/ 0 w 331"/>
                <a:gd name="T41" fmla="*/ 0 h 327"/>
                <a:gd name="T42" fmla="*/ 0 w 331"/>
                <a:gd name="T43" fmla="*/ 0 h 327"/>
                <a:gd name="T44" fmla="*/ 0 w 331"/>
                <a:gd name="T45" fmla="*/ 0 h 327"/>
                <a:gd name="T46" fmla="*/ 0 w 331"/>
                <a:gd name="T47" fmla="*/ 0 h 327"/>
                <a:gd name="T48" fmla="*/ 0 w 331"/>
                <a:gd name="T49" fmla="*/ 0 h 327"/>
                <a:gd name="T50" fmla="*/ 0 w 331"/>
                <a:gd name="T51" fmla="*/ 0 h 327"/>
                <a:gd name="T52" fmla="*/ 0 w 331"/>
                <a:gd name="T53" fmla="*/ 0 h 327"/>
                <a:gd name="T54" fmla="*/ 0 w 331"/>
                <a:gd name="T55" fmla="*/ 0 h 327"/>
                <a:gd name="T56" fmla="*/ 0 w 331"/>
                <a:gd name="T57" fmla="*/ 0 h 327"/>
                <a:gd name="T58" fmla="*/ 0 w 331"/>
                <a:gd name="T59" fmla="*/ 0 h 327"/>
                <a:gd name="T60" fmla="*/ 0 w 331"/>
                <a:gd name="T61" fmla="*/ 0 h 327"/>
                <a:gd name="T62" fmla="*/ 0 w 331"/>
                <a:gd name="T63" fmla="*/ 0 h 327"/>
                <a:gd name="T64" fmla="*/ 0 w 331"/>
                <a:gd name="T65" fmla="*/ 0 h 327"/>
                <a:gd name="T66" fmla="*/ 0 w 331"/>
                <a:gd name="T67" fmla="*/ 0 h 327"/>
                <a:gd name="T68" fmla="*/ 0 w 331"/>
                <a:gd name="T69" fmla="*/ 0 h 327"/>
                <a:gd name="T70" fmla="*/ 0 w 331"/>
                <a:gd name="T71" fmla="*/ 0 h 327"/>
                <a:gd name="T72" fmla="*/ 0 w 331"/>
                <a:gd name="T73" fmla="*/ 0 h 327"/>
                <a:gd name="T74" fmla="*/ 0 w 331"/>
                <a:gd name="T75" fmla="*/ 0 h 327"/>
                <a:gd name="T76" fmla="*/ 0 w 331"/>
                <a:gd name="T77" fmla="*/ 0 h 327"/>
                <a:gd name="T78" fmla="*/ 0 w 331"/>
                <a:gd name="T79" fmla="*/ 0 h 327"/>
                <a:gd name="T80" fmla="*/ 0 w 331"/>
                <a:gd name="T81" fmla="*/ 0 h 327"/>
                <a:gd name="T82" fmla="*/ 0 w 331"/>
                <a:gd name="T83" fmla="*/ 0 h 327"/>
                <a:gd name="T84" fmla="*/ 0 w 331"/>
                <a:gd name="T85" fmla="*/ 0 h 327"/>
                <a:gd name="T86" fmla="*/ 0 w 331"/>
                <a:gd name="T87" fmla="*/ 0 h 327"/>
                <a:gd name="T88" fmla="*/ 0 w 331"/>
                <a:gd name="T89" fmla="*/ 0 h 327"/>
                <a:gd name="T90" fmla="*/ 0 w 331"/>
                <a:gd name="T91" fmla="*/ 0 h 327"/>
                <a:gd name="T92" fmla="*/ 0 w 331"/>
                <a:gd name="T93" fmla="*/ 0 h 327"/>
                <a:gd name="T94" fmla="*/ 0 w 331"/>
                <a:gd name="T95" fmla="*/ 0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31"/>
                <a:gd name="T145" fmla="*/ 0 h 327"/>
                <a:gd name="T146" fmla="*/ 331 w 331"/>
                <a:gd name="T147" fmla="*/ 327 h 3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52" name="Freeform 1028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3107" y="1597"/>
              <a:ext cx="48" cy="36"/>
            </a:xfrm>
            <a:custGeom>
              <a:avLst/>
              <a:gdLst>
                <a:gd name="T0" fmla="*/ 0 w 153"/>
                <a:gd name="T1" fmla="*/ 0 h 49"/>
                <a:gd name="T2" fmla="*/ 0 w 153"/>
                <a:gd name="T3" fmla="*/ 1 h 49"/>
                <a:gd name="T4" fmla="*/ 0 w 153"/>
                <a:gd name="T5" fmla="*/ 1 h 49"/>
                <a:gd name="T6" fmla="*/ 0 w 153"/>
                <a:gd name="T7" fmla="*/ 1 h 49"/>
                <a:gd name="T8" fmla="*/ 0 w 153"/>
                <a:gd name="T9" fmla="*/ 1 h 49"/>
                <a:gd name="T10" fmla="*/ 0 w 153"/>
                <a:gd name="T11" fmla="*/ 1 h 49"/>
                <a:gd name="T12" fmla="*/ 0 w 153"/>
                <a:gd name="T13" fmla="*/ 1 h 49"/>
                <a:gd name="T14" fmla="*/ 0 w 153"/>
                <a:gd name="T15" fmla="*/ 1 h 49"/>
                <a:gd name="T16" fmla="*/ 0 w 153"/>
                <a:gd name="T17" fmla="*/ 0 h 49"/>
                <a:gd name="T18" fmla="*/ 0 w 153"/>
                <a:gd name="T19" fmla="*/ 1 h 49"/>
                <a:gd name="T20" fmla="*/ 0 w 153"/>
                <a:gd name="T21" fmla="*/ 1 h 49"/>
                <a:gd name="T22" fmla="*/ 0 w 153"/>
                <a:gd name="T23" fmla="*/ 1 h 49"/>
                <a:gd name="T24" fmla="*/ 0 w 153"/>
                <a:gd name="T25" fmla="*/ 1 h 49"/>
                <a:gd name="T26" fmla="*/ 0 w 153"/>
                <a:gd name="T27" fmla="*/ 1 h 49"/>
                <a:gd name="T28" fmla="*/ 0 w 153"/>
                <a:gd name="T29" fmla="*/ 1 h 49"/>
                <a:gd name="T30" fmla="*/ 0 w 153"/>
                <a:gd name="T31" fmla="*/ 1 h 49"/>
                <a:gd name="T32" fmla="*/ 0 w 153"/>
                <a:gd name="T33" fmla="*/ 1 h 49"/>
                <a:gd name="T34" fmla="*/ 0 w 153"/>
                <a:gd name="T35" fmla="*/ 1 h 49"/>
                <a:gd name="T36" fmla="*/ 0 w 153"/>
                <a:gd name="T37" fmla="*/ 1 h 49"/>
                <a:gd name="T38" fmla="*/ 0 w 153"/>
                <a:gd name="T39" fmla="*/ 1 h 49"/>
                <a:gd name="T40" fmla="*/ 0 w 153"/>
                <a:gd name="T41" fmla="*/ 1 h 49"/>
                <a:gd name="T42" fmla="*/ 0 w 153"/>
                <a:gd name="T43" fmla="*/ 1 h 49"/>
                <a:gd name="T44" fmla="*/ 0 w 153"/>
                <a:gd name="T45" fmla="*/ 1 h 49"/>
                <a:gd name="T46" fmla="*/ 0 w 153"/>
                <a:gd name="T47" fmla="*/ 1 h 49"/>
                <a:gd name="T48" fmla="*/ 0 w 153"/>
                <a:gd name="T49" fmla="*/ 1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53"/>
                <a:gd name="T79" fmla="*/ 0 h 49"/>
                <a:gd name="T80" fmla="*/ 153 w 153"/>
                <a:gd name="T81" fmla="*/ 49 h 4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53" name="Freeform 1029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2479" y="2058"/>
              <a:ext cx="128" cy="100"/>
            </a:xfrm>
            <a:custGeom>
              <a:avLst/>
              <a:gdLst>
                <a:gd name="T0" fmla="*/ 0 w 426"/>
                <a:gd name="T1" fmla="*/ 0 h 299"/>
                <a:gd name="T2" fmla="*/ 0 w 426"/>
                <a:gd name="T3" fmla="*/ 0 h 299"/>
                <a:gd name="T4" fmla="*/ 0 w 426"/>
                <a:gd name="T5" fmla="*/ 0 h 299"/>
                <a:gd name="T6" fmla="*/ 0 w 426"/>
                <a:gd name="T7" fmla="*/ 0 h 299"/>
                <a:gd name="T8" fmla="*/ 0 w 426"/>
                <a:gd name="T9" fmla="*/ 0 h 299"/>
                <a:gd name="T10" fmla="*/ 0 w 426"/>
                <a:gd name="T11" fmla="*/ 0 h 299"/>
                <a:gd name="T12" fmla="*/ 0 w 426"/>
                <a:gd name="T13" fmla="*/ 0 h 299"/>
                <a:gd name="T14" fmla="*/ 0 w 426"/>
                <a:gd name="T15" fmla="*/ 0 h 299"/>
                <a:gd name="T16" fmla="*/ 0 w 426"/>
                <a:gd name="T17" fmla="*/ 0 h 299"/>
                <a:gd name="T18" fmla="*/ 0 w 426"/>
                <a:gd name="T19" fmla="*/ 0 h 299"/>
                <a:gd name="T20" fmla="*/ 0 w 426"/>
                <a:gd name="T21" fmla="*/ 0 h 299"/>
                <a:gd name="T22" fmla="*/ 0 w 426"/>
                <a:gd name="T23" fmla="*/ 0 h 299"/>
                <a:gd name="T24" fmla="*/ 0 w 426"/>
                <a:gd name="T25" fmla="*/ 0 h 299"/>
                <a:gd name="T26" fmla="*/ 0 w 426"/>
                <a:gd name="T27" fmla="*/ 0 h 299"/>
                <a:gd name="T28" fmla="*/ 0 w 426"/>
                <a:gd name="T29" fmla="*/ 0 h 299"/>
                <a:gd name="T30" fmla="*/ 0 w 426"/>
                <a:gd name="T31" fmla="*/ 0 h 299"/>
                <a:gd name="T32" fmla="*/ 0 w 426"/>
                <a:gd name="T33" fmla="*/ 0 h 299"/>
                <a:gd name="T34" fmla="*/ 0 w 426"/>
                <a:gd name="T35" fmla="*/ 0 h 299"/>
                <a:gd name="T36" fmla="*/ 0 w 426"/>
                <a:gd name="T37" fmla="*/ 0 h 299"/>
                <a:gd name="T38" fmla="*/ 0 w 426"/>
                <a:gd name="T39" fmla="*/ 0 h 299"/>
                <a:gd name="T40" fmla="*/ 0 w 426"/>
                <a:gd name="T41" fmla="*/ 0 h 299"/>
                <a:gd name="T42" fmla="*/ 0 w 426"/>
                <a:gd name="T43" fmla="*/ 0 h 299"/>
                <a:gd name="T44" fmla="*/ 0 w 426"/>
                <a:gd name="T45" fmla="*/ 0 h 299"/>
                <a:gd name="T46" fmla="*/ 0 w 426"/>
                <a:gd name="T47" fmla="*/ 0 h 299"/>
                <a:gd name="T48" fmla="*/ 0 w 426"/>
                <a:gd name="T49" fmla="*/ 0 h 299"/>
                <a:gd name="T50" fmla="*/ 0 w 426"/>
                <a:gd name="T51" fmla="*/ 0 h 299"/>
                <a:gd name="T52" fmla="*/ 0 w 426"/>
                <a:gd name="T53" fmla="*/ 0 h 299"/>
                <a:gd name="T54" fmla="*/ 0 w 426"/>
                <a:gd name="T55" fmla="*/ 0 h 299"/>
                <a:gd name="T56" fmla="*/ 0 w 426"/>
                <a:gd name="T57" fmla="*/ 0 h 299"/>
                <a:gd name="T58" fmla="*/ 0 w 426"/>
                <a:gd name="T59" fmla="*/ 0 h 299"/>
                <a:gd name="T60" fmla="*/ 0 w 426"/>
                <a:gd name="T61" fmla="*/ 0 h 299"/>
                <a:gd name="T62" fmla="*/ 0 w 426"/>
                <a:gd name="T63" fmla="*/ 0 h 299"/>
                <a:gd name="T64" fmla="*/ 0 w 426"/>
                <a:gd name="T65" fmla="*/ 0 h 299"/>
                <a:gd name="T66" fmla="*/ 0 w 426"/>
                <a:gd name="T67" fmla="*/ 0 h 299"/>
                <a:gd name="T68" fmla="*/ 0 w 426"/>
                <a:gd name="T69" fmla="*/ 0 h 299"/>
                <a:gd name="T70" fmla="*/ 0 w 426"/>
                <a:gd name="T71" fmla="*/ 0 h 299"/>
                <a:gd name="T72" fmla="*/ 0 w 426"/>
                <a:gd name="T73" fmla="*/ 0 h 299"/>
                <a:gd name="T74" fmla="*/ 0 w 426"/>
                <a:gd name="T75" fmla="*/ 0 h 299"/>
                <a:gd name="T76" fmla="*/ 0 w 426"/>
                <a:gd name="T77" fmla="*/ 0 h 299"/>
                <a:gd name="T78" fmla="*/ 0 w 426"/>
                <a:gd name="T79" fmla="*/ 0 h 299"/>
                <a:gd name="T80" fmla="*/ 0 w 426"/>
                <a:gd name="T81" fmla="*/ 0 h 299"/>
                <a:gd name="T82" fmla="*/ 0 w 426"/>
                <a:gd name="T83" fmla="*/ 0 h 299"/>
                <a:gd name="T84" fmla="*/ 0 w 426"/>
                <a:gd name="T85" fmla="*/ 0 h 299"/>
                <a:gd name="T86" fmla="*/ 0 w 426"/>
                <a:gd name="T87" fmla="*/ 0 h 299"/>
                <a:gd name="T88" fmla="*/ 0 w 426"/>
                <a:gd name="T89" fmla="*/ 0 h 299"/>
                <a:gd name="T90" fmla="*/ 0 w 426"/>
                <a:gd name="T91" fmla="*/ 0 h 299"/>
                <a:gd name="T92" fmla="*/ 0 w 426"/>
                <a:gd name="T93" fmla="*/ 0 h 299"/>
                <a:gd name="T94" fmla="*/ 0 w 426"/>
                <a:gd name="T95" fmla="*/ 0 h 299"/>
                <a:gd name="T96" fmla="*/ 0 w 426"/>
                <a:gd name="T97" fmla="*/ 0 h 299"/>
                <a:gd name="T98" fmla="*/ 0 w 426"/>
                <a:gd name="T99" fmla="*/ 0 h 299"/>
                <a:gd name="T100" fmla="*/ 0 w 426"/>
                <a:gd name="T101" fmla="*/ 0 h 299"/>
                <a:gd name="T102" fmla="*/ 0 w 426"/>
                <a:gd name="T103" fmla="*/ 0 h 299"/>
                <a:gd name="T104" fmla="*/ 0 w 426"/>
                <a:gd name="T105" fmla="*/ 0 h 299"/>
                <a:gd name="T106" fmla="*/ 0 w 426"/>
                <a:gd name="T107" fmla="*/ 0 h 299"/>
                <a:gd name="T108" fmla="*/ 0 w 426"/>
                <a:gd name="T109" fmla="*/ 0 h 299"/>
                <a:gd name="T110" fmla="*/ 0 w 426"/>
                <a:gd name="T111" fmla="*/ 0 h 299"/>
                <a:gd name="T112" fmla="*/ 0 w 426"/>
                <a:gd name="T113" fmla="*/ 0 h 299"/>
                <a:gd name="T114" fmla="*/ 0 w 426"/>
                <a:gd name="T115" fmla="*/ 0 h 299"/>
                <a:gd name="T116" fmla="*/ 0 w 426"/>
                <a:gd name="T117" fmla="*/ 0 h 299"/>
                <a:gd name="T118" fmla="*/ 0 w 426"/>
                <a:gd name="T119" fmla="*/ 0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26"/>
                <a:gd name="T181" fmla="*/ 0 h 299"/>
                <a:gd name="T182" fmla="*/ 426 w 426"/>
                <a:gd name="T183" fmla="*/ 299 h 29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54" name="Freeform 1030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3874" y="1594"/>
              <a:ext cx="472" cy="551"/>
            </a:xfrm>
            <a:custGeom>
              <a:avLst/>
              <a:gdLst>
                <a:gd name="T0" fmla="*/ 0 w 1594"/>
                <a:gd name="T1" fmla="*/ 0 h 1670"/>
                <a:gd name="T2" fmla="*/ 0 w 1594"/>
                <a:gd name="T3" fmla="*/ 0 h 1670"/>
                <a:gd name="T4" fmla="*/ 0 w 1594"/>
                <a:gd name="T5" fmla="*/ 0 h 1670"/>
                <a:gd name="T6" fmla="*/ 0 w 1594"/>
                <a:gd name="T7" fmla="*/ 0 h 1670"/>
                <a:gd name="T8" fmla="*/ 0 w 1594"/>
                <a:gd name="T9" fmla="*/ 0 h 1670"/>
                <a:gd name="T10" fmla="*/ 0 w 1594"/>
                <a:gd name="T11" fmla="*/ 0 h 1670"/>
                <a:gd name="T12" fmla="*/ 0 w 1594"/>
                <a:gd name="T13" fmla="*/ 0 h 1670"/>
                <a:gd name="T14" fmla="*/ 0 w 1594"/>
                <a:gd name="T15" fmla="*/ 0 h 1670"/>
                <a:gd name="T16" fmla="*/ 0 w 1594"/>
                <a:gd name="T17" fmla="*/ 0 h 1670"/>
                <a:gd name="T18" fmla="*/ 0 w 1594"/>
                <a:gd name="T19" fmla="*/ 0 h 1670"/>
                <a:gd name="T20" fmla="*/ 0 w 1594"/>
                <a:gd name="T21" fmla="*/ 0 h 1670"/>
                <a:gd name="T22" fmla="*/ 0 w 1594"/>
                <a:gd name="T23" fmla="*/ 0 h 1670"/>
                <a:gd name="T24" fmla="*/ 0 w 1594"/>
                <a:gd name="T25" fmla="*/ 0 h 1670"/>
                <a:gd name="T26" fmla="*/ 0 w 1594"/>
                <a:gd name="T27" fmla="*/ 0 h 1670"/>
                <a:gd name="T28" fmla="*/ 0 w 1594"/>
                <a:gd name="T29" fmla="*/ 0 h 1670"/>
                <a:gd name="T30" fmla="*/ 0 w 1594"/>
                <a:gd name="T31" fmla="*/ 0 h 1670"/>
                <a:gd name="T32" fmla="*/ 0 w 1594"/>
                <a:gd name="T33" fmla="*/ 0 h 1670"/>
                <a:gd name="T34" fmla="*/ 0 w 1594"/>
                <a:gd name="T35" fmla="*/ 0 h 1670"/>
                <a:gd name="T36" fmla="*/ 0 w 1594"/>
                <a:gd name="T37" fmla="*/ 0 h 1670"/>
                <a:gd name="T38" fmla="*/ 0 w 1594"/>
                <a:gd name="T39" fmla="*/ 0 h 1670"/>
                <a:gd name="T40" fmla="*/ 0 w 1594"/>
                <a:gd name="T41" fmla="*/ 0 h 1670"/>
                <a:gd name="T42" fmla="*/ 0 w 1594"/>
                <a:gd name="T43" fmla="*/ 0 h 1670"/>
                <a:gd name="T44" fmla="*/ 0 w 1594"/>
                <a:gd name="T45" fmla="*/ 0 h 1670"/>
                <a:gd name="T46" fmla="*/ 0 w 1594"/>
                <a:gd name="T47" fmla="*/ 0 h 1670"/>
                <a:gd name="T48" fmla="*/ 0 w 1594"/>
                <a:gd name="T49" fmla="*/ 0 h 1670"/>
                <a:gd name="T50" fmla="*/ 0 w 1594"/>
                <a:gd name="T51" fmla="*/ 0 h 1670"/>
                <a:gd name="T52" fmla="*/ 0 w 1594"/>
                <a:gd name="T53" fmla="*/ 0 h 1670"/>
                <a:gd name="T54" fmla="*/ 0 w 1594"/>
                <a:gd name="T55" fmla="*/ 0 h 1670"/>
                <a:gd name="T56" fmla="*/ 0 w 1594"/>
                <a:gd name="T57" fmla="*/ 0 h 1670"/>
                <a:gd name="T58" fmla="*/ 0 w 1594"/>
                <a:gd name="T59" fmla="*/ 0 h 1670"/>
                <a:gd name="T60" fmla="*/ 0 w 1594"/>
                <a:gd name="T61" fmla="*/ 0 h 1670"/>
                <a:gd name="T62" fmla="*/ 0 w 1594"/>
                <a:gd name="T63" fmla="*/ 0 h 1670"/>
                <a:gd name="T64" fmla="*/ 0 w 1594"/>
                <a:gd name="T65" fmla="*/ 0 h 1670"/>
                <a:gd name="T66" fmla="*/ 0 w 1594"/>
                <a:gd name="T67" fmla="*/ 0 h 1670"/>
                <a:gd name="T68" fmla="*/ 0 w 1594"/>
                <a:gd name="T69" fmla="*/ 0 h 1670"/>
                <a:gd name="T70" fmla="*/ 0 w 1594"/>
                <a:gd name="T71" fmla="*/ 0 h 1670"/>
                <a:gd name="T72" fmla="*/ 0 w 1594"/>
                <a:gd name="T73" fmla="*/ 0 h 1670"/>
                <a:gd name="T74" fmla="*/ 0 w 1594"/>
                <a:gd name="T75" fmla="*/ 0 h 1670"/>
                <a:gd name="T76" fmla="*/ 0 w 1594"/>
                <a:gd name="T77" fmla="*/ 0 h 1670"/>
                <a:gd name="T78" fmla="*/ 0 w 1594"/>
                <a:gd name="T79" fmla="*/ 0 h 1670"/>
                <a:gd name="T80" fmla="*/ 0 w 1594"/>
                <a:gd name="T81" fmla="*/ 0 h 1670"/>
                <a:gd name="T82" fmla="*/ 0 w 1594"/>
                <a:gd name="T83" fmla="*/ 0 h 1670"/>
                <a:gd name="T84" fmla="*/ 0 w 1594"/>
                <a:gd name="T85" fmla="*/ 0 h 1670"/>
                <a:gd name="T86" fmla="*/ 0 w 1594"/>
                <a:gd name="T87" fmla="*/ 0 h 1670"/>
                <a:gd name="T88" fmla="*/ 0 w 1594"/>
                <a:gd name="T89" fmla="*/ 0 h 1670"/>
                <a:gd name="T90" fmla="*/ 0 w 1594"/>
                <a:gd name="T91" fmla="*/ 0 h 1670"/>
                <a:gd name="T92" fmla="*/ 0 w 1594"/>
                <a:gd name="T93" fmla="*/ 0 h 1670"/>
                <a:gd name="T94" fmla="*/ 0 w 1594"/>
                <a:gd name="T95" fmla="*/ 0 h 1670"/>
                <a:gd name="T96" fmla="*/ 0 w 1594"/>
                <a:gd name="T97" fmla="*/ 0 h 1670"/>
                <a:gd name="T98" fmla="*/ 0 w 1594"/>
                <a:gd name="T99" fmla="*/ 0 h 1670"/>
                <a:gd name="T100" fmla="*/ 0 w 1594"/>
                <a:gd name="T101" fmla="*/ 0 h 1670"/>
                <a:gd name="T102" fmla="*/ 0 w 1594"/>
                <a:gd name="T103" fmla="*/ 0 h 1670"/>
                <a:gd name="T104" fmla="*/ 0 w 1594"/>
                <a:gd name="T105" fmla="*/ 0 h 1670"/>
                <a:gd name="T106" fmla="*/ 0 w 1594"/>
                <a:gd name="T107" fmla="*/ 0 h 1670"/>
                <a:gd name="T108" fmla="*/ 0 w 1594"/>
                <a:gd name="T109" fmla="*/ 0 h 1670"/>
                <a:gd name="T110" fmla="*/ 0 w 1594"/>
                <a:gd name="T111" fmla="*/ 0 h 1670"/>
                <a:gd name="T112" fmla="*/ 0 w 1594"/>
                <a:gd name="T113" fmla="*/ 0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594"/>
                <a:gd name="T172" fmla="*/ 0 h 1670"/>
                <a:gd name="T173" fmla="*/ 1594 w 1594"/>
                <a:gd name="T174" fmla="*/ 1670 h 167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55" name="Freeform 1031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2592" y="2095"/>
              <a:ext cx="109" cy="130"/>
            </a:xfrm>
            <a:custGeom>
              <a:avLst/>
              <a:gdLst>
                <a:gd name="T0" fmla="*/ 0 w 359"/>
                <a:gd name="T1" fmla="*/ 0 h 394"/>
                <a:gd name="T2" fmla="*/ 0 w 359"/>
                <a:gd name="T3" fmla="*/ 0 h 394"/>
                <a:gd name="T4" fmla="*/ 0 w 359"/>
                <a:gd name="T5" fmla="*/ 0 h 394"/>
                <a:gd name="T6" fmla="*/ 0 w 359"/>
                <a:gd name="T7" fmla="*/ 0 h 394"/>
                <a:gd name="T8" fmla="*/ 0 w 359"/>
                <a:gd name="T9" fmla="*/ 0 h 394"/>
                <a:gd name="T10" fmla="*/ 0 w 359"/>
                <a:gd name="T11" fmla="*/ 0 h 394"/>
                <a:gd name="T12" fmla="*/ 0 w 359"/>
                <a:gd name="T13" fmla="*/ 0 h 394"/>
                <a:gd name="T14" fmla="*/ 0 w 359"/>
                <a:gd name="T15" fmla="*/ 0 h 394"/>
                <a:gd name="T16" fmla="*/ 0 w 359"/>
                <a:gd name="T17" fmla="*/ 0 h 394"/>
                <a:gd name="T18" fmla="*/ 0 w 359"/>
                <a:gd name="T19" fmla="*/ 0 h 394"/>
                <a:gd name="T20" fmla="*/ 0 w 359"/>
                <a:gd name="T21" fmla="*/ 0 h 394"/>
                <a:gd name="T22" fmla="*/ 0 w 359"/>
                <a:gd name="T23" fmla="*/ 0 h 394"/>
                <a:gd name="T24" fmla="*/ 0 w 359"/>
                <a:gd name="T25" fmla="*/ 0 h 394"/>
                <a:gd name="T26" fmla="*/ 0 w 359"/>
                <a:gd name="T27" fmla="*/ 0 h 394"/>
                <a:gd name="T28" fmla="*/ 0 w 359"/>
                <a:gd name="T29" fmla="*/ 0 h 394"/>
                <a:gd name="T30" fmla="*/ 0 w 359"/>
                <a:gd name="T31" fmla="*/ 0 h 394"/>
                <a:gd name="T32" fmla="*/ 0 w 359"/>
                <a:gd name="T33" fmla="*/ 0 h 394"/>
                <a:gd name="T34" fmla="*/ 0 w 359"/>
                <a:gd name="T35" fmla="*/ 0 h 394"/>
                <a:gd name="T36" fmla="*/ 0 w 359"/>
                <a:gd name="T37" fmla="*/ 0 h 394"/>
                <a:gd name="T38" fmla="*/ 0 w 359"/>
                <a:gd name="T39" fmla="*/ 0 h 394"/>
                <a:gd name="T40" fmla="*/ 0 w 359"/>
                <a:gd name="T41" fmla="*/ 0 h 394"/>
                <a:gd name="T42" fmla="*/ 0 w 359"/>
                <a:gd name="T43" fmla="*/ 0 h 394"/>
                <a:gd name="T44" fmla="*/ 0 w 359"/>
                <a:gd name="T45" fmla="*/ 0 h 394"/>
                <a:gd name="T46" fmla="*/ 0 w 359"/>
                <a:gd name="T47" fmla="*/ 0 h 394"/>
                <a:gd name="T48" fmla="*/ 0 w 359"/>
                <a:gd name="T49" fmla="*/ 0 h 394"/>
                <a:gd name="T50" fmla="*/ 0 w 359"/>
                <a:gd name="T51" fmla="*/ 0 h 394"/>
                <a:gd name="T52" fmla="*/ 0 w 359"/>
                <a:gd name="T53" fmla="*/ 0 h 394"/>
                <a:gd name="T54" fmla="*/ 0 w 359"/>
                <a:gd name="T55" fmla="*/ 0 h 394"/>
                <a:gd name="T56" fmla="*/ 0 w 359"/>
                <a:gd name="T57" fmla="*/ 0 h 394"/>
                <a:gd name="T58" fmla="*/ 0 w 359"/>
                <a:gd name="T59" fmla="*/ 0 h 394"/>
                <a:gd name="T60" fmla="*/ 0 w 359"/>
                <a:gd name="T61" fmla="*/ 0 h 394"/>
                <a:gd name="T62" fmla="*/ 0 w 359"/>
                <a:gd name="T63" fmla="*/ 0 h 394"/>
                <a:gd name="T64" fmla="*/ 0 w 359"/>
                <a:gd name="T65" fmla="*/ 0 h 394"/>
                <a:gd name="T66" fmla="*/ 0 w 359"/>
                <a:gd name="T67" fmla="*/ 0 h 394"/>
                <a:gd name="T68" fmla="*/ 0 w 359"/>
                <a:gd name="T69" fmla="*/ 0 h 394"/>
                <a:gd name="T70" fmla="*/ 0 w 359"/>
                <a:gd name="T71" fmla="*/ 0 h 394"/>
                <a:gd name="T72" fmla="*/ 0 w 359"/>
                <a:gd name="T73" fmla="*/ 0 h 394"/>
                <a:gd name="T74" fmla="*/ 0 w 359"/>
                <a:gd name="T75" fmla="*/ 0 h 394"/>
                <a:gd name="T76" fmla="*/ 0 w 359"/>
                <a:gd name="T77" fmla="*/ 0 h 394"/>
                <a:gd name="T78" fmla="*/ 0 w 359"/>
                <a:gd name="T79" fmla="*/ 0 h 394"/>
                <a:gd name="T80" fmla="*/ 0 w 359"/>
                <a:gd name="T81" fmla="*/ 0 h 394"/>
                <a:gd name="T82" fmla="*/ 0 w 359"/>
                <a:gd name="T83" fmla="*/ 0 h 394"/>
                <a:gd name="T84" fmla="*/ 0 w 359"/>
                <a:gd name="T85" fmla="*/ 0 h 394"/>
                <a:gd name="T86" fmla="*/ 0 w 359"/>
                <a:gd name="T87" fmla="*/ 0 h 394"/>
                <a:gd name="T88" fmla="*/ 0 w 359"/>
                <a:gd name="T89" fmla="*/ 0 h 394"/>
                <a:gd name="T90" fmla="*/ 0 w 359"/>
                <a:gd name="T91" fmla="*/ 0 h 394"/>
                <a:gd name="T92" fmla="*/ 0 w 359"/>
                <a:gd name="T93" fmla="*/ 0 h 394"/>
                <a:gd name="T94" fmla="*/ 0 w 359"/>
                <a:gd name="T95" fmla="*/ 0 h 394"/>
                <a:gd name="T96" fmla="*/ 0 w 359"/>
                <a:gd name="T97" fmla="*/ 0 h 394"/>
                <a:gd name="T98" fmla="*/ 0 w 359"/>
                <a:gd name="T99" fmla="*/ 0 h 394"/>
                <a:gd name="T100" fmla="*/ 0 w 359"/>
                <a:gd name="T101" fmla="*/ 0 h 394"/>
                <a:gd name="T102" fmla="*/ 0 w 359"/>
                <a:gd name="T103" fmla="*/ 0 h 394"/>
                <a:gd name="T104" fmla="*/ 0 w 359"/>
                <a:gd name="T105" fmla="*/ 0 h 394"/>
                <a:gd name="T106" fmla="*/ 0 w 359"/>
                <a:gd name="T107" fmla="*/ 0 h 394"/>
                <a:gd name="T108" fmla="*/ 0 w 359"/>
                <a:gd name="T109" fmla="*/ 0 h 394"/>
                <a:gd name="T110" fmla="*/ 0 w 359"/>
                <a:gd name="T111" fmla="*/ 0 h 394"/>
                <a:gd name="T112" fmla="*/ 0 w 359"/>
                <a:gd name="T113" fmla="*/ 0 h 394"/>
                <a:gd name="T114" fmla="*/ 0 w 359"/>
                <a:gd name="T115" fmla="*/ 0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59"/>
                <a:gd name="T175" fmla="*/ 0 h 394"/>
                <a:gd name="T176" fmla="*/ 359 w 359"/>
                <a:gd name="T177" fmla="*/ 394 h 39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56" name="Freeform 1032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3322" y="2218"/>
              <a:ext cx="131" cy="171"/>
            </a:xfrm>
            <a:custGeom>
              <a:avLst/>
              <a:gdLst>
                <a:gd name="T0" fmla="*/ 0 w 449"/>
                <a:gd name="T1" fmla="*/ 0 h 523"/>
                <a:gd name="T2" fmla="*/ 0 w 449"/>
                <a:gd name="T3" fmla="*/ 0 h 523"/>
                <a:gd name="T4" fmla="*/ 0 w 449"/>
                <a:gd name="T5" fmla="*/ 0 h 523"/>
                <a:gd name="T6" fmla="*/ 0 w 449"/>
                <a:gd name="T7" fmla="*/ 0 h 523"/>
                <a:gd name="T8" fmla="*/ 0 w 449"/>
                <a:gd name="T9" fmla="*/ 0 h 523"/>
                <a:gd name="T10" fmla="*/ 0 w 449"/>
                <a:gd name="T11" fmla="*/ 0 h 523"/>
                <a:gd name="T12" fmla="*/ 0 w 449"/>
                <a:gd name="T13" fmla="*/ 0 h 523"/>
                <a:gd name="T14" fmla="*/ 0 w 449"/>
                <a:gd name="T15" fmla="*/ 0 h 523"/>
                <a:gd name="T16" fmla="*/ 0 w 449"/>
                <a:gd name="T17" fmla="*/ 0 h 523"/>
                <a:gd name="T18" fmla="*/ 0 w 449"/>
                <a:gd name="T19" fmla="*/ 0 h 523"/>
                <a:gd name="T20" fmla="*/ 0 w 449"/>
                <a:gd name="T21" fmla="*/ 0 h 523"/>
                <a:gd name="T22" fmla="*/ 0 w 449"/>
                <a:gd name="T23" fmla="*/ 0 h 523"/>
                <a:gd name="T24" fmla="*/ 0 w 449"/>
                <a:gd name="T25" fmla="*/ 0 h 523"/>
                <a:gd name="T26" fmla="*/ 0 w 449"/>
                <a:gd name="T27" fmla="*/ 0 h 523"/>
                <a:gd name="T28" fmla="*/ 0 w 449"/>
                <a:gd name="T29" fmla="*/ 0 h 523"/>
                <a:gd name="T30" fmla="*/ 0 w 449"/>
                <a:gd name="T31" fmla="*/ 0 h 523"/>
                <a:gd name="T32" fmla="*/ 0 w 449"/>
                <a:gd name="T33" fmla="*/ 0 h 523"/>
                <a:gd name="T34" fmla="*/ 0 w 449"/>
                <a:gd name="T35" fmla="*/ 0 h 523"/>
                <a:gd name="T36" fmla="*/ 0 w 449"/>
                <a:gd name="T37" fmla="*/ 0 h 523"/>
                <a:gd name="T38" fmla="*/ 0 w 449"/>
                <a:gd name="T39" fmla="*/ 0 h 523"/>
                <a:gd name="T40" fmla="*/ 0 w 449"/>
                <a:gd name="T41" fmla="*/ 0 h 523"/>
                <a:gd name="T42" fmla="*/ 0 w 449"/>
                <a:gd name="T43" fmla="*/ 0 h 523"/>
                <a:gd name="T44" fmla="*/ 0 w 449"/>
                <a:gd name="T45" fmla="*/ 0 h 523"/>
                <a:gd name="T46" fmla="*/ 0 w 449"/>
                <a:gd name="T47" fmla="*/ 0 h 523"/>
                <a:gd name="T48" fmla="*/ 0 w 449"/>
                <a:gd name="T49" fmla="*/ 0 h 523"/>
                <a:gd name="T50" fmla="*/ 0 w 449"/>
                <a:gd name="T51" fmla="*/ 0 h 523"/>
                <a:gd name="T52" fmla="*/ 0 w 449"/>
                <a:gd name="T53" fmla="*/ 0 h 523"/>
                <a:gd name="T54" fmla="*/ 0 w 449"/>
                <a:gd name="T55" fmla="*/ 0 h 523"/>
                <a:gd name="T56" fmla="*/ 0 w 449"/>
                <a:gd name="T57" fmla="*/ 0 h 523"/>
                <a:gd name="T58" fmla="*/ 0 w 449"/>
                <a:gd name="T59" fmla="*/ 0 h 523"/>
                <a:gd name="T60" fmla="*/ 0 w 449"/>
                <a:gd name="T61" fmla="*/ 0 h 523"/>
                <a:gd name="T62" fmla="*/ 0 w 449"/>
                <a:gd name="T63" fmla="*/ 0 h 523"/>
                <a:gd name="T64" fmla="*/ 0 w 449"/>
                <a:gd name="T65" fmla="*/ 0 h 523"/>
                <a:gd name="T66" fmla="*/ 0 w 449"/>
                <a:gd name="T67" fmla="*/ 0 h 523"/>
                <a:gd name="T68" fmla="*/ 0 w 449"/>
                <a:gd name="T69" fmla="*/ 0 h 523"/>
                <a:gd name="T70" fmla="*/ 0 w 449"/>
                <a:gd name="T71" fmla="*/ 0 h 523"/>
                <a:gd name="T72" fmla="*/ 0 w 449"/>
                <a:gd name="T73" fmla="*/ 0 h 523"/>
                <a:gd name="T74" fmla="*/ 0 w 449"/>
                <a:gd name="T75" fmla="*/ 0 h 523"/>
                <a:gd name="T76" fmla="*/ 0 w 449"/>
                <a:gd name="T77" fmla="*/ 0 h 523"/>
                <a:gd name="T78" fmla="*/ 0 w 449"/>
                <a:gd name="T79" fmla="*/ 0 h 523"/>
                <a:gd name="T80" fmla="*/ 0 w 449"/>
                <a:gd name="T81" fmla="*/ 0 h 523"/>
                <a:gd name="T82" fmla="*/ 0 w 449"/>
                <a:gd name="T83" fmla="*/ 0 h 523"/>
                <a:gd name="T84" fmla="*/ 0 w 449"/>
                <a:gd name="T85" fmla="*/ 0 h 523"/>
                <a:gd name="T86" fmla="*/ 0 w 449"/>
                <a:gd name="T87" fmla="*/ 0 h 523"/>
                <a:gd name="T88" fmla="*/ 0 w 449"/>
                <a:gd name="T89" fmla="*/ 0 h 523"/>
                <a:gd name="T90" fmla="*/ 0 w 449"/>
                <a:gd name="T91" fmla="*/ 0 h 523"/>
                <a:gd name="T92" fmla="*/ 0 w 449"/>
                <a:gd name="T93" fmla="*/ 0 h 523"/>
                <a:gd name="T94" fmla="*/ 0 w 449"/>
                <a:gd name="T95" fmla="*/ 0 h 523"/>
                <a:gd name="T96" fmla="*/ 0 w 449"/>
                <a:gd name="T97" fmla="*/ 0 h 523"/>
                <a:gd name="T98" fmla="*/ 0 w 449"/>
                <a:gd name="T99" fmla="*/ 0 h 523"/>
                <a:gd name="T100" fmla="*/ 0 w 449"/>
                <a:gd name="T101" fmla="*/ 0 h 523"/>
                <a:gd name="T102" fmla="*/ 0 w 449"/>
                <a:gd name="T103" fmla="*/ 0 h 523"/>
                <a:gd name="T104" fmla="*/ 0 w 449"/>
                <a:gd name="T105" fmla="*/ 0 h 523"/>
                <a:gd name="T106" fmla="*/ 0 w 449"/>
                <a:gd name="T107" fmla="*/ 0 h 523"/>
                <a:gd name="T108" fmla="*/ 0 w 449"/>
                <a:gd name="T109" fmla="*/ 0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49"/>
                <a:gd name="T166" fmla="*/ 0 h 523"/>
                <a:gd name="T167" fmla="*/ 449 w 449"/>
                <a:gd name="T168" fmla="*/ 523 h 52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57" name="Freeform 1033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3310" y="1642"/>
              <a:ext cx="69" cy="82"/>
            </a:xfrm>
            <a:custGeom>
              <a:avLst/>
              <a:gdLst>
                <a:gd name="T0" fmla="*/ 0 w 226"/>
                <a:gd name="T1" fmla="*/ 0 h 246"/>
                <a:gd name="T2" fmla="*/ 0 w 226"/>
                <a:gd name="T3" fmla="*/ 0 h 246"/>
                <a:gd name="T4" fmla="*/ 0 w 226"/>
                <a:gd name="T5" fmla="*/ 0 h 246"/>
                <a:gd name="T6" fmla="*/ 0 w 226"/>
                <a:gd name="T7" fmla="*/ 0 h 246"/>
                <a:gd name="T8" fmla="*/ 0 w 226"/>
                <a:gd name="T9" fmla="*/ 0 h 246"/>
                <a:gd name="T10" fmla="*/ 0 w 226"/>
                <a:gd name="T11" fmla="*/ 0 h 246"/>
                <a:gd name="T12" fmla="*/ 0 w 226"/>
                <a:gd name="T13" fmla="*/ 0 h 246"/>
                <a:gd name="T14" fmla="*/ 0 w 226"/>
                <a:gd name="T15" fmla="*/ 0 h 246"/>
                <a:gd name="T16" fmla="*/ 0 w 226"/>
                <a:gd name="T17" fmla="*/ 0 h 246"/>
                <a:gd name="T18" fmla="*/ 0 w 226"/>
                <a:gd name="T19" fmla="*/ 0 h 246"/>
                <a:gd name="T20" fmla="*/ 0 w 226"/>
                <a:gd name="T21" fmla="*/ 0 h 246"/>
                <a:gd name="T22" fmla="*/ 0 w 226"/>
                <a:gd name="T23" fmla="*/ 0 h 246"/>
                <a:gd name="T24" fmla="*/ 0 w 226"/>
                <a:gd name="T25" fmla="*/ 0 h 246"/>
                <a:gd name="T26" fmla="*/ 0 w 226"/>
                <a:gd name="T27" fmla="*/ 0 h 246"/>
                <a:gd name="T28" fmla="*/ 0 w 226"/>
                <a:gd name="T29" fmla="*/ 0 h 246"/>
                <a:gd name="T30" fmla="*/ 0 w 226"/>
                <a:gd name="T31" fmla="*/ 0 h 246"/>
                <a:gd name="T32" fmla="*/ 0 w 226"/>
                <a:gd name="T33" fmla="*/ 0 h 246"/>
                <a:gd name="T34" fmla="*/ 0 w 226"/>
                <a:gd name="T35" fmla="*/ 0 h 246"/>
                <a:gd name="T36" fmla="*/ 0 w 226"/>
                <a:gd name="T37" fmla="*/ 0 h 246"/>
                <a:gd name="T38" fmla="*/ 0 w 226"/>
                <a:gd name="T39" fmla="*/ 0 h 246"/>
                <a:gd name="T40" fmla="*/ 0 w 226"/>
                <a:gd name="T41" fmla="*/ 0 h 246"/>
                <a:gd name="T42" fmla="*/ 0 w 226"/>
                <a:gd name="T43" fmla="*/ 0 h 246"/>
                <a:gd name="T44" fmla="*/ 0 w 226"/>
                <a:gd name="T45" fmla="*/ 0 h 246"/>
                <a:gd name="T46" fmla="*/ 0 w 226"/>
                <a:gd name="T47" fmla="*/ 0 h 246"/>
                <a:gd name="T48" fmla="*/ 0 w 226"/>
                <a:gd name="T49" fmla="*/ 0 h 246"/>
                <a:gd name="T50" fmla="*/ 0 w 226"/>
                <a:gd name="T51" fmla="*/ 0 h 246"/>
                <a:gd name="T52" fmla="*/ 0 w 226"/>
                <a:gd name="T53" fmla="*/ 0 h 246"/>
                <a:gd name="T54" fmla="*/ 0 w 226"/>
                <a:gd name="T55" fmla="*/ 0 h 246"/>
                <a:gd name="T56" fmla="*/ 0 w 226"/>
                <a:gd name="T57" fmla="*/ 0 h 246"/>
                <a:gd name="T58" fmla="*/ 0 w 226"/>
                <a:gd name="T59" fmla="*/ 0 h 246"/>
                <a:gd name="T60" fmla="*/ 0 w 226"/>
                <a:gd name="T61" fmla="*/ 0 h 246"/>
                <a:gd name="T62" fmla="*/ 0 w 226"/>
                <a:gd name="T63" fmla="*/ 0 h 246"/>
                <a:gd name="T64" fmla="*/ 0 w 226"/>
                <a:gd name="T65" fmla="*/ 0 h 246"/>
                <a:gd name="T66" fmla="*/ 0 w 226"/>
                <a:gd name="T67" fmla="*/ 0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26"/>
                <a:gd name="T103" fmla="*/ 0 h 246"/>
                <a:gd name="T104" fmla="*/ 226 w 226"/>
                <a:gd name="T105" fmla="*/ 246 h 24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58" name="Freeform 1034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3513" y="1707"/>
              <a:ext cx="15" cy="35"/>
            </a:xfrm>
            <a:custGeom>
              <a:avLst/>
              <a:gdLst>
                <a:gd name="T0" fmla="*/ 0 w 60"/>
                <a:gd name="T1" fmla="*/ 0 h 81"/>
                <a:gd name="T2" fmla="*/ 0 w 60"/>
                <a:gd name="T3" fmla="*/ 0 h 81"/>
                <a:gd name="T4" fmla="*/ 0 w 60"/>
                <a:gd name="T5" fmla="*/ 0 h 81"/>
                <a:gd name="T6" fmla="*/ 0 w 60"/>
                <a:gd name="T7" fmla="*/ 0 h 81"/>
                <a:gd name="T8" fmla="*/ 0 w 60"/>
                <a:gd name="T9" fmla="*/ 0 h 81"/>
                <a:gd name="T10" fmla="*/ 0 w 60"/>
                <a:gd name="T11" fmla="*/ 0 h 81"/>
                <a:gd name="T12" fmla="*/ 0 w 60"/>
                <a:gd name="T13" fmla="*/ 0 h 81"/>
                <a:gd name="T14" fmla="*/ 0 w 60"/>
                <a:gd name="T15" fmla="*/ 0 h 81"/>
                <a:gd name="T16" fmla="*/ 0 w 60"/>
                <a:gd name="T17" fmla="*/ 0 h 81"/>
                <a:gd name="T18" fmla="*/ 0 w 60"/>
                <a:gd name="T19" fmla="*/ 0 h 81"/>
                <a:gd name="T20" fmla="*/ 0 w 60"/>
                <a:gd name="T21" fmla="*/ 0 h 81"/>
                <a:gd name="T22" fmla="*/ 0 w 60"/>
                <a:gd name="T23" fmla="*/ 0 h 81"/>
                <a:gd name="T24" fmla="*/ 0 w 60"/>
                <a:gd name="T25" fmla="*/ 0 h 81"/>
                <a:gd name="T26" fmla="*/ 0 w 60"/>
                <a:gd name="T27" fmla="*/ 0 h 81"/>
                <a:gd name="T28" fmla="*/ 0 w 60"/>
                <a:gd name="T29" fmla="*/ 0 h 81"/>
                <a:gd name="T30" fmla="*/ 0 w 60"/>
                <a:gd name="T31" fmla="*/ 0 h 81"/>
                <a:gd name="T32" fmla="*/ 0 w 60"/>
                <a:gd name="T33" fmla="*/ 0 h 81"/>
                <a:gd name="T34" fmla="*/ 0 w 60"/>
                <a:gd name="T35" fmla="*/ 0 h 81"/>
                <a:gd name="T36" fmla="*/ 0 w 60"/>
                <a:gd name="T37" fmla="*/ 0 h 81"/>
                <a:gd name="T38" fmla="*/ 0 w 60"/>
                <a:gd name="T39" fmla="*/ 0 h 81"/>
                <a:gd name="T40" fmla="*/ 0 w 60"/>
                <a:gd name="T41" fmla="*/ 0 h 81"/>
                <a:gd name="T42" fmla="*/ 0 w 60"/>
                <a:gd name="T43" fmla="*/ 0 h 81"/>
                <a:gd name="T44" fmla="*/ 0 w 60"/>
                <a:gd name="T45" fmla="*/ 0 h 81"/>
                <a:gd name="T46" fmla="*/ 0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0"/>
                <a:gd name="T73" fmla="*/ 0 h 81"/>
                <a:gd name="T74" fmla="*/ 60 w 60"/>
                <a:gd name="T75" fmla="*/ 81 h 8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59" name="Freeform 1035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3027" y="1162"/>
              <a:ext cx="110" cy="42"/>
            </a:xfrm>
            <a:custGeom>
              <a:avLst/>
              <a:gdLst>
                <a:gd name="T0" fmla="*/ 0 w 370"/>
                <a:gd name="T1" fmla="*/ 0 h 129"/>
                <a:gd name="T2" fmla="*/ 0 w 370"/>
                <a:gd name="T3" fmla="*/ 0 h 129"/>
                <a:gd name="T4" fmla="*/ 0 w 370"/>
                <a:gd name="T5" fmla="*/ 0 h 129"/>
                <a:gd name="T6" fmla="*/ 0 w 370"/>
                <a:gd name="T7" fmla="*/ 0 h 129"/>
                <a:gd name="T8" fmla="*/ 0 w 370"/>
                <a:gd name="T9" fmla="*/ 0 h 129"/>
                <a:gd name="T10" fmla="*/ 0 w 370"/>
                <a:gd name="T11" fmla="*/ 0 h 129"/>
                <a:gd name="T12" fmla="*/ 0 w 370"/>
                <a:gd name="T13" fmla="*/ 0 h 129"/>
                <a:gd name="T14" fmla="*/ 0 w 370"/>
                <a:gd name="T15" fmla="*/ 0 h 129"/>
                <a:gd name="T16" fmla="*/ 0 w 370"/>
                <a:gd name="T17" fmla="*/ 0 h 129"/>
                <a:gd name="T18" fmla="*/ 0 w 370"/>
                <a:gd name="T19" fmla="*/ 0 h 129"/>
                <a:gd name="T20" fmla="*/ 0 w 370"/>
                <a:gd name="T21" fmla="*/ 0 h 129"/>
                <a:gd name="T22" fmla="*/ 0 w 370"/>
                <a:gd name="T23" fmla="*/ 0 h 129"/>
                <a:gd name="T24" fmla="*/ 0 w 370"/>
                <a:gd name="T25" fmla="*/ 0 h 129"/>
                <a:gd name="T26" fmla="*/ 0 w 370"/>
                <a:gd name="T27" fmla="*/ 0 h 129"/>
                <a:gd name="T28" fmla="*/ 0 w 370"/>
                <a:gd name="T29" fmla="*/ 0 h 129"/>
                <a:gd name="T30" fmla="*/ 0 w 370"/>
                <a:gd name="T31" fmla="*/ 0 h 129"/>
                <a:gd name="T32" fmla="*/ 0 w 370"/>
                <a:gd name="T33" fmla="*/ 0 h 129"/>
                <a:gd name="T34" fmla="*/ 0 w 370"/>
                <a:gd name="T35" fmla="*/ 0 h 129"/>
                <a:gd name="T36" fmla="*/ 0 w 370"/>
                <a:gd name="T37" fmla="*/ 0 h 129"/>
                <a:gd name="T38" fmla="*/ 0 w 370"/>
                <a:gd name="T39" fmla="*/ 0 h 129"/>
                <a:gd name="T40" fmla="*/ 0 w 370"/>
                <a:gd name="T41" fmla="*/ 0 h 129"/>
                <a:gd name="T42" fmla="*/ 0 w 370"/>
                <a:gd name="T43" fmla="*/ 0 h 129"/>
                <a:gd name="T44" fmla="*/ 0 w 370"/>
                <a:gd name="T45" fmla="*/ 0 h 129"/>
                <a:gd name="T46" fmla="*/ 0 w 370"/>
                <a:gd name="T47" fmla="*/ 0 h 129"/>
                <a:gd name="T48" fmla="*/ 0 w 370"/>
                <a:gd name="T49" fmla="*/ 0 h 129"/>
                <a:gd name="T50" fmla="*/ 0 w 370"/>
                <a:gd name="T51" fmla="*/ 0 h 129"/>
                <a:gd name="T52" fmla="*/ 0 w 370"/>
                <a:gd name="T53" fmla="*/ 0 h 129"/>
                <a:gd name="T54" fmla="*/ 0 w 370"/>
                <a:gd name="T55" fmla="*/ 0 h 129"/>
                <a:gd name="T56" fmla="*/ 0 w 370"/>
                <a:gd name="T57" fmla="*/ 0 h 129"/>
                <a:gd name="T58" fmla="*/ 0 w 370"/>
                <a:gd name="T59" fmla="*/ 0 h 129"/>
                <a:gd name="T60" fmla="*/ 0 w 370"/>
                <a:gd name="T61" fmla="*/ 0 h 129"/>
                <a:gd name="T62" fmla="*/ 0 w 370"/>
                <a:gd name="T63" fmla="*/ 0 h 129"/>
                <a:gd name="T64" fmla="*/ 0 w 370"/>
                <a:gd name="T65" fmla="*/ 0 h 129"/>
                <a:gd name="T66" fmla="*/ 0 w 370"/>
                <a:gd name="T67" fmla="*/ 0 h 129"/>
                <a:gd name="T68" fmla="*/ 0 w 370"/>
                <a:gd name="T69" fmla="*/ 0 h 129"/>
                <a:gd name="T70" fmla="*/ 0 w 370"/>
                <a:gd name="T71" fmla="*/ 0 h 129"/>
                <a:gd name="T72" fmla="*/ 0 w 370"/>
                <a:gd name="T73" fmla="*/ 0 h 129"/>
                <a:gd name="T74" fmla="*/ 0 w 370"/>
                <a:gd name="T75" fmla="*/ 0 h 129"/>
                <a:gd name="T76" fmla="*/ 0 w 370"/>
                <a:gd name="T77" fmla="*/ 0 h 129"/>
                <a:gd name="T78" fmla="*/ 0 w 370"/>
                <a:gd name="T79" fmla="*/ 0 h 129"/>
                <a:gd name="T80" fmla="*/ 0 w 370"/>
                <a:gd name="T81" fmla="*/ 0 h 129"/>
                <a:gd name="T82" fmla="*/ 0 w 370"/>
                <a:gd name="T83" fmla="*/ 0 h 129"/>
                <a:gd name="T84" fmla="*/ 0 w 370"/>
                <a:gd name="T85" fmla="*/ 0 h 129"/>
                <a:gd name="T86" fmla="*/ 0 w 370"/>
                <a:gd name="T87" fmla="*/ 0 h 129"/>
                <a:gd name="T88" fmla="*/ 0 w 370"/>
                <a:gd name="T89" fmla="*/ 0 h 129"/>
                <a:gd name="T90" fmla="*/ 0 w 370"/>
                <a:gd name="T91" fmla="*/ 0 h 129"/>
                <a:gd name="T92" fmla="*/ 0 w 370"/>
                <a:gd name="T93" fmla="*/ 0 h 129"/>
                <a:gd name="T94" fmla="*/ 0 w 370"/>
                <a:gd name="T95" fmla="*/ 0 h 129"/>
                <a:gd name="T96" fmla="*/ 0 w 370"/>
                <a:gd name="T97" fmla="*/ 0 h 129"/>
                <a:gd name="T98" fmla="*/ 0 w 370"/>
                <a:gd name="T99" fmla="*/ 0 h 129"/>
                <a:gd name="T100" fmla="*/ 0 w 370"/>
                <a:gd name="T101" fmla="*/ 0 h 129"/>
                <a:gd name="T102" fmla="*/ 0 w 370"/>
                <a:gd name="T103" fmla="*/ 0 h 129"/>
                <a:gd name="T104" fmla="*/ 0 w 370"/>
                <a:gd name="T105" fmla="*/ 0 h 129"/>
                <a:gd name="T106" fmla="*/ 0 w 370"/>
                <a:gd name="T107" fmla="*/ 0 h 129"/>
                <a:gd name="T108" fmla="*/ 0 w 370"/>
                <a:gd name="T109" fmla="*/ 0 h 129"/>
                <a:gd name="T110" fmla="*/ 0 w 370"/>
                <a:gd name="T111" fmla="*/ 0 h 129"/>
                <a:gd name="T112" fmla="*/ 0 w 370"/>
                <a:gd name="T113" fmla="*/ 0 h 129"/>
                <a:gd name="T114" fmla="*/ 0 w 370"/>
                <a:gd name="T115" fmla="*/ 0 h 129"/>
                <a:gd name="T116" fmla="*/ 0 w 370"/>
                <a:gd name="T117" fmla="*/ 0 h 129"/>
                <a:gd name="T118" fmla="*/ 0 w 370"/>
                <a:gd name="T119" fmla="*/ 0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70"/>
                <a:gd name="T181" fmla="*/ 0 h 129"/>
                <a:gd name="T182" fmla="*/ 370 w 370"/>
                <a:gd name="T183" fmla="*/ 129 h 12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60" name="Freeform 1036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3307" y="1616"/>
              <a:ext cx="21" cy="36"/>
            </a:xfrm>
            <a:custGeom>
              <a:avLst/>
              <a:gdLst>
                <a:gd name="T0" fmla="*/ 0 w 80"/>
                <a:gd name="T1" fmla="*/ 0 h 94"/>
                <a:gd name="T2" fmla="*/ 0 w 80"/>
                <a:gd name="T3" fmla="*/ 0 h 94"/>
                <a:gd name="T4" fmla="*/ 0 w 80"/>
                <a:gd name="T5" fmla="*/ 0 h 94"/>
                <a:gd name="T6" fmla="*/ 0 w 80"/>
                <a:gd name="T7" fmla="*/ 0 h 94"/>
                <a:gd name="T8" fmla="*/ 0 w 80"/>
                <a:gd name="T9" fmla="*/ 0 h 94"/>
                <a:gd name="T10" fmla="*/ 0 w 80"/>
                <a:gd name="T11" fmla="*/ 0 h 94"/>
                <a:gd name="T12" fmla="*/ 0 w 80"/>
                <a:gd name="T13" fmla="*/ 0 h 94"/>
                <a:gd name="T14" fmla="*/ 0 w 80"/>
                <a:gd name="T15" fmla="*/ 0 h 94"/>
                <a:gd name="T16" fmla="*/ 0 w 80"/>
                <a:gd name="T17" fmla="*/ 0 h 94"/>
                <a:gd name="T18" fmla="*/ 0 w 80"/>
                <a:gd name="T19" fmla="*/ 0 h 94"/>
                <a:gd name="T20" fmla="*/ 0 w 80"/>
                <a:gd name="T21" fmla="*/ 0 h 94"/>
                <a:gd name="T22" fmla="*/ 0 w 80"/>
                <a:gd name="T23" fmla="*/ 0 h 94"/>
                <a:gd name="T24" fmla="*/ 0 w 80"/>
                <a:gd name="T25" fmla="*/ 0 h 94"/>
                <a:gd name="T26" fmla="*/ 0 w 80"/>
                <a:gd name="T27" fmla="*/ 0 h 94"/>
                <a:gd name="T28" fmla="*/ 0 w 80"/>
                <a:gd name="T29" fmla="*/ 0 h 94"/>
                <a:gd name="T30" fmla="*/ 0 w 80"/>
                <a:gd name="T31" fmla="*/ 0 h 94"/>
                <a:gd name="T32" fmla="*/ 0 w 80"/>
                <a:gd name="T33" fmla="*/ 0 h 94"/>
                <a:gd name="T34" fmla="*/ 0 w 80"/>
                <a:gd name="T35" fmla="*/ 0 h 94"/>
                <a:gd name="T36" fmla="*/ 0 w 80"/>
                <a:gd name="T37" fmla="*/ 0 h 94"/>
                <a:gd name="T38" fmla="*/ 0 w 80"/>
                <a:gd name="T39" fmla="*/ 0 h 94"/>
                <a:gd name="T40" fmla="*/ 0 w 80"/>
                <a:gd name="T41" fmla="*/ 0 h 94"/>
                <a:gd name="T42" fmla="*/ 0 w 80"/>
                <a:gd name="T43" fmla="*/ 0 h 94"/>
                <a:gd name="T44" fmla="*/ 0 w 80"/>
                <a:gd name="T45" fmla="*/ 0 h 94"/>
                <a:gd name="T46" fmla="*/ 0 w 80"/>
                <a:gd name="T47" fmla="*/ 0 h 94"/>
                <a:gd name="T48" fmla="*/ 0 w 80"/>
                <a:gd name="T49" fmla="*/ 0 h 94"/>
                <a:gd name="T50" fmla="*/ 0 w 80"/>
                <a:gd name="T51" fmla="*/ 0 h 94"/>
                <a:gd name="T52" fmla="*/ 0 w 80"/>
                <a:gd name="T53" fmla="*/ 0 h 94"/>
                <a:gd name="T54" fmla="*/ 0 w 80"/>
                <a:gd name="T55" fmla="*/ 0 h 94"/>
                <a:gd name="T56" fmla="*/ 0 w 80"/>
                <a:gd name="T57" fmla="*/ 0 h 94"/>
                <a:gd name="T58" fmla="*/ 0 w 80"/>
                <a:gd name="T59" fmla="*/ 0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0"/>
                <a:gd name="T91" fmla="*/ 0 h 94"/>
                <a:gd name="T92" fmla="*/ 80 w 80"/>
                <a:gd name="T93" fmla="*/ 94 h 9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61" name="Freeform 1037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3182" y="2883"/>
              <a:ext cx="42" cy="36"/>
            </a:xfrm>
            <a:custGeom>
              <a:avLst/>
              <a:gdLst>
                <a:gd name="T0" fmla="*/ 0 w 135"/>
                <a:gd name="T1" fmla="*/ 0 h 98"/>
                <a:gd name="T2" fmla="*/ 0 w 135"/>
                <a:gd name="T3" fmla="*/ 0 h 98"/>
                <a:gd name="T4" fmla="*/ 0 w 135"/>
                <a:gd name="T5" fmla="*/ 0 h 98"/>
                <a:gd name="T6" fmla="*/ 0 w 135"/>
                <a:gd name="T7" fmla="*/ 0 h 98"/>
                <a:gd name="T8" fmla="*/ 0 w 135"/>
                <a:gd name="T9" fmla="*/ 0 h 98"/>
                <a:gd name="T10" fmla="*/ 0 w 135"/>
                <a:gd name="T11" fmla="*/ 0 h 98"/>
                <a:gd name="T12" fmla="*/ 0 w 135"/>
                <a:gd name="T13" fmla="*/ 0 h 98"/>
                <a:gd name="T14" fmla="*/ 0 w 135"/>
                <a:gd name="T15" fmla="*/ 0 h 98"/>
                <a:gd name="T16" fmla="*/ 0 w 135"/>
                <a:gd name="T17" fmla="*/ 0 h 98"/>
                <a:gd name="T18" fmla="*/ 0 w 135"/>
                <a:gd name="T19" fmla="*/ 0 h 98"/>
                <a:gd name="T20" fmla="*/ 0 w 135"/>
                <a:gd name="T21" fmla="*/ 0 h 98"/>
                <a:gd name="T22" fmla="*/ 0 w 135"/>
                <a:gd name="T23" fmla="*/ 0 h 98"/>
                <a:gd name="T24" fmla="*/ 0 w 135"/>
                <a:gd name="T25" fmla="*/ 0 h 98"/>
                <a:gd name="T26" fmla="*/ 0 w 135"/>
                <a:gd name="T27" fmla="*/ 0 h 98"/>
                <a:gd name="T28" fmla="*/ 0 w 135"/>
                <a:gd name="T29" fmla="*/ 0 h 98"/>
                <a:gd name="T30" fmla="*/ 0 w 135"/>
                <a:gd name="T31" fmla="*/ 0 h 98"/>
                <a:gd name="T32" fmla="*/ 0 w 135"/>
                <a:gd name="T33" fmla="*/ 0 h 98"/>
                <a:gd name="T34" fmla="*/ 0 w 135"/>
                <a:gd name="T35" fmla="*/ 0 h 98"/>
                <a:gd name="T36" fmla="*/ 0 w 135"/>
                <a:gd name="T37" fmla="*/ 0 h 98"/>
                <a:gd name="T38" fmla="*/ 0 w 135"/>
                <a:gd name="T39" fmla="*/ 0 h 98"/>
                <a:gd name="T40" fmla="*/ 0 w 135"/>
                <a:gd name="T41" fmla="*/ 0 h 98"/>
                <a:gd name="T42" fmla="*/ 0 w 135"/>
                <a:gd name="T43" fmla="*/ 0 h 98"/>
                <a:gd name="T44" fmla="*/ 0 w 135"/>
                <a:gd name="T45" fmla="*/ 0 h 98"/>
                <a:gd name="T46" fmla="*/ 0 w 135"/>
                <a:gd name="T47" fmla="*/ 0 h 98"/>
                <a:gd name="T48" fmla="*/ 0 w 135"/>
                <a:gd name="T49" fmla="*/ 0 h 98"/>
                <a:gd name="T50" fmla="*/ 0 w 135"/>
                <a:gd name="T51" fmla="*/ 0 h 98"/>
                <a:gd name="T52" fmla="*/ 0 w 135"/>
                <a:gd name="T53" fmla="*/ 0 h 98"/>
                <a:gd name="T54" fmla="*/ 0 w 135"/>
                <a:gd name="T55" fmla="*/ 0 h 98"/>
                <a:gd name="T56" fmla="*/ 0 w 135"/>
                <a:gd name="T57" fmla="*/ 0 h 98"/>
                <a:gd name="T58" fmla="*/ 0 w 135"/>
                <a:gd name="T59" fmla="*/ 0 h 98"/>
                <a:gd name="T60" fmla="*/ 0 w 135"/>
                <a:gd name="T61" fmla="*/ 0 h 98"/>
                <a:gd name="T62" fmla="*/ 0 w 135"/>
                <a:gd name="T63" fmla="*/ 0 h 98"/>
                <a:gd name="T64" fmla="*/ 0 w 135"/>
                <a:gd name="T65" fmla="*/ 0 h 98"/>
                <a:gd name="T66" fmla="*/ 0 w 135"/>
                <a:gd name="T67" fmla="*/ 0 h 98"/>
                <a:gd name="T68" fmla="*/ 0 w 135"/>
                <a:gd name="T69" fmla="*/ 0 h 98"/>
                <a:gd name="T70" fmla="*/ 0 w 135"/>
                <a:gd name="T71" fmla="*/ 0 h 98"/>
                <a:gd name="T72" fmla="*/ 0 w 135"/>
                <a:gd name="T73" fmla="*/ 0 h 98"/>
                <a:gd name="T74" fmla="*/ 0 w 135"/>
                <a:gd name="T75" fmla="*/ 0 h 98"/>
                <a:gd name="T76" fmla="*/ 0 w 135"/>
                <a:gd name="T77" fmla="*/ 0 h 98"/>
                <a:gd name="T78" fmla="*/ 0 w 135"/>
                <a:gd name="T79" fmla="*/ 0 h 98"/>
                <a:gd name="T80" fmla="*/ 0 w 135"/>
                <a:gd name="T81" fmla="*/ 0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5"/>
                <a:gd name="T124" fmla="*/ 0 h 98"/>
                <a:gd name="T125" fmla="*/ 135 w 135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62" name="Freeform 1038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3026" y="1192"/>
              <a:ext cx="90" cy="53"/>
            </a:xfrm>
            <a:custGeom>
              <a:avLst/>
              <a:gdLst>
                <a:gd name="T0" fmla="*/ 0 w 312"/>
                <a:gd name="T1" fmla="*/ 0 h 155"/>
                <a:gd name="T2" fmla="*/ 0 w 312"/>
                <a:gd name="T3" fmla="*/ 0 h 155"/>
                <a:gd name="T4" fmla="*/ 0 w 312"/>
                <a:gd name="T5" fmla="*/ 0 h 155"/>
                <a:gd name="T6" fmla="*/ 0 w 312"/>
                <a:gd name="T7" fmla="*/ 0 h 155"/>
                <a:gd name="T8" fmla="*/ 0 w 312"/>
                <a:gd name="T9" fmla="*/ 0 h 155"/>
                <a:gd name="T10" fmla="*/ 0 w 312"/>
                <a:gd name="T11" fmla="*/ 0 h 155"/>
                <a:gd name="T12" fmla="*/ 0 w 312"/>
                <a:gd name="T13" fmla="*/ 0 h 155"/>
                <a:gd name="T14" fmla="*/ 0 w 312"/>
                <a:gd name="T15" fmla="*/ 0 h 155"/>
                <a:gd name="T16" fmla="*/ 0 w 312"/>
                <a:gd name="T17" fmla="*/ 0 h 155"/>
                <a:gd name="T18" fmla="*/ 0 w 312"/>
                <a:gd name="T19" fmla="*/ 0 h 155"/>
                <a:gd name="T20" fmla="*/ 0 w 312"/>
                <a:gd name="T21" fmla="*/ 0 h 155"/>
                <a:gd name="T22" fmla="*/ 0 w 312"/>
                <a:gd name="T23" fmla="*/ 0 h 155"/>
                <a:gd name="T24" fmla="*/ 0 w 312"/>
                <a:gd name="T25" fmla="*/ 0 h 155"/>
                <a:gd name="T26" fmla="*/ 0 w 312"/>
                <a:gd name="T27" fmla="*/ 0 h 155"/>
                <a:gd name="T28" fmla="*/ 0 w 312"/>
                <a:gd name="T29" fmla="*/ 0 h 155"/>
                <a:gd name="T30" fmla="*/ 0 w 312"/>
                <a:gd name="T31" fmla="*/ 0 h 155"/>
                <a:gd name="T32" fmla="*/ 0 w 312"/>
                <a:gd name="T33" fmla="*/ 0 h 155"/>
                <a:gd name="T34" fmla="*/ 0 w 312"/>
                <a:gd name="T35" fmla="*/ 0 h 155"/>
                <a:gd name="T36" fmla="*/ 0 w 312"/>
                <a:gd name="T37" fmla="*/ 0 h 155"/>
                <a:gd name="T38" fmla="*/ 0 w 312"/>
                <a:gd name="T39" fmla="*/ 0 h 155"/>
                <a:gd name="T40" fmla="*/ 0 w 312"/>
                <a:gd name="T41" fmla="*/ 0 h 155"/>
                <a:gd name="T42" fmla="*/ 0 w 312"/>
                <a:gd name="T43" fmla="*/ 0 h 155"/>
                <a:gd name="T44" fmla="*/ 0 w 312"/>
                <a:gd name="T45" fmla="*/ 0 h 155"/>
                <a:gd name="T46" fmla="*/ 0 w 312"/>
                <a:gd name="T47" fmla="*/ 0 h 155"/>
                <a:gd name="T48" fmla="*/ 0 w 312"/>
                <a:gd name="T49" fmla="*/ 0 h 155"/>
                <a:gd name="T50" fmla="*/ 0 w 312"/>
                <a:gd name="T51" fmla="*/ 0 h 155"/>
                <a:gd name="T52" fmla="*/ 0 w 312"/>
                <a:gd name="T53" fmla="*/ 0 h 155"/>
                <a:gd name="T54" fmla="*/ 0 w 312"/>
                <a:gd name="T55" fmla="*/ 0 h 155"/>
                <a:gd name="T56" fmla="*/ 0 w 312"/>
                <a:gd name="T57" fmla="*/ 0 h 155"/>
                <a:gd name="T58" fmla="*/ 0 w 312"/>
                <a:gd name="T59" fmla="*/ 0 h 155"/>
                <a:gd name="T60" fmla="*/ 0 w 312"/>
                <a:gd name="T61" fmla="*/ 0 h 155"/>
                <a:gd name="T62" fmla="*/ 0 w 312"/>
                <a:gd name="T63" fmla="*/ 0 h 155"/>
                <a:gd name="T64" fmla="*/ 0 w 312"/>
                <a:gd name="T65" fmla="*/ 0 h 155"/>
                <a:gd name="T66" fmla="*/ 0 w 312"/>
                <a:gd name="T67" fmla="*/ 0 h 155"/>
                <a:gd name="T68" fmla="*/ 0 w 312"/>
                <a:gd name="T69" fmla="*/ 0 h 155"/>
                <a:gd name="T70" fmla="*/ 0 w 312"/>
                <a:gd name="T71" fmla="*/ 0 h 155"/>
                <a:gd name="T72" fmla="*/ 0 w 312"/>
                <a:gd name="T73" fmla="*/ 0 h 155"/>
                <a:gd name="T74" fmla="*/ 0 w 312"/>
                <a:gd name="T75" fmla="*/ 0 h 155"/>
                <a:gd name="T76" fmla="*/ 0 w 312"/>
                <a:gd name="T77" fmla="*/ 0 h 155"/>
                <a:gd name="T78" fmla="*/ 0 w 312"/>
                <a:gd name="T79" fmla="*/ 0 h 155"/>
                <a:gd name="T80" fmla="*/ 0 w 312"/>
                <a:gd name="T81" fmla="*/ 0 h 155"/>
                <a:gd name="T82" fmla="*/ 0 w 312"/>
                <a:gd name="T83" fmla="*/ 0 h 155"/>
                <a:gd name="T84" fmla="*/ 0 w 312"/>
                <a:gd name="T85" fmla="*/ 0 h 155"/>
                <a:gd name="T86" fmla="*/ 0 w 312"/>
                <a:gd name="T87" fmla="*/ 0 h 155"/>
                <a:gd name="T88" fmla="*/ 0 w 312"/>
                <a:gd name="T89" fmla="*/ 0 h 155"/>
                <a:gd name="T90" fmla="*/ 0 w 312"/>
                <a:gd name="T91" fmla="*/ 0 h 155"/>
                <a:gd name="T92" fmla="*/ 0 w 312"/>
                <a:gd name="T93" fmla="*/ 0 h 155"/>
                <a:gd name="T94" fmla="*/ 0 w 312"/>
                <a:gd name="T95" fmla="*/ 0 h 155"/>
                <a:gd name="T96" fmla="*/ 0 w 312"/>
                <a:gd name="T97" fmla="*/ 0 h 155"/>
                <a:gd name="T98" fmla="*/ 0 w 312"/>
                <a:gd name="T99" fmla="*/ 0 h 155"/>
                <a:gd name="T100" fmla="*/ 0 w 312"/>
                <a:gd name="T101" fmla="*/ 0 h 155"/>
                <a:gd name="T102" fmla="*/ 0 w 312"/>
                <a:gd name="T103" fmla="*/ 0 h 155"/>
                <a:gd name="T104" fmla="*/ 0 w 312"/>
                <a:gd name="T105" fmla="*/ 0 h 155"/>
                <a:gd name="T106" fmla="*/ 0 w 312"/>
                <a:gd name="T107" fmla="*/ 0 h 155"/>
                <a:gd name="T108" fmla="*/ 0 w 312"/>
                <a:gd name="T109" fmla="*/ 0 h 155"/>
                <a:gd name="T110" fmla="*/ 0 w 312"/>
                <a:gd name="T111" fmla="*/ 0 h 155"/>
                <a:gd name="T112" fmla="*/ 0 w 312"/>
                <a:gd name="T113" fmla="*/ 0 h 155"/>
                <a:gd name="T114" fmla="*/ 0 w 312"/>
                <a:gd name="T115" fmla="*/ 0 h 155"/>
                <a:gd name="T116" fmla="*/ 0 w 312"/>
                <a:gd name="T117" fmla="*/ 0 h 155"/>
                <a:gd name="T118" fmla="*/ 0 w 312"/>
                <a:gd name="T119" fmla="*/ 0 h 155"/>
                <a:gd name="T120" fmla="*/ 0 w 312"/>
                <a:gd name="T121" fmla="*/ 0 h 155"/>
                <a:gd name="T122" fmla="*/ 0 w 312"/>
                <a:gd name="T123" fmla="*/ 0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2"/>
                <a:gd name="T187" fmla="*/ 0 h 155"/>
                <a:gd name="T188" fmla="*/ 312 w 312"/>
                <a:gd name="T189" fmla="*/ 155 h 15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63" name="Freeform 1039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2825" y="1309"/>
              <a:ext cx="13" cy="38"/>
            </a:xfrm>
            <a:custGeom>
              <a:avLst/>
              <a:gdLst>
                <a:gd name="T0" fmla="*/ 0 w 46"/>
                <a:gd name="T1" fmla="*/ 2 h 50"/>
                <a:gd name="T2" fmla="*/ 0 w 46"/>
                <a:gd name="T3" fmla="*/ 2 h 50"/>
                <a:gd name="T4" fmla="*/ 0 w 46"/>
                <a:gd name="T5" fmla="*/ 2 h 50"/>
                <a:gd name="T6" fmla="*/ 0 w 46"/>
                <a:gd name="T7" fmla="*/ 2 h 50"/>
                <a:gd name="T8" fmla="*/ 0 w 46"/>
                <a:gd name="T9" fmla="*/ 2 h 50"/>
                <a:gd name="T10" fmla="*/ 0 w 46"/>
                <a:gd name="T11" fmla="*/ 2 h 50"/>
                <a:gd name="T12" fmla="*/ 0 w 46"/>
                <a:gd name="T13" fmla="*/ 2 h 50"/>
                <a:gd name="T14" fmla="*/ 0 w 46"/>
                <a:gd name="T15" fmla="*/ 0 h 50"/>
                <a:gd name="T16" fmla="*/ 0 w 46"/>
                <a:gd name="T17" fmla="*/ 2 h 50"/>
                <a:gd name="T18" fmla="*/ 0 w 46"/>
                <a:gd name="T19" fmla="*/ 2 h 50"/>
                <a:gd name="T20" fmla="*/ 0 w 46"/>
                <a:gd name="T21" fmla="*/ 2 h 50"/>
                <a:gd name="T22" fmla="*/ 0 w 46"/>
                <a:gd name="T23" fmla="*/ 2 h 50"/>
                <a:gd name="T24" fmla="*/ 0 w 46"/>
                <a:gd name="T25" fmla="*/ 2 h 50"/>
                <a:gd name="T26" fmla="*/ 0 w 46"/>
                <a:gd name="T27" fmla="*/ 2 h 50"/>
                <a:gd name="T28" fmla="*/ 0 w 46"/>
                <a:gd name="T29" fmla="*/ 2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50"/>
                <a:gd name="T47" fmla="*/ 46 w 46"/>
                <a:gd name="T48" fmla="*/ 50 h 5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64" name="Freeform 1040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3301" y="2496"/>
              <a:ext cx="48" cy="152"/>
            </a:xfrm>
            <a:custGeom>
              <a:avLst/>
              <a:gdLst>
                <a:gd name="T0" fmla="*/ 0 w 166"/>
                <a:gd name="T1" fmla="*/ 0 h 456"/>
                <a:gd name="T2" fmla="*/ 0 w 166"/>
                <a:gd name="T3" fmla="*/ 0 h 456"/>
                <a:gd name="T4" fmla="*/ 0 w 166"/>
                <a:gd name="T5" fmla="*/ 0 h 456"/>
                <a:gd name="T6" fmla="*/ 0 w 166"/>
                <a:gd name="T7" fmla="*/ 0 h 456"/>
                <a:gd name="T8" fmla="*/ 0 w 166"/>
                <a:gd name="T9" fmla="*/ 0 h 456"/>
                <a:gd name="T10" fmla="*/ 0 w 166"/>
                <a:gd name="T11" fmla="*/ 0 h 456"/>
                <a:gd name="T12" fmla="*/ 0 w 166"/>
                <a:gd name="T13" fmla="*/ 0 h 456"/>
                <a:gd name="T14" fmla="*/ 0 w 166"/>
                <a:gd name="T15" fmla="*/ 0 h 456"/>
                <a:gd name="T16" fmla="*/ 0 w 166"/>
                <a:gd name="T17" fmla="*/ 0 h 456"/>
                <a:gd name="T18" fmla="*/ 0 w 166"/>
                <a:gd name="T19" fmla="*/ 0 h 456"/>
                <a:gd name="T20" fmla="*/ 0 w 166"/>
                <a:gd name="T21" fmla="*/ 0 h 456"/>
                <a:gd name="T22" fmla="*/ 0 w 166"/>
                <a:gd name="T23" fmla="*/ 0 h 456"/>
                <a:gd name="T24" fmla="*/ 0 w 166"/>
                <a:gd name="T25" fmla="*/ 0 h 456"/>
                <a:gd name="T26" fmla="*/ 0 w 166"/>
                <a:gd name="T27" fmla="*/ 0 h 456"/>
                <a:gd name="T28" fmla="*/ 0 w 166"/>
                <a:gd name="T29" fmla="*/ 0 h 456"/>
                <a:gd name="T30" fmla="*/ 0 w 166"/>
                <a:gd name="T31" fmla="*/ 0 h 456"/>
                <a:gd name="T32" fmla="*/ 0 w 166"/>
                <a:gd name="T33" fmla="*/ 0 h 456"/>
                <a:gd name="T34" fmla="*/ 0 w 166"/>
                <a:gd name="T35" fmla="*/ 0 h 456"/>
                <a:gd name="T36" fmla="*/ 0 w 166"/>
                <a:gd name="T37" fmla="*/ 0 h 456"/>
                <a:gd name="T38" fmla="*/ 0 w 166"/>
                <a:gd name="T39" fmla="*/ 0 h 456"/>
                <a:gd name="T40" fmla="*/ 0 w 166"/>
                <a:gd name="T41" fmla="*/ 0 h 456"/>
                <a:gd name="T42" fmla="*/ 0 w 166"/>
                <a:gd name="T43" fmla="*/ 0 h 456"/>
                <a:gd name="T44" fmla="*/ 0 w 166"/>
                <a:gd name="T45" fmla="*/ 0 h 456"/>
                <a:gd name="T46" fmla="*/ 0 w 166"/>
                <a:gd name="T47" fmla="*/ 0 h 456"/>
                <a:gd name="T48" fmla="*/ 0 w 166"/>
                <a:gd name="T49" fmla="*/ 0 h 456"/>
                <a:gd name="T50" fmla="*/ 0 w 166"/>
                <a:gd name="T51" fmla="*/ 0 h 456"/>
                <a:gd name="T52" fmla="*/ 0 w 166"/>
                <a:gd name="T53" fmla="*/ 0 h 456"/>
                <a:gd name="T54" fmla="*/ 0 w 166"/>
                <a:gd name="T55" fmla="*/ 0 h 456"/>
                <a:gd name="T56" fmla="*/ 0 w 166"/>
                <a:gd name="T57" fmla="*/ 0 h 456"/>
                <a:gd name="T58" fmla="*/ 0 w 166"/>
                <a:gd name="T59" fmla="*/ 0 h 456"/>
                <a:gd name="T60" fmla="*/ 0 w 166"/>
                <a:gd name="T61" fmla="*/ 0 h 456"/>
                <a:gd name="T62" fmla="*/ 0 w 166"/>
                <a:gd name="T63" fmla="*/ 0 h 456"/>
                <a:gd name="T64" fmla="*/ 0 w 166"/>
                <a:gd name="T65" fmla="*/ 0 h 456"/>
                <a:gd name="T66" fmla="*/ 0 w 166"/>
                <a:gd name="T67" fmla="*/ 0 h 456"/>
                <a:gd name="T68" fmla="*/ 0 w 166"/>
                <a:gd name="T69" fmla="*/ 0 h 456"/>
                <a:gd name="T70" fmla="*/ 0 w 166"/>
                <a:gd name="T71" fmla="*/ 0 h 456"/>
                <a:gd name="T72" fmla="*/ 0 w 166"/>
                <a:gd name="T73" fmla="*/ 0 h 456"/>
                <a:gd name="T74" fmla="*/ 0 w 166"/>
                <a:gd name="T75" fmla="*/ 0 h 456"/>
                <a:gd name="T76" fmla="*/ 0 w 166"/>
                <a:gd name="T77" fmla="*/ 0 h 456"/>
                <a:gd name="T78" fmla="*/ 0 w 166"/>
                <a:gd name="T79" fmla="*/ 0 h 456"/>
                <a:gd name="T80" fmla="*/ 0 w 166"/>
                <a:gd name="T81" fmla="*/ 0 h 456"/>
                <a:gd name="T82" fmla="*/ 0 w 166"/>
                <a:gd name="T83" fmla="*/ 0 h 456"/>
                <a:gd name="T84" fmla="*/ 0 w 166"/>
                <a:gd name="T85" fmla="*/ 0 h 456"/>
                <a:gd name="T86" fmla="*/ 0 w 166"/>
                <a:gd name="T87" fmla="*/ 0 h 456"/>
                <a:gd name="T88" fmla="*/ 0 w 166"/>
                <a:gd name="T89" fmla="*/ 0 h 456"/>
                <a:gd name="T90" fmla="*/ 0 w 166"/>
                <a:gd name="T91" fmla="*/ 0 h 456"/>
                <a:gd name="T92" fmla="*/ 0 w 166"/>
                <a:gd name="T93" fmla="*/ 0 h 456"/>
                <a:gd name="T94" fmla="*/ 0 w 166"/>
                <a:gd name="T95" fmla="*/ 0 h 456"/>
                <a:gd name="T96" fmla="*/ 0 w 166"/>
                <a:gd name="T97" fmla="*/ 0 h 456"/>
                <a:gd name="T98" fmla="*/ 0 w 166"/>
                <a:gd name="T99" fmla="*/ 0 h 456"/>
                <a:gd name="T100" fmla="*/ 0 w 166"/>
                <a:gd name="T101" fmla="*/ 0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6"/>
                <a:gd name="T154" fmla="*/ 0 h 456"/>
                <a:gd name="T155" fmla="*/ 166 w 166"/>
                <a:gd name="T156" fmla="*/ 456 h 4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65" name="Freeform 1041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2954" y="1596"/>
              <a:ext cx="10" cy="36"/>
            </a:xfrm>
            <a:custGeom>
              <a:avLst/>
              <a:gdLst>
                <a:gd name="T0" fmla="*/ 0 w 27"/>
                <a:gd name="T1" fmla="*/ 0 h 19"/>
                <a:gd name="T2" fmla="*/ 0 w 27"/>
                <a:gd name="T3" fmla="*/ 4328777 h 19"/>
                <a:gd name="T4" fmla="*/ 0 w 27"/>
                <a:gd name="T5" fmla="*/ 6724223 h 19"/>
                <a:gd name="T6" fmla="*/ 0 w 27"/>
                <a:gd name="T7" fmla="*/ 6724223 h 19"/>
                <a:gd name="T8" fmla="*/ 0 w 27"/>
                <a:gd name="T9" fmla="*/ 6724223 h 19"/>
                <a:gd name="T10" fmla="*/ 0 w 27"/>
                <a:gd name="T11" fmla="*/ 4328777 h 19"/>
                <a:gd name="T12" fmla="*/ 0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9"/>
                <a:gd name="T23" fmla="*/ 27 w 2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66" name="Freeform 1042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3172" y="2617"/>
              <a:ext cx="129" cy="137"/>
            </a:xfrm>
            <a:custGeom>
              <a:avLst/>
              <a:gdLst>
                <a:gd name="T0" fmla="*/ 0 w 438"/>
                <a:gd name="T1" fmla="*/ 0 h 406"/>
                <a:gd name="T2" fmla="*/ 0 w 438"/>
                <a:gd name="T3" fmla="*/ 0 h 406"/>
                <a:gd name="T4" fmla="*/ 0 w 438"/>
                <a:gd name="T5" fmla="*/ 0 h 406"/>
                <a:gd name="T6" fmla="*/ 0 w 438"/>
                <a:gd name="T7" fmla="*/ 0 h 406"/>
                <a:gd name="T8" fmla="*/ 0 w 438"/>
                <a:gd name="T9" fmla="*/ 0 h 406"/>
                <a:gd name="T10" fmla="*/ 0 w 438"/>
                <a:gd name="T11" fmla="*/ 0 h 406"/>
                <a:gd name="T12" fmla="*/ 0 w 438"/>
                <a:gd name="T13" fmla="*/ 0 h 406"/>
                <a:gd name="T14" fmla="*/ 0 w 438"/>
                <a:gd name="T15" fmla="*/ 0 h 406"/>
                <a:gd name="T16" fmla="*/ 0 w 438"/>
                <a:gd name="T17" fmla="*/ 0 h 406"/>
                <a:gd name="T18" fmla="*/ 0 w 438"/>
                <a:gd name="T19" fmla="*/ 0 h 406"/>
                <a:gd name="T20" fmla="*/ 0 w 438"/>
                <a:gd name="T21" fmla="*/ 0 h 406"/>
                <a:gd name="T22" fmla="*/ 0 w 438"/>
                <a:gd name="T23" fmla="*/ 0 h 406"/>
                <a:gd name="T24" fmla="*/ 0 w 438"/>
                <a:gd name="T25" fmla="*/ 0 h 406"/>
                <a:gd name="T26" fmla="*/ 0 w 438"/>
                <a:gd name="T27" fmla="*/ 0 h 406"/>
                <a:gd name="T28" fmla="*/ 0 w 438"/>
                <a:gd name="T29" fmla="*/ 0 h 406"/>
                <a:gd name="T30" fmla="*/ 0 w 438"/>
                <a:gd name="T31" fmla="*/ 0 h 406"/>
                <a:gd name="T32" fmla="*/ 0 w 438"/>
                <a:gd name="T33" fmla="*/ 0 h 406"/>
                <a:gd name="T34" fmla="*/ 0 w 438"/>
                <a:gd name="T35" fmla="*/ 0 h 406"/>
                <a:gd name="T36" fmla="*/ 0 w 438"/>
                <a:gd name="T37" fmla="*/ 0 h 406"/>
                <a:gd name="T38" fmla="*/ 0 w 438"/>
                <a:gd name="T39" fmla="*/ 0 h 406"/>
                <a:gd name="T40" fmla="*/ 0 w 438"/>
                <a:gd name="T41" fmla="*/ 0 h 406"/>
                <a:gd name="T42" fmla="*/ 0 w 438"/>
                <a:gd name="T43" fmla="*/ 0 h 406"/>
                <a:gd name="T44" fmla="*/ 0 w 438"/>
                <a:gd name="T45" fmla="*/ 0 h 406"/>
                <a:gd name="T46" fmla="*/ 0 w 438"/>
                <a:gd name="T47" fmla="*/ 0 h 406"/>
                <a:gd name="T48" fmla="*/ 0 w 438"/>
                <a:gd name="T49" fmla="*/ 0 h 406"/>
                <a:gd name="T50" fmla="*/ 0 w 438"/>
                <a:gd name="T51" fmla="*/ 0 h 406"/>
                <a:gd name="T52" fmla="*/ 0 w 438"/>
                <a:gd name="T53" fmla="*/ 0 h 406"/>
                <a:gd name="T54" fmla="*/ 0 w 438"/>
                <a:gd name="T55" fmla="*/ 0 h 406"/>
                <a:gd name="T56" fmla="*/ 0 w 438"/>
                <a:gd name="T57" fmla="*/ 0 h 406"/>
                <a:gd name="T58" fmla="*/ 0 w 438"/>
                <a:gd name="T59" fmla="*/ 0 h 406"/>
                <a:gd name="T60" fmla="*/ 0 w 438"/>
                <a:gd name="T61" fmla="*/ 0 h 406"/>
                <a:gd name="T62" fmla="*/ 0 w 438"/>
                <a:gd name="T63" fmla="*/ 0 h 406"/>
                <a:gd name="T64" fmla="*/ 0 w 438"/>
                <a:gd name="T65" fmla="*/ 0 h 406"/>
                <a:gd name="T66" fmla="*/ 0 w 438"/>
                <a:gd name="T67" fmla="*/ 0 h 406"/>
                <a:gd name="T68" fmla="*/ 0 w 438"/>
                <a:gd name="T69" fmla="*/ 0 h 406"/>
                <a:gd name="T70" fmla="*/ 0 w 438"/>
                <a:gd name="T71" fmla="*/ 0 h 406"/>
                <a:gd name="T72" fmla="*/ 0 w 438"/>
                <a:gd name="T73" fmla="*/ 0 h 406"/>
                <a:gd name="T74" fmla="*/ 0 w 438"/>
                <a:gd name="T75" fmla="*/ 0 h 406"/>
                <a:gd name="T76" fmla="*/ 0 w 438"/>
                <a:gd name="T77" fmla="*/ 0 h 406"/>
                <a:gd name="T78" fmla="*/ 0 w 438"/>
                <a:gd name="T79" fmla="*/ 0 h 406"/>
                <a:gd name="T80" fmla="*/ 0 w 438"/>
                <a:gd name="T81" fmla="*/ 0 h 406"/>
                <a:gd name="T82" fmla="*/ 0 w 438"/>
                <a:gd name="T83" fmla="*/ 0 h 406"/>
                <a:gd name="T84" fmla="*/ 0 w 438"/>
                <a:gd name="T85" fmla="*/ 0 h 406"/>
                <a:gd name="T86" fmla="*/ 0 w 438"/>
                <a:gd name="T87" fmla="*/ 0 h 406"/>
                <a:gd name="T88" fmla="*/ 0 w 438"/>
                <a:gd name="T89" fmla="*/ 0 h 406"/>
                <a:gd name="T90" fmla="*/ 0 w 438"/>
                <a:gd name="T91" fmla="*/ 0 h 406"/>
                <a:gd name="T92" fmla="*/ 0 w 438"/>
                <a:gd name="T93" fmla="*/ 0 h 406"/>
                <a:gd name="T94" fmla="*/ 0 w 438"/>
                <a:gd name="T95" fmla="*/ 0 h 406"/>
                <a:gd name="T96" fmla="*/ 0 w 438"/>
                <a:gd name="T97" fmla="*/ 0 h 406"/>
                <a:gd name="T98" fmla="*/ 0 w 438"/>
                <a:gd name="T99" fmla="*/ 0 h 406"/>
                <a:gd name="T100" fmla="*/ 0 w 438"/>
                <a:gd name="T101" fmla="*/ 0 h 406"/>
                <a:gd name="T102" fmla="*/ 0 w 438"/>
                <a:gd name="T103" fmla="*/ 0 h 406"/>
                <a:gd name="T104" fmla="*/ 0 w 438"/>
                <a:gd name="T105" fmla="*/ 0 h 406"/>
                <a:gd name="T106" fmla="*/ 0 w 438"/>
                <a:gd name="T107" fmla="*/ 0 h 406"/>
                <a:gd name="T108" fmla="*/ 0 w 438"/>
                <a:gd name="T109" fmla="*/ 0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8"/>
                <a:gd name="T166" fmla="*/ 0 h 406"/>
                <a:gd name="T167" fmla="*/ 438 w 438"/>
                <a:gd name="T168" fmla="*/ 406 h 4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67" name="Freeform 1043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3112" y="2476"/>
              <a:ext cx="201" cy="189"/>
            </a:xfrm>
            <a:custGeom>
              <a:avLst/>
              <a:gdLst>
                <a:gd name="T0" fmla="*/ 0 w 678"/>
                <a:gd name="T1" fmla="*/ 0 h 574"/>
                <a:gd name="T2" fmla="*/ 0 w 678"/>
                <a:gd name="T3" fmla="*/ 0 h 574"/>
                <a:gd name="T4" fmla="*/ 0 w 678"/>
                <a:gd name="T5" fmla="*/ 0 h 574"/>
                <a:gd name="T6" fmla="*/ 0 w 678"/>
                <a:gd name="T7" fmla="*/ 0 h 574"/>
                <a:gd name="T8" fmla="*/ 0 w 678"/>
                <a:gd name="T9" fmla="*/ 0 h 574"/>
                <a:gd name="T10" fmla="*/ 0 w 678"/>
                <a:gd name="T11" fmla="*/ 0 h 574"/>
                <a:gd name="T12" fmla="*/ 0 w 678"/>
                <a:gd name="T13" fmla="*/ 0 h 574"/>
                <a:gd name="T14" fmla="*/ 0 w 678"/>
                <a:gd name="T15" fmla="*/ 0 h 574"/>
                <a:gd name="T16" fmla="*/ 0 w 678"/>
                <a:gd name="T17" fmla="*/ 0 h 574"/>
                <a:gd name="T18" fmla="*/ 0 w 678"/>
                <a:gd name="T19" fmla="*/ 0 h 574"/>
                <a:gd name="T20" fmla="*/ 0 w 678"/>
                <a:gd name="T21" fmla="*/ 0 h 574"/>
                <a:gd name="T22" fmla="*/ 0 w 678"/>
                <a:gd name="T23" fmla="*/ 0 h 574"/>
                <a:gd name="T24" fmla="*/ 0 w 678"/>
                <a:gd name="T25" fmla="*/ 0 h 574"/>
                <a:gd name="T26" fmla="*/ 0 w 678"/>
                <a:gd name="T27" fmla="*/ 0 h 574"/>
                <a:gd name="T28" fmla="*/ 0 w 678"/>
                <a:gd name="T29" fmla="*/ 0 h 574"/>
                <a:gd name="T30" fmla="*/ 0 w 678"/>
                <a:gd name="T31" fmla="*/ 0 h 574"/>
                <a:gd name="T32" fmla="*/ 0 w 678"/>
                <a:gd name="T33" fmla="*/ 0 h 574"/>
                <a:gd name="T34" fmla="*/ 0 w 678"/>
                <a:gd name="T35" fmla="*/ 0 h 574"/>
                <a:gd name="T36" fmla="*/ 0 w 678"/>
                <a:gd name="T37" fmla="*/ 0 h 574"/>
                <a:gd name="T38" fmla="*/ 0 w 678"/>
                <a:gd name="T39" fmla="*/ 0 h 574"/>
                <a:gd name="T40" fmla="*/ 0 w 678"/>
                <a:gd name="T41" fmla="*/ 0 h 574"/>
                <a:gd name="T42" fmla="*/ 0 w 678"/>
                <a:gd name="T43" fmla="*/ 0 h 574"/>
                <a:gd name="T44" fmla="*/ 0 w 678"/>
                <a:gd name="T45" fmla="*/ 0 h 574"/>
                <a:gd name="T46" fmla="*/ 0 w 678"/>
                <a:gd name="T47" fmla="*/ 0 h 574"/>
                <a:gd name="T48" fmla="*/ 0 w 678"/>
                <a:gd name="T49" fmla="*/ 0 h 574"/>
                <a:gd name="T50" fmla="*/ 0 w 678"/>
                <a:gd name="T51" fmla="*/ 0 h 574"/>
                <a:gd name="T52" fmla="*/ 0 w 678"/>
                <a:gd name="T53" fmla="*/ 0 h 574"/>
                <a:gd name="T54" fmla="*/ 0 w 678"/>
                <a:gd name="T55" fmla="*/ 0 h 574"/>
                <a:gd name="T56" fmla="*/ 0 w 678"/>
                <a:gd name="T57" fmla="*/ 0 h 574"/>
                <a:gd name="T58" fmla="*/ 0 w 678"/>
                <a:gd name="T59" fmla="*/ 0 h 574"/>
                <a:gd name="T60" fmla="*/ 0 w 678"/>
                <a:gd name="T61" fmla="*/ 0 h 574"/>
                <a:gd name="T62" fmla="*/ 0 w 678"/>
                <a:gd name="T63" fmla="*/ 0 h 574"/>
                <a:gd name="T64" fmla="*/ 0 w 678"/>
                <a:gd name="T65" fmla="*/ 0 h 574"/>
                <a:gd name="T66" fmla="*/ 0 w 678"/>
                <a:gd name="T67" fmla="*/ 0 h 574"/>
                <a:gd name="T68" fmla="*/ 0 w 678"/>
                <a:gd name="T69" fmla="*/ 0 h 574"/>
                <a:gd name="T70" fmla="*/ 0 w 678"/>
                <a:gd name="T71" fmla="*/ 0 h 574"/>
                <a:gd name="T72" fmla="*/ 0 w 678"/>
                <a:gd name="T73" fmla="*/ 0 h 574"/>
                <a:gd name="T74" fmla="*/ 0 w 678"/>
                <a:gd name="T75" fmla="*/ 0 h 574"/>
                <a:gd name="T76" fmla="*/ 0 w 678"/>
                <a:gd name="T77" fmla="*/ 0 h 574"/>
                <a:gd name="T78" fmla="*/ 0 w 678"/>
                <a:gd name="T79" fmla="*/ 0 h 574"/>
                <a:gd name="T80" fmla="*/ 0 w 678"/>
                <a:gd name="T81" fmla="*/ 0 h 574"/>
                <a:gd name="T82" fmla="*/ 0 w 678"/>
                <a:gd name="T83" fmla="*/ 0 h 574"/>
                <a:gd name="T84" fmla="*/ 0 w 678"/>
                <a:gd name="T85" fmla="*/ 0 h 574"/>
                <a:gd name="T86" fmla="*/ 0 w 678"/>
                <a:gd name="T87" fmla="*/ 0 h 574"/>
                <a:gd name="T88" fmla="*/ 0 w 678"/>
                <a:gd name="T89" fmla="*/ 0 h 574"/>
                <a:gd name="T90" fmla="*/ 0 w 678"/>
                <a:gd name="T91" fmla="*/ 0 h 574"/>
                <a:gd name="T92" fmla="*/ 0 w 678"/>
                <a:gd name="T93" fmla="*/ 0 h 574"/>
                <a:gd name="T94" fmla="*/ 0 w 678"/>
                <a:gd name="T95" fmla="*/ 0 h 574"/>
                <a:gd name="T96" fmla="*/ 0 w 678"/>
                <a:gd name="T97" fmla="*/ 0 h 574"/>
                <a:gd name="T98" fmla="*/ 0 w 678"/>
                <a:gd name="T99" fmla="*/ 0 h 574"/>
                <a:gd name="T100" fmla="*/ 0 w 678"/>
                <a:gd name="T101" fmla="*/ 0 h 574"/>
                <a:gd name="T102" fmla="*/ 0 w 678"/>
                <a:gd name="T103" fmla="*/ 0 h 574"/>
                <a:gd name="T104" fmla="*/ 0 w 678"/>
                <a:gd name="T105" fmla="*/ 0 h 574"/>
                <a:gd name="T106" fmla="*/ 0 w 678"/>
                <a:gd name="T107" fmla="*/ 0 h 574"/>
                <a:gd name="T108" fmla="*/ 0 w 678"/>
                <a:gd name="T109" fmla="*/ 0 h 574"/>
                <a:gd name="T110" fmla="*/ 0 w 678"/>
                <a:gd name="T111" fmla="*/ 0 h 574"/>
                <a:gd name="T112" fmla="*/ 0 w 678"/>
                <a:gd name="T113" fmla="*/ 0 h 574"/>
                <a:gd name="T114" fmla="*/ 0 w 678"/>
                <a:gd name="T115" fmla="*/ 0 h 574"/>
                <a:gd name="T116" fmla="*/ 0 w 678"/>
                <a:gd name="T117" fmla="*/ 0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78"/>
                <a:gd name="T178" fmla="*/ 0 h 574"/>
                <a:gd name="T179" fmla="*/ 678 w 678"/>
                <a:gd name="T180" fmla="*/ 574 h 57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68" name="Freeform 1044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2933" y="2648"/>
              <a:ext cx="239" cy="240"/>
            </a:xfrm>
            <a:custGeom>
              <a:avLst/>
              <a:gdLst>
                <a:gd name="T0" fmla="*/ 0 w 810"/>
                <a:gd name="T1" fmla="*/ 0 h 727"/>
                <a:gd name="T2" fmla="*/ 0 w 810"/>
                <a:gd name="T3" fmla="*/ 0 h 727"/>
                <a:gd name="T4" fmla="*/ 0 w 810"/>
                <a:gd name="T5" fmla="*/ 0 h 727"/>
                <a:gd name="T6" fmla="*/ 0 w 810"/>
                <a:gd name="T7" fmla="*/ 0 h 727"/>
                <a:gd name="T8" fmla="*/ 0 w 810"/>
                <a:gd name="T9" fmla="*/ 0 h 727"/>
                <a:gd name="T10" fmla="*/ 0 w 810"/>
                <a:gd name="T11" fmla="*/ 0 h 727"/>
                <a:gd name="T12" fmla="*/ 0 w 810"/>
                <a:gd name="T13" fmla="*/ 0 h 727"/>
                <a:gd name="T14" fmla="*/ 0 w 810"/>
                <a:gd name="T15" fmla="*/ 0 h 727"/>
                <a:gd name="T16" fmla="*/ 0 w 810"/>
                <a:gd name="T17" fmla="*/ 0 h 727"/>
                <a:gd name="T18" fmla="*/ 0 w 810"/>
                <a:gd name="T19" fmla="*/ 0 h 727"/>
                <a:gd name="T20" fmla="*/ 0 w 810"/>
                <a:gd name="T21" fmla="*/ 0 h 727"/>
                <a:gd name="T22" fmla="*/ 0 w 810"/>
                <a:gd name="T23" fmla="*/ 0 h 727"/>
                <a:gd name="T24" fmla="*/ 0 w 810"/>
                <a:gd name="T25" fmla="*/ 0 h 727"/>
                <a:gd name="T26" fmla="*/ 0 w 810"/>
                <a:gd name="T27" fmla="*/ 0 h 727"/>
                <a:gd name="T28" fmla="*/ 0 w 810"/>
                <a:gd name="T29" fmla="*/ 0 h 727"/>
                <a:gd name="T30" fmla="*/ 0 w 810"/>
                <a:gd name="T31" fmla="*/ 0 h 727"/>
                <a:gd name="T32" fmla="*/ 0 w 810"/>
                <a:gd name="T33" fmla="*/ 0 h 727"/>
                <a:gd name="T34" fmla="*/ 0 w 810"/>
                <a:gd name="T35" fmla="*/ 0 h 727"/>
                <a:gd name="T36" fmla="*/ 0 w 810"/>
                <a:gd name="T37" fmla="*/ 0 h 727"/>
                <a:gd name="T38" fmla="*/ 0 w 810"/>
                <a:gd name="T39" fmla="*/ 0 h 727"/>
                <a:gd name="T40" fmla="*/ 0 w 810"/>
                <a:gd name="T41" fmla="*/ 0 h 727"/>
                <a:gd name="T42" fmla="*/ 0 w 810"/>
                <a:gd name="T43" fmla="*/ 0 h 727"/>
                <a:gd name="T44" fmla="*/ 0 w 810"/>
                <a:gd name="T45" fmla="*/ 0 h 727"/>
                <a:gd name="T46" fmla="*/ 0 w 810"/>
                <a:gd name="T47" fmla="*/ 0 h 727"/>
                <a:gd name="T48" fmla="*/ 0 w 810"/>
                <a:gd name="T49" fmla="*/ 0 h 727"/>
                <a:gd name="T50" fmla="*/ 0 w 810"/>
                <a:gd name="T51" fmla="*/ 0 h 727"/>
                <a:gd name="T52" fmla="*/ 0 w 810"/>
                <a:gd name="T53" fmla="*/ 0 h 727"/>
                <a:gd name="T54" fmla="*/ 0 w 810"/>
                <a:gd name="T55" fmla="*/ 0 h 727"/>
                <a:gd name="T56" fmla="*/ 0 w 810"/>
                <a:gd name="T57" fmla="*/ 0 h 727"/>
                <a:gd name="T58" fmla="*/ 0 w 810"/>
                <a:gd name="T59" fmla="*/ 0 h 727"/>
                <a:gd name="T60" fmla="*/ 0 w 810"/>
                <a:gd name="T61" fmla="*/ 0 h 727"/>
                <a:gd name="T62" fmla="*/ 0 w 810"/>
                <a:gd name="T63" fmla="*/ 0 h 727"/>
                <a:gd name="T64" fmla="*/ 0 w 810"/>
                <a:gd name="T65" fmla="*/ 0 h 727"/>
                <a:gd name="T66" fmla="*/ 0 w 810"/>
                <a:gd name="T67" fmla="*/ 0 h 727"/>
                <a:gd name="T68" fmla="*/ 0 w 810"/>
                <a:gd name="T69" fmla="*/ 0 h 727"/>
                <a:gd name="T70" fmla="*/ 0 w 810"/>
                <a:gd name="T71" fmla="*/ 0 h 727"/>
                <a:gd name="T72" fmla="*/ 0 w 810"/>
                <a:gd name="T73" fmla="*/ 0 h 727"/>
                <a:gd name="T74" fmla="*/ 0 w 810"/>
                <a:gd name="T75" fmla="*/ 0 h 727"/>
                <a:gd name="T76" fmla="*/ 0 w 810"/>
                <a:gd name="T77" fmla="*/ 0 h 727"/>
                <a:gd name="T78" fmla="*/ 0 w 810"/>
                <a:gd name="T79" fmla="*/ 0 h 727"/>
                <a:gd name="T80" fmla="*/ 0 w 810"/>
                <a:gd name="T81" fmla="*/ 0 h 727"/>
                <a:gd name="T82" fmla="*/ 0 w 810"/>
                <a:gd name="T83" fmla="*/ 0 h 727"/>
                <a:gd name="T84" fmla="*/ 0 w 810"/>
                <a:gd name="T85" fmla="*/ 0 h 727"/>
                <a:gd name="T86" fmla="*/ 0 w 810"/>
                <a:gd name="T87" fmla="*/ 0 h 727"/>
                <a:gd name="T88" fmla="*/ 0 w 810"/>
                <a:gd name="T89" fmla="*/ 0 h 727"/>
                <a:gd name="T90" fmla="*/ 0 w 810"/>
                <a:gd name="T91" fmla="*/ 0 h 727"/>
                <a:gd name="T92" fmla="*/ 0 w 810"/>
                <a:gd name="T93" fmla="*/ 0 h 727"/>
                <a:gd name="T94" fmla="*/ 0 w 810"/>
                <a:gd name="T95" fmla="*/ 0 h 727"/>
                <a:gd name="T96" fmla="*/ 0 w 810"/>
                <a:gd name="T97" fmla="*/ 0 h 727"/>
                <a:gd name="T98" fmla="*/ 0 w 810"/>
                <a:gd name="T99" fmla="*/ 0 h 727"/>
                <a:gd name="T100" fmla="*/ 0 w 810"/>
                <a:gd name="T101" fmla="*/ 0 h 727"/>
                <a:gd name="T102" fmla="*/ 0 w 810"/>
                <a:gd name="T103" fmla="*/ 0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10"/>
                <a:gd name="T157" fmla="*/ 0 h 727"/>
                <a:gd name="T158" fmla="*/ 810 w 810"/>
                <a:gd name="T159" fmla="*/ 727 h 72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69" name="Freeform 1045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2441" y="1974"/>
              <a:ext cx="110" cy="89"/>
            </a:xfrm>
            <a:custGeom>
              <a:avLst/>
              <a:gdLst>
                <a:gd name="T0" fmla="*/ 0 w 365"/>
                <a:gd name="T1" fmla="*/ 0 h 271"/>
                <a:gd name="T2" fmla="*/ 0 w 365"/>
                <a:gd name="T3" fmla="*/ 0 h 271"/>
                <a:gd name="T4" fmla="*/ 0 w 365"/>
                <a:gd name="T5" fmla="*/ 0 h 271"/>
                <a:gd name="T6" fmla="*/ 0 w 365"/>
                <a:gd name="T7" fmla="*/ 0 h 271"/>
                <a:gd name="T8" fmla="*/ 0 w 365"/>
                <a:gd name="T9" fmla="*/ 0 h 271"/>
                <a:gd name="T10" fmla="*/ 0 w 365"/>
                <a:gd name="T11" fmla="*/ 0 h 271"/>
                <a:gd name="T12" fmla="*/ 0 w 365"/>
                <a:gd name="T13" fmla="*/ 0 h 271"/>
                <a:gd name="T14" fmla="*/ 0 w 365"/>
                <a:gd name="T15" fmla="*/ 0 h 271"/>
                <a:gd name="T16" fmla="*/ 0 w 365"/>
                <a:gd name="T17" fmla="*/ 0 h 271"/>
                <a:gd name="T18" fmla="*/ 0 w 365"/>
                <a:gd name="T19" fmla="*/ 0 h 271"/>
                <a:gd name="T20" fmla="*/ 0 w 365"/>
                <a:gd name="T21" fmla="*/ 0 h 271"/>
                <a:gd name="T22" fmla="*/ 0 w 365"/>
                <a:gd name="T23" fmla="*/ 0 h 271"/>
                <a:gd name="T24" fmla="*/ 0 w 365"/>
                <a:gd name="T25" fmla="*/ 0 h 271"/>
                <a:gd name="T26" fmla="*/ 0 w 365"/>
                <a:gd name="T27" fmla="*/ 0 h 271"/>
                <a:gd name="T28" fmla="*/ 0 w 365"/>
                <a:gd name="T29" fmla="*/ 0 h 271"/>
                <a:gd name="T30" fmla="*/ 0 w 365"/>
                <a:gd name="T31" fmla="*/ 0 h 271"/>
                <a:gd name="T32" fmla="*/ 0 w 365"/>
                <a:gd name="T33" fmla="*/ 0 h 271"/>
                <a:gd name="T34" fmla="*/ 0 w 365"/>
                <a:gd name="T35" fmla="*/ 0 h 271"/>
                <a:gd name="T36" fmla="*/ 0 w 365"/>
                <a:gd name="T37" fmla="*/ 0 h 271"/>
                <a:gd name="T38" fmla="*/ 0 w 365"/>
                <a:gd name="T39" fmla="*/ 0 h 271"/>
                <a:gd name="T40" fmla="*/ 0 w 365"/>
                <a:gd name="T41" fmla="*/ 0 h 271"/>
                <a:gd name="T42" fmla="*/ 0 w 365"/>
                <a:gd name="T43" fmla="*/ 0 h 271"/>
                <a:gd name="T44" fmla="*/ 0 w 365"/>
                <a:gd name="T45" fmla="*/ 0 h 271"/>
                <a:gd name="T46" fmla="*/ 0 w 365"/>
                <a:gd name="T47" fmla="*/ 0 h 271"/>
                <a:gd name="T48" fmla="*/ 0 w 365"/>
                <a:gd name="T49" fmla="*/ 0 h 271"/>
                <a:gd name="T50" fmla="*/ 0 w 365"/>
                <a:gd name="T51" fmla="*/ 0 h 271"/>
                <a:gd name="T52" fmla="*/ 0 w 365"/>
                <a:gd name="T53" fmla="*/ 0 h 271"/>
                <a:gd name="T54" fmla="*/ 0 w 365"/>
                <a:gd name="T55" fmla="*/ 0 h 271"/>
                <a:gd name="T56" fmla="*/ 0 w 365"/>
                <a:gd name="T57" fmla="*/ 0 h 271"/>
                <a:gd name="T58" fmla="*/ 0 w 365"/>
                <a:gd name="T59" fmla="*/ 0 h 271"/>
                <a:gd name="T60" fmla="*/ 0 w 365"/>
                <a:gd name="T61" fmla="*/ 0 h 271"/>
                <a:gd name="T62" fmla="*/ 0 w 365"/>
                <a:gd name="T63" fmla="*/ 0 h 271"/>
                <a:gd name="T64" fmla="*/ 0 w 365"/>
                <a:gd name="T65" fmla="*/ 0 h 271"/>
                <a:gd name="T66" fmla="*/ 0 w 365"/>
                <a:gd name="T67" fmla="*/ 0 h 271"/>
                <a:gd name="T68" fmla="*/ 0 w 365"/>
                <a:gd name="T69" fmla="*/ 0 h 271"/>
                <a:gd name="T70" fmla="*/ 0 w 365"/>
                <a:gd name="T71" fmla="*/ 0 h 271"/>
                <a:gd name="T72" fmla="*/ 0 w 365"/>
                <a:gd name="T73" fmla="*/ 0 h 271"/>
                <a:gd name="T74" fmla="*/ 0 w 365"/>
                <a:gd name="T75" fmla="*/ 0 h 271"/>
                <a:gd name="T76" fmla="*/ 0 w 365"/>
                <a:gd name="T77" fmla="*/ 0 h 271"/>
                <a:gd name="T78" fmla="*/ 0 w 365"/>
                <a:gd name="T79" fmla="*/ 0 h 271"/>
                <a:gd name="T80" fmla="*/ 0 w 365"/>
                <a:gd name="T81" fmla="*/ 0 h 271"/>
                <a:gd name="T82" fmla="*/ 0 w 365"/>
                <a:gd name="T83" fmla="*/ 0 h 271"/>
                <a:gd name="T84" fmla="*/ 0 w 365"/>
                <a:gd name="T85" fmla="*/ 0 h 271"/>
                <a:gd name="T86" fmla="*/ 0 w 365"/>
                <a:gd name="T87" fmla="*/ 0 h 271"/>
                <a:gd name="T88" fmla="*/ 0 w 365"/>
                <a:gd name="T89" fmla="*/ 0 h 271"/>
                <a:gd name="T90" fmla="*/ 0 w 365"/>
                <a:gd name="T91" fmla="*/ 0 h 271"/>
                <a:gd name="T92" fmla="*/ 0 w 365"/>
                <a:gd name="T93" fmla="*/ 0 h 271"/>
                <a:gd name="T94" fmla="*/ 0 w 365"/>
                <a:gd name="T95" fmla="*/ 0 h 271"/>
                <a:gd name="T96" fmla="*/ 0 w 365"/>
                <a:gd name="T97" fmla="*/ 0 h 271"/>
                <a:gd name="T98" fmla="*/ 0 w 365"/>
                <a:gd name="T99" fmla="*/ 0 h 271"/>
                <a:gd name="T100" fmla="*/ 0 w 365"/>
                <a:gd name="T101" fmla="*/ 0 h 271"/>
                <a:gd name="T102" fmla="*/ 0 w 365"/>
                <a:gd name="T103" fmla="*/ 0 h 271"/>
                <a:gd name="T104" fmla="*/ 0 w 365"/>
                <a:gd name="T105" fmla="*/ 0 h 271"/>
                <a:gd name="T106" fmla="*/ 0 w 365"/>
                <a:gd name="T107" fmla="*/ 0 h 271"/>
                <a:gd name="T108" fmla="*/ 0 w 365"/>
                <a:gd name="T109" fmla="*/ 0 h 271"/>
                <a:gd name="T110" fmla="*/ 0 w 365"/>
                <a:gd name="T111" fmla="*/ 0 h 271"/>
                <a:gd name="T112" fmla="*/ 0 w 365"/>
                <a:gd name="T113" fmla="*/ 0 h 271"/>
                <a:gd name="T114" fmla="*/ 0 w 365"/>
                <a:gd name="T115" fmla="*/ 0 h 271"/>
                <a:gd name="T116" fmla="*/ 0 w 365"/>
                <a:gd name="T117" fmla="*/ 0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65"/>
                <a:gd name="T178" fmla="*/ 0 h 271"/>
                <a:gd name="T179" fmla="*/ 365 w 365"/>
                <a:gd name="T180" fmla="*/ 271 h 27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70" name="Freeform 1046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3241" y="2328"/>
              <a:ext cx="185" cy="211"/>
            </a:xfrm>
            <a:custGeom>
              <a:avLst/>
              <a:gdLst>
                <a:gd name="T0" fmla="*/ 0 w 624"/>
                <a:gd name="T1" fmla="*/ 0 h 640"/>
                <a:gd name="T2" fmla="*/ 0 w 624"/>
                <a:gd name="T3" fmla="*/ 0 h 640"/>
                <a:gd name="T4" fmla="*/ 0 w 624"/>
                <a:gd name="T5" fmla="*/ 0 h 640"/>
                <a:gd name="T6" fmla="*/ 0 w 624"/>
                <a:gd name="T7" fmla="*/ 0 h 640"/>
                <a:gd name="T8" fmla="*/ 0 w 624"/>
                <a:gd name="T9" fmla="*/ 0 h 640"/>
                <a:gd name="T10" fmla="*/ 0 w 624"/>
                <a:gd name="T11" fmla="*/ 0 h 640"/>
                <a:gd name="T12" fmla="*/ 0 w 624"/>
                <a:gd name="T13" fmla="*/ 0 h 640"/>
                <a:gd name="T14" fmla="*/ 0 w 624"/>
                <a:gd name="T15" fmla="*/ 0 h 640"/>
                <a:gd name="T16" fmla="*/ 0 w 624"/>
                <a:gd name="T17" fmla="*/ 0 h 640"/>
                <a:gd name="T18" fmla="*/ 0 w 624"/>
                <a:gd name="T19" fmla="*/ 0 h 640"/>
                <a:gd name="T20" fmla="*/ 0 w 624"/>
                <a:gd name="T21" fmla="*/ 0 h 640"/>
                <a:gd name="T22" fmla="*/ 0 w 624"/>
                <a:gd name="T23" fmla="*/ 0 h 640"/>
                <a:gd name="T24" fmla="*/ 0 w 624"/>
                <a:gd name="T25" fmla="*/ 0 h 640"/>
                <a:gd name="T26" fmla="*/ 0 w 624"/>
                <a:gd name="T27" fmla="*/ 0 h 640"/>
                <a:gd name="T28" fmla="*/ 0 w 624"/>
                <a:gd name="T29" fmla="*/ 0 h 640"/>
                <a:gd name="T30" fmla="*/ 0 w 624"/>
                <a:gd name="T31" fmla="*/ 0 h 640"/>
                <a:gd name="T32" fmla="*/ 0 w 624"/>
                <a:gd name="T33" fmla="*/ 0 h 640"/>
                <a:gd name="T34" fmla="*/ 0 w 624"/>
                <a:gd name="T35" fmla="*/ 0 h 640"/>
                <a:gd name="T36" fmla="*/ 0 w 624"/>
                <a:gd name="T37" fmla="*/ 0 h 640"/>
                <a:gd name="T38" fmla="*/ 0 w 624"/>
                <a:gd name="T39" fmla="*/ 0 h 640"/>
                <a:gd name="T40" fmla="*/ 0 w 624"/>
                <a:gd name="T41" fmla="*/ 0 h 640"/>
                <a:gd name="T42" fmla="*/ 0 w 624"/>
                <a:gd name="T43" fmla="*/ 0 h 640"/>
                <a:gd name="T44" fmla="*/ 0 w 624"/>
                <a:gd name="T45" fmla="*/ 0 h 640"/>
                <a:gd name="T46" fmla="*/ 0 w 624"/>
                <a:gd name="T47" fmla="*/ 0 h 640"/>
                <a:gd name="T48" fmla="*/ 0 w 624"/>
                <a:gd name="T49" fmla="*/ 0 h 640"/>
                <a:gd name="T50" fmla="*/ 0 w 624"/>
                <a:gd name="T51" fmla="*/ 0 h 640"/>
                <a:gd name="T52" fmla="*/ 0 w 624"/>
                <a:gd name="T53" fmla="*/ 0 h 640"/>
                <a:gd name="T54" fmla="*/ 0 w 624"/>
                <a:gd name="T55" fmla="*/ 0 h 640"/>
                <a:gd name="T56" fmla="*/ 0 w 624"/>
                <a:gd name="T57" fmla="*/ 0 h 640"/>
                <a:gd name="T58" fmla="*/ 0 w 624"/>
                <a:gd name="T59" fmla="*/ 0 h 640"/>
                <a:gd name="T60" fmla="*/ 0 w 624"/>
                <a:gd name="T61" fmla="*/ 0 h 640"/>
                <a:gd name="T62" fmla="*/ 0 w 624"/>
                <a:gd name="T63" fmla="*/ 0 h 640"/>
                <a:gd name="T64" fmla="*/ 0 w 624"/>
                <a:gd name="T65" fmla="*/ 0 h 640"/>
                <a:gd name="T66" fmla="*/ 0 w 624"/>
                <a:gd name="T67" fmla="*/ 0 h 640"/>
                <a:gd name="T68" fmla="*/ 0 w 624"/>
                <a:gd name="T69" fmla="*/ 0 h 640"/>
                <a:gd name="T70" fmla="*/ 0 w 624"/>
                <a:gd name="T71" fmla="*/ 0 h 640"/>
                <a:gd name="T72" fmla="*/ 0 w 624"/>
                <a:gd name="T73" fmla="*/ 0 h 640"/>
                <a:gd name="T74" fmla="*/ 0 w 624"/>
                <a:gd name="T75" fmla="*/ 0 h 640"/>
                <a:gd name="T76" fmla="*/ 0 w 624"/>
                <a:gd name="T77" fmla="*/ 0 h 640"/>
                <a:gd name="T78" fmla="*/ 0 w 624"/>
                <a:gd name="T79" fmla="*/ 0 h 640"/>
                <a:gd name="T80" fmla="*/ 0 w 624"/>
                <a:gd name="T81" fmla="*/ 0 h 640"/>
                <a:gd name="T82" fmla="*/ 0 w 624"/>
                <a:gd name="T83" fmla="*/ 0 h 640"/>
                <a:gd name="T84" fmla="*/ 0 w 624"/>
                <a:gd name="T85" fmla="*/ 0 h 640"/>
                <a:gd name="T86" fmla="*/ 0 w 624"/>
                <a:gd name="T87" fmla="*/ 0 h 640"/>
                <a:gd name="T88" fmla="*/ 0 w 624"/>
                <a:gd name="T89" fmla="*/ 0 h 640"/>
                <a:gd name="T90" fmla="*/ 0 w 624"/>
                <a:gd name="T91" fmla="*/ 0 h 640"/>
                <a:gd name="T92" fmla="*/ 0 w 624"/>
                <a:gd name="T93" fmla="*/ 0 h 640"/>
                <a:gd name="T94" fmla="*/ 0 w 624"/>
                <a:gd name="T95" fmla="*/ 0 h 640"/>
                <a:gd name="T96" fmla="*/ 0 w 624"/>
                <a:gd name="T97" fmla="*/ 0 h 640"/>
                <a:gd name="T98" fmla="*/ 0 w 624"/>
                <a:gd name="T99" fmla="*/ 0 h 640"/>
                <a:gd name="T100" fmla="*/ 0 w 624"/>
                <a:gd name="T101" fmla="*/ 0 h 640"/>
                <a:gd name="T102" fmla="*/ 0 w 624"/>
                <a:gd name="T103" fmla="*/ 0 h 640"/>
                <a:gd name="T104" fmla="*/ 0 w 624"/>
                <a:gd name="T105" fmla="*/ 0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24"/>
                <a:gd name="T160" fmla="*/ 0 h 640"/>
                <a:gd name="T161" fmla="*/ 624 w 624"/>
                <a:gd name="T162" fmla="*/ 640 h 6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71" name="Freeform 1047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4991" y="1392"/>
              <a:ext cx="13" cy="36"/>
            </a:xfrm>
            <a:custGeom>
              <a:avLst/>
              <a:gdLst>
                <a:gd name="T0" fmla="*/ 0 w 52"/>
                <a:gd name="T1" fmla="*/ 1 h 50"/>
                <a:gd name="T2" fmla="*/ 0 w 52"/>
                <a:gd name="T3" fmla="*/ 1 h 50"/>
                <a:gd name="T4" fmla="*/ 0 w 52"/>
                <a:gd name="T5" fmla="*/ 1 h 50"/>
                <a:gd name="T6" fmla="*/ 0 w 52"/>
                <a:gd name="T7" fmla="*/ 1 h 50"/>
                <a:gd name="T8" fmla="*/ 0 w 52"/>
                <a:gd name="T9" fmla="*/ 1 h 50"/>
                <a:gd name="T10" fmla="*/ 0 w 52"/>
                <a:gd name="T11" fmla="*/ 1 h 50"/>
                <a:gd name="T12" fmla="*/ 0 w 52"/>
                <a:gd name="T13" fmla="*/ 1 h 50"/>
                <a:gd name="T14" fmla="*/ 0 w 52"/>
                <a:gd name="T15" fmla="*/ 1 h 50"/>
                <a:gd name="T16" fmla="*/ 0 w 52"/>
                <a:gd name="T17" fmla="*/ 1 h 50"/>
                <a:gd name="T18" fmla="*/ 0 w 52"/>
                <a:gd name="T19" fmla="*/ 0 h 50"/>
                <a:gd name="T20" fmla="*/ 0 w 52"/>
                <a:gd name="T21" fmla="*/ 1 h 50"/>
                <a:gd name="T22" fmla="*/ 0 w 52"/>
                <a:gd name="T23" fmla="*/ 1 h 50"/>
                <a:gd name="T24" fmla="*/ 0 w 52"/>
                <a:gd name="T25" fmla="*/ 1 h 50"/>
                <a:gd name="T26" fmla="*/ 0 w 52"/>
                <a:gd name="T27" fmla="*/ 1 h 50"/>
                <a:gd name="T28" fmla="*/ 0 w 52"/>
                <a:gd name="T29" fmla="*/ 1 h 50"/>
                <a:gd name="T30" fmla="*/ 0 w 52"/>
                <a:gd name="T31" fmla="*/ 1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"/>
                <a:gd name="T49" fmla="*/ 0 h 50"/>
                <a:gd name="T50" fmla="*/ 52 w 52"/>
                <a:gd name="T51" fmla="*/ 50 h 5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72" name="Freeform 1048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4895" y="1393"/>
              <a:ext cx="96" cy="79"/>
            </a:xfrm>
            <a:custGeom>
              <a:avLst/>
              <a:gdLst>
                <a:gd name="T0" fmla="*/ 0 w 320"/>
                <a:gd name="T1" fmla="*/ 0 h 234"/>
                <a:gd name="T2" fmla="*/ 0 w 320"/>
                <a:gd name="T3" fmla="*/ 0 h 234"/>
                <a:gd name="T4" fmla="*/ 0 w 320"/>
                <a:gd name="T5" fmla="*/ 0 h 234"/>
                <a:gd name="T6" fmla="*/ 0 w 320"/>
                <a:gd name="T7" fmla="*/ 0 h 234"/>
                <a:gd name="T8" fmla="*/ 0 w 320"/>
                <a:gd name="T9" fmla="*/ 0 h 234"/>
                <a:gd name="T10" fmla="*/ 0 w 320"/>
                <a:gd name="T11" fmla="*/ 0 h 234"/>
                <a:gd name="T12" fmla="*/ 0 w 320"/>
                <a:gd name="T13" fmla="*/ 0 h 234"/>
                <a:gd name="T14" fmla="*/ 0 w 320"/>
                <a:gd name="T15" fmla="*/ 0 h 234"/>
                <a:gd name="T16" fmla="*/ 0 w 320"/>
                <a:gd name="T17" fmla="*/ 0 h 234"/>
                <a:gd name="T18" fmla="*/ 0 w 320"/>
                <a:gd name="T19" fmla="*/ 0 h 234"/>
                <a:gd name="T20" fmla="*/ 0 w 320"/>
                <a:gd name="T21" fmla="*/ 0 h 234"/>
                <a:gd name="T22" fmla="*/ 0 w 320"/>
                <a:gd name="T23" fmla="*/ 0 h 234"/>
                <a:gd name="T24" fmla="*/ 0 w 320"/>
                <a:gd name="T25" fmla="*/ 0 h 234"/>
                <a:gd name="T26" fmla="*/ 0 w 320"/>
                <a:gd name="T27" fmla="*/ 0 h 234"/>
                <a:gd name="T28" fmla="*/ 0 w 320"/>
                <a:gd name="T29" fmla="*/ 0 h 234"/>
                <a:gd name="T30" fmla="*/ 0 w 320"/>
                <a:gd name="T31" fmla="*/ 0 h 234"/>
                <a:gd name="T32" fmla="*/ 0 w 320"/>
                <a:gd name="T33" fmla="*/ 0 h 234"/>
                <a:gd name="T34" fmla="*/ 0 w 320"/>
                <a:gd name="T35" fmla="*/ 0 h 234"/>
                <a:gd name="T36" fmla="*/ 0 w 320"/>
                <a:gd name="T37" fmla="*/ 0 h 234"/>
                <a:gd name="T38" fmla="*/ 0 w 320"/>
                <a:gd name="T39" fmla="*/ 0 h 234"/>
                <a:gd name="T40" fmla="*/ 0 w 320"/>
                <a:gd name="T41" fmla="*/ 0 h 234"/>
                <a:gd name="T42" fmla="*/ 0 w 320"/>
                <a:gd name="T43" fmla="*/ 0 h 234"/>
                <a:gd name="T44" fmla="*/ 0 w 320"/>
                <a:gd name="T45" fmla="*/ 0 h 234"/>
                <a:gd name="T46" fmla="*/ 0 w 320"/>
                <a:gd name="T47" fmla="*/ 0 h 234"/>
                <a:gd name="T48" fmla="*/ 0 w 320"/>
                <a:gd name="T49" fmla="*/ 0 h 234"/>
                <a:gd name="T50" fmla="*/ 0 w 320"/>
                <a:gd name="T51" fmla="*/ 0 h 234"/>
                <a:gd name="T52" fmla="*/ 0 w 320"/>
                <a:gd name="T53" fmla="*/ 0 h 234"/>
                <a:gd name="T54" fmla="*/ 0 w 320"/>
                <a:gd name="T55" fmla="*/ 0 h 234"/>
                <a:gd name="T56" fmla="*/ 0 w 320"/>
                <a:gd name="T57" fmla="*/ 0 h 234"/>
                <a:gd name="T58" fmla="*/ 0 w 320"/>
                <a:gd name="T59" fmla="*/ 0 h 234"/>
                <a:gd name="T60" fmla="*/ 0 w 320"/>
                <a:gd name="T61" fmla="*/ 0 h 234"/>
                <a:gd name="T62" fmla="*/ 0 w 320"/>
                <a:gd name="T63" fmla="*/ 0 h 234"/>
                <a:gd name="T64" fmla="*/ 0 w 320"/>
                <a:gd name="T65" fmla="*/ 0 h 234"/>
                <a:gd name="T66" fmla="*/ 0 w 320"/>
                <a:gd name="T67" fmla="*/ 0 h 234"/>
                <a:gd name="T68" fmla="*/ 0 w 320"/>
                <a:gd name="T69" fmla="*/ 0 h 234"/>
                <a:gd name="T70" fmla="*/ 0 w 320"/>
                <a:gd name="T71" fmla="*/ 0 h 234"/>
                <a:gd name="T72" fmla="*/ 0 w 320"/>
                <a:gd name="T73" fmla="*/ 0 h 234"/>
                <a:gd name="T74" fmla="*/ 0 w 320"/>
                <a:gd name="T75" fmla="*/ 0 h 234"/>
                <a:gd name="T76" fmla="*/ 0 w 320"/>
                <a:gd name="T77" fmla="*/ 0 h 234"/>
                <a:gd name="T78" fmla="*/ 0 w 320"/>
                <a:gd name="T79" fmla="*/ 0 h 234"/>
                <a:gd name="T80" fmla="*/ 0 w 320"/>
                <a:gd name="T81" fmla="*/ 0 h 234"/>
                <a:gd name="T82" fmla="*/ 0 w 320"/>
                <a:gd name="T83" fmla="*/ 0 h 234"/>
                <a:gd name="T84" fmla="*/ 0 w 320"/>
                <a:gd name="T85" fmla="*/ 0 h 234"/>
                <a:gd name="T86" fmla="*/ 0 w 320"/>
                <a:gd name="T87" fmla="*/ 0 h 234"/>
                <a:gd name="T88" fmla="*/ 0 w 320"/>
                <a:gd name="T89" fmla="*/ 0 h 234"/>
                <a:gd name="T90" fmla="*/ 0 w 320"/>
                <a:gd name="T91" fmla="*/ 0 h 234"/>
                <a:gd name="T92" fmla="*/ 0 w 320"/>
                <a:gd name="T93" fmla="*/ 0 h 234"/>
                <a:gd name="T94" fmla="*/ 0 w 320"/>
                <a:gd name="T95" fmla="*/ 0 h 234"/>
                <a:gd name="T96" fmla="*/ 0 w 320"/>
                <a:gd name="T97" fmla="*/ 0 h 234"/>
                <a:gd name="T98" fmla="*/ 0 w 320"/>
                <a:gd name="T99" fmla="*/ 0 h 234"/>
                <a:gd name="T100" fmla="*/ 0 w 320"/>
                <a:gd name="T101" fmla="*/ 0 h 234"/>
                <a:gd name="T102" fmla="*/ 0 w 320"/>
                <a:gd name="T103" fmla="*/ 0 h 234"/>
                <a:gd name="T104" fmla="*/ 0 w 320"/>
                <a:gd name="T105" fmla="*/ 0 h 234"/>
                <a:gd name="T106" fmla="*/ 0 w 320"/>
                <a:gd name="T107" fmla="*/ 0 h 234"/>
                <a:gd name="T108" fmla="*/ 0 w 320"/>
                <a:gd name="T109" fmla="*/ 0 h 234"/>
                <a:gd name="T110" fmla="*/ 0 w 320"/>
                <a:gd name="T111" fmla="*/ 0 h 234"/>
                <a:gd name="T112" fmla="*/ 0 w 320"/>
                <a:gd name="T113" fmla="*/ 0 h 234"/>
                <a:gd name="T114" fmla="*/ 0 w 320"/>
                <a:gd name="T115" fmla="*/ 0 h 234"/>
                <a:gd name="T116" fmla="*/ 0 w 320"/>
                <a:gd name="T117" fmla="*/ 0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20"/>
                <a:gd name="T178" fmla="*/ 0 h 234"/>
                <a:gd name="T179" fmla="*/ 320 w 320"/>
                <a:gd name="T180" fmla="*/ 234 h 23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73" name="Freeform 1049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4874" y="1616"/>
              <a:ext cx="36" cy="36"/>
            </a:xfrm>
            <a:custGeom>
              <a:avLst/>
              <a:gdLst>
                <a:gd name="T0" fmla="*/ 0 w 125"/>
                <a:gd name="T1" fmla="*/ 0 h 93"/>
                <a:gd name="T2" fmla="*/ 0 w 125"/>
                <a:gd name="T3" fmla="*/ 0 h 93"/>
                <a:gd name="T4" fmla="*/ 0 w 125"/>
                <a:gd name="T5" fmla="*/ 0 h 93"/>
                <a:gd name="T6" fmla="*/ 0 w 125"/>
                <a:gd name="T7" fmla="*/ 0 h 93"/>
                <a:gd name="T8" fmla="*/ 0 w 125"/>
                <a:gd name="T9" fmla="*/ 0 h 93"/>
                <a:gd name="T10" fmla="*/ 0 w 125"/>
                <a:gd name="T11" fmla="*/ 0 h 93"/>
                <a:gd name="T12" fmla="*/ 0 w 125"/>
                <a:gd name="T13" fmla="*/ 0 h 93"/>
                <a:gd name="T14" fmla="*/ 0 w 125"/>
                <a:gd name="T15" fmla="*/ 0 h 93"/>
                <a:gd name="T16" fmla="*/ 0 w 125"/>
                <a:gd name="T17" fmla="*/ 0 h 93"/>
                <a:gd name="T18" fmla="*/ 0 w 125"/>
                <a:gd name="T19" fmla="*/ 0 h 93"/>
                <a:gd name="T20" fmla="*/ 0 w 125"/>
                <a:gd name="T21" fmla="*/ 0 h 93"/>
                <a:gd name="T22" fmla="*/ 0 w 125"/>
                <a:gd name="T23" fmla="*/ 0 h 93"/>
                <a:gd name="T24" fmla="*/ 0 w 125"/>
                <a:gd name="T25" fmla="*/ 0 h 93"/>
                <a:gd name="T26" fmla="*/ 0 w 125"/>
                <a:gd name="T27" fmla="*/ 0 h 93"/>
                <a:gd name="T28" fmla="*/ 0 w 125"/>
                <a:gd name="T29" fmla="*/ 0 h 93"/>
                <a:gd name="T30" fmla="*/ 0 w 125"/>
                <a:gd name="T31" fmla="*/ 0 h 93"/>
                <a:gd name="T32" fmla="*/ 0 w 125"/>
                <a:gd name="T33" fmla="*/ 0 h 93"/>
                <a:gd name="T34" fmla="*/ 0 w 125"/>
                <a:gd name="T35" fmla="*/ 0 h 93"/>
                <a:gd name="T36" fmla="*/ 0 w 125"/>
                <a:gd name="T37" fmla="*/ 0 h 93"/>
                <a:gd name="T38" fmla="*/ 0 w 125"/>
                <a:gd name="T39" fmla="*/ 0 h 93"/>
                <a:gd name="T40" fmla="*/ 0 w 125"/>
                <a:gd name="T41" fmla="*/ 0 h 93"/>
                <a:gd name="T42" fmla="*/ 0 w 125"/>
                <a:gd name="T43" fmla="*/ 0 h 93"/>
                <a:gd name="T44" fmla="*/ 0 w 125"/>
                <a:gd name="T45" fmla="*/ 0 h 93"/>
                <a:gd name="T46" fmla="*/ 0 w 125"/>
                <a:gd name="T47" fmla="*/ 0 h 93"/>
                <a:gd name="T48" fmla="*/ 0 w 125"/>
                <a:gd name="T49" fmla="*/ 0 h 93"/>
                <a:gd name="T50" fmla="*/ 0 w 125"/>
                <a:gd name="T51" fmla="*/ 0 h 93"/>
                <a:gd name="T52" fmla="*/ 0 w 125"/>
                <a:gd name="T53" fmla="*/ 0 h 93"/>
                <a:gd name="T54" fmla="*/ 0 w 125"/>
                <a:gd name="T55" fmla="*/ 0 h 93"/>
                <a:gd name="T56" fmla="*/ 0 w 125"/>
                <a:gd name="T57" fmla="*/ 0 h 93"/>
                <a:gd name="T58" fmla="*/ 0 w 125"/>
                <a:gd name="T59" fmla="*/ 0 h 93"/>
                <a:gd name="T60" fmla="*/ 0 w 125"/>
                <a:gd name="T61" fmla="*/ 0 h 93"/>
                <a:gd name="T62" fmla="*/ 0 w 125"/>
                <a:gd name="T63" fmla="*/ 0 h 93"/>
                <a:gd name="T64" fmla="*/ 0 w 125"/>
                <a:gd name="T65" fmla="*/ 0 h 93"/>
                <a:gd name="T66" fmla="*/ 0 w 125"/>
                <a:gd name="T67" fmla="*/ 0 h 93"/>
                <a:gd name="T68" fmla="*/ 0 w 125"/>
                <a:gd name="T69" fmla="*/ 0 h 93"/>
                <a:gd name="T70" fmla="*/ 0 w 125"/>
                <a:gd name="T71" fmla="*/ 0 h 93"/>
                <a:gd name="T72" fmla="*/ 0 w 125"/>
                <a:gd name="T73" fmla="*/ 0 h 93"/>
                <a:gd name="T74" fmla="*/ 0 w 125"/>
                <a:gd name="T75" fmla="*/ 0 h 93"/>
                <a:gd name="T76" fmla="*/ 0 w 125"/>
                <a:gd name="T77" fmla="*/ 0 h 93"/>
                <a:gd name="T78" fmla="*/ 0 w 125"/>
                <a:gd name="T79" fmla="*/ 0 h 93"/>
                <a:gd name="T80" fmla="*/ 0 w 125"/>
                <a:gd name="T81" fmla="*/ 0 h 93"/>
                <a:gd name="T82" fmla="*/ 0 w 125"/>
                <a:gd name="T83" fmla="*/ 0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25"/>
                <a:gd name="T127" fmla="*/ 0 h 93"/>
                <a:gd name="T128" fmla="*/ 125 w 125"/>
                <a:gd name="T129" fmla="*/ 93 h 9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74" name="Freeform 1050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4837" y="1625"/>
              <a:ext cx="41" cy="53"/>
            </a:xfrm>
            <a:custGeom>
              <a:avLst/>
              <a:gdLst>
                <a:gd name="T0" fmla="*/ 0 w 133"/>
                <a:gd name="T1" fmla="*/ 0 h 154"/>
                <a:gd name="T2" fmla="*/ 0 w 133"/>
                <a:gd name="T3" fmla="*/ 0 h 154"/>
                <a:gd name="T4" fmla="*/ 0 w 133"/>
                <a:gd name="T5" fmla="*/ 0 h 154"/>
                <a:gd name="T6" fmla="*/ 0 w 133"/>
                <a:gd name="T7" fmla="*/ 0 h 154"/>
                <a:gd name="T8" fmla="*/ 0 w 133"/>
                <a:gd name="T9" fmla="*/ 0 h 154"/>
                <a:gd name="T10" fmla="*/ 0 w 133"/>
                <a:gd name="T11" fmla="*/ 0 h 154"/>
                <a:gd name="T12" fmla="*/ 0 w 133"/>
                <a:gd name="T13" fmla="*/ 0 h 154"/>
                <a:gd name="T14" fmla="*/ 0 w 133"/>
                <a:gd name="T15" fmla="*/ 0 h 154"/>
                <a:gd name="T16" fmla="*/ 0 w 133"/>
                <a:gd name="T17" fmla="*/ 0 h 154"/>
                <a:gd name="T18" fmla="*/ 0 w 133"/>
                <a:gd name="T19" fmla="*/ 0 h 154"/>
                <a:gd name="T20" fmla="*/ 0 w 133"/>
                <a:gd name="T21" fmla="*/ 0 h 154"/>
                <a:gd name="T22" fmla="*/ 0 w 133"/>
                <a:gd name="T23" fmla="*/ 0 h 154"/>
                <a:gd name="T24" fmla="*/ 0 w 133"/>
                <a:gd name="T25" fmla="*/ 0 h 154"/>
                <a:gd name="T26" fmla="*/ 0 w 133"/>
                <a:gd name="T27" fmla="*/ 0 h 154"/>
                <a:gd name="T28" fmla="*/ 0 w 133"/>
                <a:gd name="T29" fmla="*/ 0 h 154"/>
                <a:gd name="T30" fmla="*/ 0 w 133"/>
                <a:gd name="T31" fmla="*/ 0 h 154"/>
                <a:gd name="T32" fmla="*/ 0 w 133"/>
                <a:gd name="T33" fmla="*/ 0 h 154"/>
                <a:gd name="T34" fmla="*/ 0 w 133"/>
                <a:gd name="T35" fmla="*/ 0 h 154"/>
                <a:gd name="T36" fmla="*/ 0 w 133"/>
                <a:gd name="T37" fmla="*/ 0 h 154"/>
                <a:gd name="T38" fmla="*/ 0 w 133"/>
                <a:gd name="T39" fmla="*/ 0 h 154"/>
                <a:gd name="T40" fmla="*/ 0 w 133"/>
                <a:gd name="T41" fmla="*/ 0 h 154"/>
                <a:gd name="T42" fmla="*/ 0 w 133"/>
                <a:gd name="T43" fmla="*/ 0 h 154"/>
                <a:gd name="T44" fmla="*/ 0 w 133"/>
                <a:gd name="T45" fmla="*/ 0 h 154"/>
                <a:gd name="T46" fmla="*/ 0 w 133"/>
                <a:gd name="T47" fmla="*/ 0 h 154"/>
                <a:gd name="T48" fmla="*/ 0 w 133"/>
                <a:gd name="T49" fmla="*/ 0 h 154"/>
                <a:gd name="T50" fmla="*/ 0 w 133"/>
                <a:gd name="T51" fmla="*/ 0 h 154"/>
                <a:gd name="T52" fmla="*/ 0 w 133"/>
                <a:gd name="T53" fmla="*/ 0 h 154"/>
                <a:gd name="T54" fmla="*/ 0 w 133"/>
                <a:gd name="T55" fmla="*/ 0 h 154"/>
                <a:gd name="T56" fmla="*/ 0 w 133"/>
                <a:gd name="T57" fmla="*/ 0 h 154"/>
                <a:gd name="T58" fmla="*/ 0 w 133"/>
                <a:gd name="T59" fmla="*/ 0 h 154"/>
                <a:gd name="T60" fmla="*/ 0 w 133"/>
                <a:gd name="T61" fmla="*/ 0 h 154"/>
                <a:gd name="T62" fmla="*/ 0 w 133"/>
                <a:gd name="T63" fmla="*/ 0 h 154"/>
                <a:gd name="T64" fmla="*/ 0 w 133"/>
                <a:gd name="T65" fmla="*/ 0 h 154"/>
                <a:gd name="T66" fmla="*/ 0 w 133"/>
                <a:gd name="T67" fmla="*/ 0 h 154"/>
                <a:gd name="T68" fmla="*/ 0 w 133"/>
                <a:gd name="T69" fmla="*/ 0 h 154"/>
                <a:gd name="T70" fmla="*/ 0 w 133"/>
                <a:gd name="T71" fmla="*/ 0 h 154"/>
                <a:gd name="T72" fmla="*/ 0 w 133"/>
                <a:gd name="T73" fmla="*/ 0 h 154"/>
                <a:gd name="T74" fmla="*/ 0 w 133"/>
                <a:gd name="T75" fmla="*/ 0 h 154"/>
                <a:gd name="T76" fmla="*/ 0 w 133"/>
                <a:gd name="T77" fmla="*/ 0 h 154"/>
                <a:gd name="T78" fmla="*/ 0 w 133"/>
                <a:gd name="T79" fmla="*/ 0 h 154"/>
                <a:gd name="T80" fmla="*/ 0 w 133"/>
                <a:gd name="T81" fmla="*/ 0 h 154"/>
                <a:gd name="T82" fmla="*/ 0 w 133"/>
                <a:gd name="T83" fmla="*/ 0 h 154"/>
                <a:gd name="T84" fmla="*/ 0 w 133"/>
                <a:gd name="T85" fmla="*/ 0 h 154"/>
                <a:gd name="T86" fmla="*/ 0 w 133"/>
                <a:gd name="T87" fmla="*/ 0 h 154"/>
                <a:gd name="T88" fmla="*/ 0 w 133"/>
                <a:gd name="T89" fmla="*/ 0 h 154"/>
                <a:gd name="T90" fmla="*/ 0 w 133"/>
                <a:gd name="T91" fmla="*/ 0 h 154"/>
                <a:gd name="T92" fmla="*/ 0 w 133"/>
                <a:gd name="T93" fmla="*/ 0 h 154"/>
                <a:gd name="T94" fmla="*/ 0 w 133"/>
                <a:gd name="T95" fmla="*/ 0 h 154"/>
                <a:gd name="T96" fmla="*/ 0 w 133"/>
                <a:gd name="T97" fmla="*/ 0 h 154"/>
                <a:gd name="T98" fmla="*/ 0 w 133"/>
                <a:gd name="T99" fmla="*/ 0 h 154"/>
                <a:gd name="T100" fmla="*/ 0 w 133"/>
                <a:gd name="T101" fmla="*/ 0 h 154"/>
                <a:gd name="T102" fmla="*/ 0 w 133"/>
                <a:gd name="T103" fmla="*/ 0 h 154"/>
                <a:gd name="T104" fmla="*/ 0 w 133"/>
                <a:gd name="T105" fmla="*/ 0 h 154"/>
                <a:gd name="T106" fmla="*/ 0 w 133"/>
                <a:gd name="T107" fmla="*/ 0 h 154"/>
                <a:gd name="T108" fmla="*/ 0 w 133"/>
                <a:gd name="T109" fmla="*/ 0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3"/>
                <a:gd name="T166" fmla="*/ 0 h 154"/>
                <a:gd name="T167" fmla="*/ 133 w 133"/>
                <a:gd name="T168" fmla="*/ 154 h 15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75" name="Freeform 1051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4848" y="1475"/>
              <a:ext cx="143" cy="154"/>
            </a:xfrm>
            <a:custGeom>
              <a:avLst/>
              <a:gdLst>
                <a:gd name="T0" fmla="*/ 0 w 485"/>
                <a:gd name="T1" fmla="*/ 0 h 468"/>
                <a:gd name="T2" fmla="*/ 0 w 485"/>
                <a:gd name="T3" fmla="*/ 0 h 468"/>
                <a:gd name="T4" fmla="*/ 0 w 485"/>
                <a:gd name="T5" fmla="*/ 0 h 468"/>
                <a:gd name="T6" fmla="*/ 0 w 485"/>
                <a:gd name="T7" fmla="*/ 0 h 468"/>
                <a:gd name="T8" fmla="*/ 0 w 485"/>
                <a:gd name="T9" fmla="*/ 0 h 468"/>
                <a:gd name="T10" fmla="*/ 0 w 485"/>
                <a:gd name="T11" fmla="*/ 0 h 468"/>
                <a:gd name="T12" fmla="*/ 0 w 485"/>
                <a:gd name="T13" fmla="*/ 0 h 468"/>
                <a:gd name="T14" fmla="*/ 0 w 485"/>
                <a:gd name="T15" fmla="*/ 0 h 468"/>
                <a:gd name="T16" fmla="*/ 0 w 485"/>
                <a:gd name="T17" fmla="*/ 0 h 468"/>
                <a:gd name="T18" fmla="*/ 0 w 485"/>
                <a:gd name="T19" fmla="*/ 0 h 468"/>
                <a:gd name="T20" fmla="*/ 0 w 485"/>
                <a:gd name="T21" fmla="*/ 0 h 468"/>
                <a:gd name="T22" fmla="*/ 0 w 485"/>
                <a:gd name="T23" fmla="*/ 0 h 468"/>
                <a:gd name="T24" fmla="*/ 0 w 485"/>
                <a:gd name="T25" fmla="*/ 0 h 468"/>
                <a:gd name="T26" fmla="*/ 0 w 485"/>
                <a:gd name="T27" fmla="*/ 0 h 468"/>
                <a:gd name="T28" fmla="*/ 0 w 485"/>
                <a:gd name="T29" fmla="*/ 0 h 468"/>
                <a:gd name="T30" fmla="*/ 0 w 485"/>
                <a:gd name="T31" fmla="*/ 0 h 468"/>
                <a:gd name="T32" fmla="*/ 0 w 485"/>
                <a:gd name="T33" fmla="*/ 0 h 468"/>
                <a:gd name="T34" fmla="*/ 0 w 485"/>
                <a:gd name="T35" fmla="*/ 0 h 468"/>
                <a:gd name="T36" fmla="*/ 0 w 485"/>
                <a:gd name="T37" fmla="*/ 0 h 468"/>
                <a:gd name="T38" fmla="*/ 0 w 485"/>
                <a:gd name="T39" fmla="*/ 0 h 468"/>
                <a:gd name="T40" fmla="*/ 0 w 485"/>
                <a:gd name="T41" fmla="*/ 0 h 468"/>
                <a:gd name="T42" fmla="*/ 0 w 485"/>
                <a:gd name="T43" fmla="*/ 0 h 468"/>
                <a:gd name="T44" fmla="*/ 0 w 485"/>
                <a:gd name="T45" fmla="*/ 0 h 468"/>
                <a:gd name="T46" fmla="*/ 0 w 485"/>
                <a:gd name="T47" fmla="*/ 0 h 468"/>
                <a:gd name="T48" fmla="*/ 0 w 485"/>
                <a:gd name="T49" fmla="*/ 0 h 468"/>
                <a:gd name="T50" fmla="*/ 0 w 485"/>
                <a:gd name="T51" fmla="*/ 0 h 468"/>
                <a:gd name="T52" fmla="*/ 0 w 485"/>
                <a:gd name="T53" fmla="*/ 0 h 468"/>
                <a:gd name="T54" fmla="*/ 0 w 485"/>
                <a:gd name="T55" fmla="*/ 0 h 468"/>
                <a:gd name="T56" fmla="*/ 0 w 485"/>
                <a:gd name="T57" fmla="*/ 0 h 468"/>
                <a:gd name="T58" fmla="*/ 0 w 485"/>
                <a:gd name="T59" fmla="*/ 0 h 468"/>
                <a:gd name="T60" fmla="*/ 0 w 485"/>
                <a:gd name="T61" fmla="*/ 0 h 468"/>
                <a:gd name="T62" fmla="*/ 0 w 485"/>
                <a:gd name="T63" fmla="*/ 0 h 468"/>
                <a:gd name="T64" fmla="*/ 0 w 485"/>
                <a:gd name="T65" fmla="*/ 0 h 468"/>
                <a:gd name="T66" fmla="*/ 0 w 485"/>
                <a:gd name="T67" fmla="*/ 0 h 468"/>
                <a:gd name="T68" fmla="*/ 0 w 485"/>
                <a:gd name="T69" fmla="*/ 0 h 468"/>
                <a:gd name="T70" fmla="*/ 0 w 485"/>
                <a:gd name="T71" fmla="*/ 0 h 468"/>
                <a:gd name="T72" fmla="*/ 0 w 485"/>
                <a:gd name="T73" fmla="*/ 0 h 468"/>
                <a:gd name="T74" fmla="*/ 0 w 485"/>
                <a:gd name="T75" fmla="*/ 0 h 468"/>
                <a:gd name="T76" fmla="*/ 0 w 485"/>
                <a:gd name="T77" fmla="*/ 0 h 468"/>
                <a:gd name="T78" fmla="*/ 0 w 485"/>
                <a:gd name="T79" fmla="*/ 0 h 468"/>
                <a:gd name="T80" fmla="*/ 0 w 485"/>
                <a:gd name="T81" fmla="*/ 0 h 468"/>
                <a:gd name="T82" fmla="*/ 0 w 485"/>
                <a:gd name="T83" fmla="*/ 0 h 468"/>
                <a:gd name="T84" fmla="*/ 0 w 485"/>
                <a:gd name="T85" fmla="*/ 0 h 468"/>
                <a:gd name="T86" fmla="*/ 0 w 485"/>
                <a:gd name="T87" fmla="*/ 0 h 468"/>
                <a:gd name="T88" fmla="*/ 0 w 485"/>
                <a:gd name="T89" fmla="*/ 0 h 468"/>
                <a:gd name="T90" fmla="*/ 0 w 485"/>
                <a:gd name="T91" fmla="*/ 0 h 468"/>
                <a:gd name="T92" fmla="*/ 0 w 485"/>
                <a:gd name="T93" fmla="*/ 0 h 468"/>
                <a:gd name="T94" fmla="*/ 0 w 485"/>
                <a:gd name="T95" fmla="*/ 0 h 468"/>
                <a:gd name="T96" fmla="*/ 0 w 485"/>
                <a:gd name="T97" fmla="*/ 0 h 468"/>
                <a:gd name="T98" fmla="*/ 0 w 485"/>
                <a:gd name="T99" fmla="*/ 0 h 468"/>
                <a:gd name="T100" fmla="*/ 0 w 485"/>
                <a:gd name="T101" fmla="*/ 0 h 468"/>
                <a:gd name="T102" fmla="*/ 0 w 485"/>
                <a:gd name="T103" fmla="*/ 0 h 468"/>
                <a:gd name="T104" fmla="*/ 0 w 485"/>
                <a:gd name="T105" fmla="*/ 0 h 468"/>
                <a:gd name="T106" fmla="*/ 0 w 485"/>
                <a:gd name="T107" fmla="*/ 0 h 468"/>
                <a:gd name="T108" fmla="*/ 0 w 485"/>
                <a:gd name="T109" fmla="*/ 0 h 468"/>
                <a:gd name="T110" fmla="*/ 0 w 485"/>
                <a:gd name="T111" fmla="*/ 0 h 468"/>
                <a:gd name="T112" fmla="*/ 0 w 485"/>
                <a:gd name="T113" fmla="*/ 0 h 468"/>
                <a:gd name="T114" fmla="*/ 0 w 485"/>
                <a:gd name="T115" fmla="*/ 0 h 468"/>
                <a:gd name="T116" fmla="*/ 0 w 485"/>
                <a:gd name="T117" fmla="*/ 0 h 468"/>
                <a:gd name="T118" fmla="*/ 0 w 485"/>
                <a:gd name="T119" fmla="*/ 0 h 468"/>
                <a:gd name="T120" fmla="*/ 0 w 485"/>
                <a:gd name="T121" fmla="*/ 0 h 468"/>
                <a:gd name="T122" fmla="*/ 0 w 485"/>
                <a:gd name="T123" fmla="*/ 0 h 468"/>
                <a:gd name="T124" fmla="*/ 0 w 485"/>
                <a:gd name="T125" fmla="*/ 0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5"/>
                <a:gd name="T190" fmla="*/ 0 h 468"/>
                <a:gd name="T191" fmla="*/ 485 w 485"/>
                <a:gd name="T192" fmla="*/ 468 h 46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76" name="Freeform 1052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3199" y="776"/>
              <a:ext cx="74" cy="38"/>
            </a:xfrm>
            <a:custGeom>
              <a:avLst/>
              <a:gdLst>
                <a:gd name="T0" fmla="*/ 0 w 246"/>
                <a:gd name="T1" fmla="*/ 5 h 42"/>
                <a:gd name="T2" fmla="*/ 0 w 246"/>
                <a:gd name="T3" fmla="*/ 5 h 42"/>
                <a:gd name="T4" fmla="*/ 0 w 246"/>
                <a:gd name="T5" fmla="*/ 5 h 42"/>
                <a:gd name="T6" fmla="*/ 0 w 246"/>
                <a:gd name="T7" fmla="*/ 5 h 42"/>
                <a:gd name="T8" fmla="*/ 0 w 246"/>
                <a:gd name="T9" fmla="*/ 5 h 42"/>
                <a:gd name="T10" fmla="*/ 0 w 246"/>
                <a:gd name="T11" fmla="*/ 5 h 42"/>
                <a:gd name="T12" fmla="*/ 0 w 246"/>
                <a:gd name="T13" fmla="*/ 5 h 42"/>
                <a:gd name="T14" fmla="*/ 0 w 246"/>
                <a:gd name="T15" fmla="*/ 5 h 42"/>
                <a:gd name="T16" fmla="*/ 0 w 246"/>
                <a:gd name="T17" fmla="*/ 5 h 42"/>
                <a:gd name="T18" fmla="*/ 0 w 246"/>
                <a:gd name="T19" fmla="*/ 5 h 42"/>
                <a:gd name="T20" fmla="*/ 0 w 246"/>
                <a:gd name="T21" fmla="*/ 5 h 42"/>
                <a:gd name="T22" fmla="*/ 0 w 246"/>
                <a:gd name="T23" fmla="*/ 5 h 42"/>
                <a:gd name="T24" fmla="*/ 0 w 246"/>
                <a:gd name="T25" fmla="*/ 5 h 42"/>
                <a:gd name="T26" fmla="*/ 0 w 246"/>
                <a:gd name="T27" fmla="*/ 5 h 42"/>
                <a:gd name="T28" fmla="*/ 0 w 246"/>
                <a:gd name="T29" fmla="*/ 5 h 42"/>
                <a:gd name="T30" fmla="*/ 0 w 246"/>
                <a:gd name="T31" fmla="*/ 5 h 42"/>
                <a:gd name="T32" fmla="*/ 0 w 246"/>
                <a:gd name="T33" fmla="*/ 5 h 42"/>
                <a:gd name="T34" fmla="*/ 0 w 246"/>
                <a:gd name="T35" fmla="*/ 5 h 42"/>
                <a:gd name="T36" fmla="*/ 0 w 246"/>
                <a:gd name="T37" fmla="*/ 5 h 42"/>
                <a:gd name="T38" fmla="*/ 0 w 246"/>
                <a:gd name="T39" fmla="*/ 5 h 42"/>
                <a:gd name="T40" fmla="*/ 0 w 246"/>
                <a:gd name="T41" fmla="*/ 5 h 42"/>
                <a:gd name="T42" fmla="*/ 0 w 246"/>
                <a:gd name="T43" fmla="*/ 5 h 42"/>
                <a:gd name="T44" fmla="*/ 0 w 246"/>
                <a:gd name="T45" fmla="*/ 5 h 42"/>
                <a:gd name="T46" fmla="*/ 0 w 246"/>
                <a:gd name="T47" fmla="*/ 5 h 42"/>
                <a:gd name="T48" fmla="*/ 0 w 246"/>
                <a:gd name="T49" fmla="*/ 5 h 42"/>
                <a:gd name="T50" fmla="*/ 0 w 246"/>
                <a:gd name="T51" fmla="*/ 5 h 42"/>
                <a:gd name="T52" fmla="*/ 0 w 246"/>
                <a:gd name="T53" fmla="*/ 5 h 42"/>
                <a:gd name="T54" fmla="*/ 0 w 246"/>
                <a:gd name="T55" fmla="*/ 5 h 42"/>
                <a:gd name="T56" fmla="*/ 0 w 246"/>
                <a:gd name="T57" fmla="*/ 5 h 42"/>
                <a:gd name="T58" fmla="*/ 0 w 246"/>
                <a:gd name="T59" fmla="*/ 5 h 42"/>
                <a:gd name="T60" fmla="*/ 0 w 246"/>
                <a:gd name="T61" fmla="*/ 5 h 42"/>
                <a:gd name="T62" fmla="*/ 0 w 246"/>
                <a:gd name="T63" fmla="*/ 5 h 42"/>
                <a:gd name="T64" fmla="*/ 0 w 246"/>
                <a:gd name="T65" fmla="*/ 0 h 42"/>
                <a:gd name="T66" fmla="*/ 0 w 246"/>
                <a:gd name="T67" fmla="*/ 2 h 42"/>
                <a:gd name="T68" fmla="*/ 0 w 246"/>
                <a:gd name="T69" fmla="*/ 4 h 42"/>
                <a:gd name="T70" fmla="*/ 0 w 246"/>
                <a:gd name="T71" fmla="*/ 5 h 42"/>
                <a:gd name="T72" fmla="*/ 0 w 246"/>
                <a:gd name="T73" fmla="*/ 5 h 42"/>
                <a:gd name="T74" fmla="*/ 0 w 246"/>
                <a:gd name="T75" fmla="*/ 5 h 42"/>
                <a:gd name="T76" fmla="*/ 0 w 246"/>
                <a:gd name="T77" fmla="*/ 5 h 42"/>
                <a:gd name="T78" fmla="*/ 0 w 246"/>
                <a:gd name="T79" fmla="*/ 5 h 42"/>
                <a:gd name="T80" fmla="*/ 0 w 246"/>
                <a:gd name="T81" fmla="*/ 5 h 42"/>
                <a:gd name="T82" fmla="*/ 0 w 246"/>
                <a:gd name="T83" fmla="*/ 5 h 42"/>
                <a:gd name="T84" fmla="*/ 0 w 246"/>
                <a:gd name="T85" fmla="*/ 5 h 42"/>
                <a:gd name="T86" fmla="*/ 0 w 246"/>
                <a:gd name="T87" fmla="*/ 5 h 42"/>
                <a:gd name="T88" fmla="*/ 0 w 246"/>
                <a:gd name="T89" fmla="*/ 5 h 42"/>
                <a:gd name="T90" fmla="*/ 0 w 246"/>
                <a:gd name="T91" fmla="*/ 5 h 42"/>
                <a:gd name="T92" fmla="*/ 0 w 246"/>
                <a:gd name="T93" fmla="*/ 5 h 42"/>
                <a:gd name="T94" fmla="*/ 0 w 246"/>
                <a:gd name="T95" fmla="*/ 5 h 42"/>
                <a:gd name="T96" fmla="*/ 0 w 246"/>
                <a:gd name="T97" fmla="*/ 5 h 42"/>
                <a:gd name="T98" fmla="*/ 0 w 246"/>
                <a:gd name="T99" fmla="*/ 5 h 42"/>
                <a:gd name="T100" fmla="*/ 0 w 246"/>
                <a:gd name="T101" fmla="*/ 5 h 42"/>
                <a:gd name="T102" fmla="*/ 0 w 246"/>
                <a:gd name="T103" fmla="*/ 5 h 42"/>
                <a:gd name="T104" fmla="*/ 0 w 246"/>
                <a:gd name="T105" fmla="*/ 5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42"/>
                <a:gd name="T161" fmla="*/ 246 w 246"/>
                <a:gd name="T162" fmla="*/ 42 h 4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77" name="Freeform 1053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3297" y="765"/>
              <a:ext cx="43" cy="36"/>
            </a:xfrm>
            <a:custGeom>
              <a:avLst/>
              <a:gdLst>
                <a:gd name="T0" fmla="*/ 0 w 149"/>
                <a:gd name="T1" fmla="*/ 0 h 61"/>
                <a:gd name="T2" fmla="*/ 0 w 149"/>
                <a:gd name="T3" fmla="*/ 1 h 61"/>
                <a:gd name="T4" fmla="*/ 0 w 149"/>
                <a:gd name="T5" fmla="*/ 1 h 61"/>
                <a:gd name="T6" fmla="*/ 0 w 149"/>
                <a:gd name="T7" fmla="*/ 1 h 61"/>
                <a:gd name="T8" fmla="*/ 0 w 149"/>
                <a:gd name="T9" fmla="*/ 1 h 61"/>
                <a:gd name="T10" fmla="*/ 0 w 149"/>
                <a:gd name="T11" fmla="*/ 1 h 61"/>
                <a:gd name="T12" fmla="*/ 0 w 149"/>
                <a:gd name="T13" fmla="*/ 1 h 61"/>
                <a:gd name="T14" fmla="*/ 0 w 149"/>
                <a:gd name="T15" fmla="*/ 1 h 61"/>
                <a:gd name="T16" fmla="*/ 0 w 149"/>
                <a:gd name="T17" fmla="*/ 1 h 61"/>
                <a:gd name="T18" fmla="*/ 0 w 149"/>
                <a:gd name="T19" fmla="*/ 1 h 61"/>
                <a:gd name="T20" fmla="*/ 0 w 149"/>
                <a:gd name="T21" fmla="*/ 1 h 61"/>
                <a:gd name="T22" fmla="*/ 0 w 149"/>
                <a:gd name="T23" fmla="*/ 1 h 61"/>
                <a:gd name="T24" fmla="*/ 0 w 149"/>
                <a:gd name="T25" fmla="*/ 1 h 61"/>
                <a:gd name="T26" fmla="*/ 0 w 149"/>
                <a:gd name="T27" fmla="*/ 1 h 61"/>
                <a:gd name="T28" fmla="*/ 0 w 149"/>
                <a:gd name="T29" fmla="*/ 1 h 61"/>
                <a:gd name="T30" fmla="*/ 0 w 149"/>
                <a:gd name="T31" fmla="*/ 1 h 61"/>
                <a:gd name="T32" fmla="*/ 0 w 149"/>
                <a:gd name="T33" fmla="*/ 1 h 61"/>
                <a:gd name="T34" fmla="*/ 0 w 149"/>
                <a:gd name="T35" fmla="*/ 1 h 61"/>
                <a:gd name="T36" fmla="*/ 0 w 149"/>
                <a:gd name="T37" fmla="*/ 1 h 61"/>
                <a:gd name="T38" fmla="*/ 0 w 149"/>
                <a:gd name="T39" fmla="*/ 1 h 61"/>
                <a:gd name="T40" fmla="*/ 0 w 149"/>
                <a:gd name="T41" fmla="*/ 1 h 61"/>
                <a:gd name="T42" fmla="*/ 0 w 149"/>
                <a:gd name="T43" fmla="*/ 1 h 61"/>
                <a:gd name="T44" fmla="*/ 0 w 149"/>
                <a:gd name="T45" fmla="*/ 1 h 61"/>
                <a:gd name="T46" fmla="*/ 0 w 149"/>
                <a:gd name="T47" fmla="*/ 1 h 61"/>
                <a:gd name="T48" fmla="*/ 0 w 149"/>
                <a:gd name="T49" fmla="*/ 1 h 61"/>
                <a:gd name="T50" fmla="*/ 0 w 149"/>
                <a:gd name="T51" fmla="*/ 1 h 61"/>
                <a:gd name="T52" fmla="*/ 0 w 149"/>
                <a:gd name="T53" fmla="*/ 1 h 61"/>
                <a:gd name="T54" fmla="*/ 0 w 149"/>
                <a:gd name="T55" fmla="*/ 1 h 61"/>
                <a:gd name="T56" fmla="*/ 0 w 149"/>
                <a:gd name="T57" fmla="*/ 1 h 61"/>
                <a:gd name="T58" fmla="*/ 0 w 149"/>
                <a:gd name="T59" fmla="*/ 1 h 61"/>
                <a:gd name="T60" fmla="*/ 0 w 149"/>
                <a:gd name="T61" fmla="*/ 1 h 61"/>
                <a:gd name="T62" fmla="*/ 0 w 149"/>
                <a:gd name="T63" fmla="*/ 1 h 61"/>
                <a:gd name="T64" fmla="*/ 0 w 149"/>
                <a:gd name="T65" fmla="*/ 1 h 61"/>
                <a:gd name="T66" fmla="*/ 0 w 149"/>
                <a:gd name="T67" fmla="*/ 1 h 61"/>
                <a:gd name="T68" fmla="*/ 0 w 149"/>
                <a:gd name="T69" fmla="*/ 1 h 61"/>
                <a:gd name="T70" fmla="*/ 0 w 149"/>
                <a:gd name="T71" fmla="*/ 1 h 61"/>
                <a:gd name="T72" fmla="*/ 0 w 149"/>
                <a:gd name="T73" fmla="*/ 1 h 61"/>
                <a:gd name="T74" fmla="*/ 0 w 149"/>
                <a:gd name="T75" fmla="*/ 1 h 61"/>
                <a:gd name="T76" fmla="*/ 0 w 149"/>
                <a:gd name="T77" fmla="*/ 1 h 61"/>
                <a:gd name="T78" fmla="*/ 0 w 149"/>
                <a:gd name="T79" fmla="*/ 1 h 61"/>
                <a:gd name="T80" fmla="*/ 0 w 149"/>
                <a:gd name="T81" fmla="*/ 1 h 61"/>
                <a:gd name="T82" fmla="*/ 0 w 149"/>
                <a:gd name="T83" fmla="*/ 1 h 61"/>
                <a:gd name="T84" fmla="*/ 0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9"/>
                <a:gd name="T130" fmla="*/ 0 h 61"/>
                <a:gd name="T131" fmla="*/ 149 w 149"/>
                <a:gd name="T132" fmla="*/ 61 h 6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78" name="Freeform 1054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3322" y="770"/>
              <a:ext cx="88" cy="36"/>
            </a:xfrm>
            <a:custGeom>
              <a:avLst/>
              <a:gdLst>
                <a:gd name="T0" fmla="*/ 0 w 299"/>
                <a:gd name="T1" fmla="*/ 0 h 74"/>
                <a:gd name="T2" fmla="*/ 0 w 299"/>
                <a:gd name="T3" fmla="*/ 0 h 74"/>
                <a:gd name="T4" fmla="*/ 0 w 299"/>
                <a:gd name="T5" fmla="*/ 0 h 74"/>
                <a:gd name="T6" fmla="*/ 0 w 299"/>
                <a:gd name="T7" fmla="*/ 0 h 74"/>
                <a:gd name="T8" fmla="*/ 0 w 299"/>
                <a:gd name="T9" fmla="*/ 0 h 74"/>
                <a:gd name="T10" fmla="*/ 0 w 299"/>
                <a:gd name="T11" fmla="*/ 0 h 74"/>
                <a:gd name="T12" fmla="*/ 0 w 299"/>
                <a:gd name="T13" fmla="*/ 0 h 74"/>
                <a:gd name="T14" fmla="*/ 0 w 299"/>
                <a:gd name="T15" fmla="*/ 0 h 74"/>
                <a:gd name="T16" fmla="*/ 0 w 299"/>
                <a:gd name="T17" fmla="*/ 0 h 74"/>
                <a:gd name="T18" fmla="*/ 0 w 299"/>
                <a:gd name="T19" fmla="*/ 0 h 74"/>
                <a:gd name="T20" fmla="*/ 0 w 299"/>
                <a:gd name="T21" fmla="*/ 0 h 74"/>
                <a:gd name="T22" fmla="*/ 0 w 299"/>
                <a:gd name="T23" fmla="*/ 0 h 74"/>
                <a:gd name="T24" fmla="*/ 0 w 299"/>
                <a:gd name="T25" fmla="*/ 0 h 74"/>
                <a:gd name="T26" fmla="*/ 0 w 299"/>
                <a:gd name="T27" fmla="*/ 0 h 74"/>
                <a:gd name="T28" fmla="*/ 0 w 299"/>
                <a:gd name="T29" fmla="*/ 0 h 74"/>
                <a:gd name="T30" fmla="*/ 0 w 299"/>
                <a:gd name="T31" fmla="*/ 0 h 74"/>
                <a:gd name="T32" fmla="*/ 0 w 299"/>
                <a:gd name="T33" fmla="*/ 0 h 74"/>
                <a:gd name="T34" fmla="*/ 0 w 299"/>
                <a:gd name="T35" fmla="*/ 0 h 74"/>
                <a:gd name="T36" fmla="*/ 0 w 299"/>
                <a:gd name="T37" fmla="*/ 0 h 74"/>
                <a:gd name="T38" fmla="*/ 0 w 299"/>
                <a:gd name="T39" fmla="*/ 0 h 74"/>
                <a:gd name="T40" fmla="*/ 0 w 299"/>
                <a:gd name="T41" fmla="*/ 0 h 74"/>
                <a:gd name="T42" fmla="*/ 0 w 299"/>
                <a:gd name="T43" fmla="*/ 0 h 74"/>
                <a:gd name="T44" fmla="*/ 0 w 299"/>
                <a:gd name="T45" fmla="*/ 0 h 74"/>
                <a:gd name="T46" fmla="*/ 0 w 299"/>
                <a:gd name="T47" fmla="*/ 0 h 74"/>
                <a:gd name="T48" fmla="*/ 0 w 299"/>
                <a:gd name="T49" fmla="*/ 0 h 74"/>
                <a:gd name="T50" fmla="*/ 0 w 299"/>
                <a:gd name="T51" fmla="*/ 0 h 74"/>
                <a:gd name="T52" fmla="*/ 0 w 299"/>
                <a:gd name="T53" fmla="*/ 0 h 74"/>
                <a:gd name="T54" fmla="*/ 0 w 299"/>
                <a:gd name="T55" fmla="*/ 0 h 74"/>
                <a:gd name="T56" fmla="*/ 0 w 299"/>
                <a:gd name="T57" fmla="*/ 0 h 74"/>
                <a:gd name="T58" fmla="*/ 0 w 299"/>
                <a:gd name="T59" fmla="*/ 0 h 74"/>
                <a:gd name="T60" fmla="*/ 0 w 299"/>
                <a:gd name="T61" fmla="*/ 0 h 74"/>
                <a:gd name="T62" fmla="*/ 0 w 299"/>
                <a:gd name="T63" fmla="*/ 0 h 74"/>
                <a:gd name="T64" fmla="*/ 0 w 299"/>
                <a:gd name="T65" fmla="*/ 0 h 74"/>
                <a:gd name="T66" fmla="*/ 0 w 299"/>
                <a:gd name="T67" fmla="*/ 0 h 74"/>
                <a:gd name="T68" fmla="*/ 0 w 299"/>
                <a:gd name="T69" fmla="*/ 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9"/>
                <a:gd name="T106" fmla="*/ 0 h 74"/>
                <a:gd name="T107" fmla="*/ 299 w 299"/>
                <a:gd name="T108" fmla="*/ 74 h 7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79" name="Freeform 1055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3686" y="887"/>
              <a:ext cx="28" cy="36"/>
            </a:xfrm>
            <a:custGeom>
              <a:avLst/>
              <a:gdLst>
                <a:gd name="T0" fmla="*/ 0 w 100"/>
                <a:gd name="T1" fmla="*/ 0 h 42"/>
                <a:gd name="T2" fmla="*/ 0 w 100"/>
                <a:gd name="T3" fmla="*/ 3 h 42"/>
                <a:gd name="T4" fmla="*/ 0 w 100"/>
                <a:gd name="T5" fmla="*/ 3 h 42"/>
                <a:gd name="T6" fmla="*/ 0 w 100"/>
                <a:gd name="T7" fmla="*/ 3 h 42"/>
                <a:gd name="T8" fmla="*/ 0 w 100"/>
                <a:gd name="T9" fmla="*/ 3 h 42"/>
                <a:gd name="T10" fmla="*/ 0 w 100"/>
                <a:gd name="T11" fmla="*/ 3 h 42"/>
                <a:gd name="T12" fmla="*/ 0 w 100"/>
                <a:gd name="T13" fmla="*/ 3 h 42"/>
                <a:gd name="T14" fmla="*/ 0 w 100"/>
                <a:gd name="T15" fmla="*/ 3 h 42"/>
                <a:gd name="T16" fmla="*/ 0 w 100"/>
                <a:gd name="T17" fmla="*/ 3 h 42"/>
                <a:gd name="T18" fmla="*/ 0 w 100"/>
                <a:gd name="T19" fmla="*/ 3 h 42"/>
                <a:gd name="T20" fmla="*/ 0 w 100"/>
                <a:gd name="T21" fmla="*/ 3 h 42"/>
                <a:gd name="T22" fmla="*/ 0 w 100"/>
                <a:gd name="T23" fmla="*/ 3 h 42"/>
                <a:gd name="T24" fmla="*/ 0 w 100"/>
                <a:gd name="T25" fmla="*/ 3 h 42"/>
                <a:gd name="T26" fmla="*/ 0 w 100"/>
                <a:gd name="T27" fmla="*/ 3 h 42"/>
                <a:gd name="T28" fmla="*/ 0 w 100"/>
                <a:gd name="T29" fmla="*/ 3 h 42"/>
                <a:gd name="T30" fmla="*/ 0 w 100"/>
                <a:gd name="T31" fmla="*/ 3 h 42"/>
                <a:gd name="T32" fmla="*/ 0 w 100"/>
                <a:gd name="T33" fmla="*/ 3 h 42"/>
                <a:gd name="T34" fmla="*/ 0 w 100"/>
                <a:gd name="T35" fmla="*/ 3 h 42"/>
                <a:gd name="T36" fmla="*/ 0 w 100"/>
                <a:gd name="T37" fmla="*/ 3 h 42"/>
                <a:gd name="T38" fmla="*/ 0 w 100"/>
                <a:gd name="T39" fmla="*/ 3 h 42"/>
                <a:gd name="T40" fmla="*/ 0 w 100"/>
                <a:gd name="T41" fmla="*/ 3 h 42"/>
                <a:gd name="T42" fmla="*/ 0 w 100"/>
                <a:gd name="T43" fmla="*/ 3 h 42"/>
                <a:gd name="T44" fmla="*/ 0 w 100"/>
                <a:gd name="T45" fmla="*/ 3 h 42"/>
                <a:gd name="T46" fmla="*/ 0 w 100"/>
                <a:gd name="T47" fmla="*/ 3 h 42"/>
                <a:gd name="T48" fmla="*/ 0 w 100"/>
                <a:gd name="T49" fmla="*/ 1 h 42"/>
                <a:gd name="T50" fmla="*/ 0 w 100"/>
                <a:gd name="T51" fmla="*/ 0 h 42"/>
                <a:gd name="T52" fmla="*/ 0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00"/>
                <a:gd name="T82" fmla="*/ 0 h 42"/>
                <a:gd name="T83" fmla="*/ 100 w 100"/>
                <a:gd name="T84" fmla="*/ 42 h 4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80" name="Freeform 1056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3624" y="798"/>
              <a:ext cx="11" cy="37"/>
            </a:xfrm>
            <a:custGeom>
              <a:avLst/>
              <a:gdLst>
                <a:gd name="T0" fmla="*/ 0 w 40"/>
                <a:gd name="T1" fmla="*/ 2147483647 h 5"/>
                <a:gd name="T2" fmla="*/ 0 w 40"/>
                <a:gd name="T3" fmla="*/ 2147483647 h 5"/>
                <a:gd name="T4" fmla="*/ 0 w 40"/>
                <a:gd name="T5" fmla="*/ 2147483647 h 5"/>
                <a:gd name="T6" fmla="*/ 0 w 40"/>
                <a:gd name="T7" fmla="*/ 2147483647 h 5"/>
                <a:gd name="T8" fmla="*/ 0 w 40"/>
                <a:gd name="T9" fmla="*/ 0 h 5"/>
                <a:gd name="T10" fmla="*/ 0 w 40"/>
                <a:gd name="T11" fmla="*/ 0 h 5"/>
                <a:gd name="T12" fmla="*/ 0 w 40"/>
                <a:gd name="T13" fmla="*/ 0 h 5"/>
                <a:gd name="T14" fmla="*/ 0 w 40"/>
                <a:gd name="T15" fmla="*/ 2147483647 h 5"/>
                <a:gd name="T16" fmla="*/ 0 w 40"/>
                <a:gd name="T17" fmla="*/ 2147483647 h 5"/>
                <a:gd name="T18" fmla="*/ 0 w 40"/>
                <a:gd name="T19" fmla="*/ 2147483647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5"/>
                <a:gd name="T32" fmla="*/ 40 w 4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81" name="Freeform 1057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3639" y="772"/>
              <a:ext cx="10" cy="38"/>
            </a:xfrm>
            <a:custGeom>
              <a:avLst/>
              <a:gdLst>
                <a:gd name="T0" fmla="*/ 0 w 33"/>
                <a:gd name="T1" fmla="*/ 1082 h 31"/>
                <a:gd name="T2" fmla="*/ 0 w 33"/>
                <a:gd name="T3" fmla="*/ 0 h 31"/>
                <a:gd name="T4" fmla="*/ 0 w 33"/>
                <a:gd name="T5" fmla="*/ 241 h 31"/>
                <a:gd name="T6" fmla="*/ 0 w 33"/>
                <a:gd name="T7" fmla="*/ 571 h 31"/>
                <a:gd name="T8" fmla="*/ 0 w 33"/>
                <a:gd name="T9" fmla="*/ 830 h 31"/>
                <a:gd name="T10" fmla="*/ 0 w 33"/>
                <a:gd name="T11" fmla="*/ 1052 h 31"/>
                <a:gd name="T12" fmla="*/ 0 w 33"/>
                <a:gd name="T13" fmla="*/ 1529 h 31"/>
                <a:gd name="T14" fmla="*/ 0 w 33"/>
                <a:gd name="T15" fmla="*/ 1847 h 31"/>
                <a:gd name="T16" fmla="*/ 0 w 33"/>
                <a:gd name="T17" fmla="*/ 1847 h 31"/>
                <a:gd name="T18" fmla="*/ 0 w 33"/>
                <a:gd name="T19" fmla="*/ 1507 h 31"/>
                <a:gd name="T20" fmla="*/ 0 w 33"/>
                <a:gd name="T21" fmla="*/ 1082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82" name="Freeform 1058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3738" y="845"/>
              <a:ext cx="11" cy="36"/>
            </a:xfrm>
            <a:custGeom>
              <a:avLst/>
              <a:gdLst>
                <a:gd name="T0" fmla="*/ 0 w 41"/>
                <a:gd name="T1" fmla="*/ 0 h 43"/>
                <a:gd name="T2" fmla="*/ 0 w 41"/>
                <a:gd name="T3" fmla="*/ 3 h 43"/>
                <a:gd name="T4" fmla="*/ 0 w 41"/>
                <a:gd name="T5" fmla="*/ 3 h 43"/>
                <a:gd name="T6" fmla="*/ 0 w 41"/>
                <a:gd name="T7" fmla="*/ 3 h 43"/>
                <a:gd name="T8" fmla="*/ 0 w 41"/>
                <a:gd name="T9" fmla="*/ 3 h 43"/>
                <a:gd name="T10" fmla="*/ 0 w 41"/>
                <a:gd name="T11" fmla="*/ 3 h 43"/>
                <a:gd name="T12" fmla="*/ 0 w 41"/>
                <a:gd name="T13" fmla="*/ 3 h 43"/>
                <a:gd name="T14" fmla="*/ 0 w 41"/>
                <a:gd name="T15" fmla="*/ 3 h 43"/>
                <a:gd name="T16" fmla="*/ 0 w 41"/>
                <a:gd name="T17" fmla="*/ 3 h 43"/>
                <a:gd name="T18" fmla="*/ 0 w 41"/>
                <a:gd name="T19" fmla="*/ 3 h 43"/>
                <a:gd name="T20" fmla="*/ 0 w 41"/>
                <a:gd name="T21" fmla="*/ 2 h 43"/>
                <a:gd name="T22" fmla="*/ 0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1"/>
                <a:gd name="T37" fmla="*/ 0 h 43"/>
                <a:gd name="T38" fmla="*/ 41 w 41"/>
                <a:gd name="T39" fmla="*/ 43 h 4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83" name="Freeform 1059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3774" y="772"/>
              <a:ext cx="64" cy="38"/>
            </a:xfrm>
            <a:custGeom>
              <a:avLst/>
              <a:gdLst>
                <a:gd name="T0" fmla="*/ 0 w 213"/>
                <a:gd name="T1" fmla="*/ 0 h 62"/>
                <a:gd name="T2" fmla="*/ 0 w 213"/>
                <a:gd name="T3" fmla="*/ 0 h 62"/>
                <a:gd name="T4" fmla="*/ 0 w 213"/>
                <a:gd name="T5" fmla="*/ 1 h 62"/>
                <a:gd name="T6" fmla="*/ 0 w 213"/>
                <a:gd name="T7" fmla="*/ 1 h 62"/>
                <a:gd name="T8" fmla="*/ 0 w 213"/>
                <a:gd name="T9" fmla="*/ 1 h 62"/>
                <a:gd name="T10" fmla="*/ 0 w 213"/>
                <a:gd name="T11" fmla="*/ 1 h 62"/>
                <a:gd name="T12" fmla="*/ 0 w 213"/>
                <a:gd name="T13" fmla="*/ 1 h 62"/>
                <a:gd name="T14" fmla="*/ 0 w 213"/>
                <a:gd name="T15" fmla="*/ 1 h 62"/>
                <a:gd name="T16" fmla="*/ 0 w 213"/>
                <a:gd name="T17" fmla="*/ 1 h 62"/>
                <a:gd name="T18" fmla="*/ 0 w 213"/>
                <a:gd name="T19" fmla="*/ 1 h 62"/>
                <a:gd name="T20" fmla="*/ 0 w 213"/>
                <a:gd name="T21" fmla="*/ 1 h 62"/>
                <a:gd name="T22" fmla="*/ 0 w 213"/>
                <a:gd name="T23" fmla="*/ 1 h 62"/>
                <a:gd name="T24" fmla="*/ 0 w 213"/>
                <a:gd name="T25" fmla="*/ 1 h 62"/>
                <a:gd name="T26" fmla="*/ 0 w 213"/>
                <a:gd name="T27" fmla="*/ 1 h 62"/>
                <a:gd name="T28" fmla="*/ 0 w 213"/>
                <a:gd name="T29" fmla="*/ 1 h 62"/>
                <a:gd name="T30" fmla="*/ 0 w 213"/>
                <a:gd name="T31" fmla="*/ 1 h 62"/>
                <a:gd name="T32" fmla="*/ 0 w 213"/>
                <a:gd name="T33" fmla="*/ 1 h 62"/>
                <a:gd name="T34" fmla="*/ 0 w 213"/>
                <a:gd name="T35" fmla="*/ 1 h 62"/>
                <a:gd name="T36" fmla="*/ 0 w 213"/>
                <a:gd name="T37" fmla="*/ 1 h 62"/>
                <a:gd name="T38" fmla="*/ 0 w 213"/>
                <a:gd name="T39" fmla="*/ 1 h 62"/>
                <a:gd name="T40" fmla="*/ 0 w 213"/>
                <a:gd name="T41" fmla="*/ 1 h 62"/>
                <a:gd name="T42" fmla="*/ 0 w 213"/>
                <a:gd name="T43" fmla="*/ 1 h 62"/>
                <a:gd name="T44" fmla="*/ 0 w 213"/>
                <a:gd name="T45" fmla="*/ 1 h 62"/>
                <a:gd name="T46" fmla="*/ 0 w 213"/>
                <a:gd name="T47" fmla="*/ 1 h 62"/>
                <a:gd name="T48" fmla="*/ 0 w 213"/>
                <a:gd name="T49" fmla="*/ 1 h 62"/>
                <a:gd name="T50" fmla="*/ 0 w 213"/>
                <a:gd name="T51" fmla="*/ 1 h 62"/>
                <a:gd name="T52" fmla="*/ 0 w 213"/>
                <a:gd name="T53" fmla="*/ 1 h 62"/>
                <a:gd name="T54" fmla="*/ 0 w 213"/>
                <a:gd name="T55" fmla="*/ 1 h 62"/>
                <a:gd name="T56" fmla="*/ 0 w 213"/>
                <a:gd name="T57" fmla="*/ 1 h 62"/>
                <a:gd name="T58" fmla="*/ 0 w 213"/>
                <a:gd name="T59" fmla="*/ 1 h 62"/>
                <a:gd name="T60" fmla="*/ 0 w 213"/>
                <a:gd name="T61" fmla="*/ 1 h 62"/>
                <a:gd name="T62" fmla="*/ 0 w 213"/>
                <a:gd name="T63" fmla="*/ 1 h 62"/>
                <a:gd name="T64" fmla="*/ 0 w 213"/>
                <a:gd name="T65" fmla="*/ 1 h 62"/>
                <a:gd name="T66" fmla="*/ 0 w 213"/>
                <a:gd name="T67" fmla="*/ 1 h 62"/>
                <a:gd name="T68" fmla="*/ 0 w 213"/>
                <a:gd name="T69" fmla="*/ 1 h 62"/>
                <a:gd name="T70" fmla="*/ 0 w 213"/>
                <a:gd name="T71" fmla="*/ 1 h 62"/>
                <a:gd name="T72" fmla="*/ 0 w 213"/>
                <a:gd name="T73" fmla="*/ 1 h 62"/>
                <a:gd name="T74" fmla="*/ 0 w 213"/>
                <a:gd name="T75" fmla="*/ 0 h 62"/>
                <a:gd name="T76" fmla="*/ 0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13"/>
                <a:gd name="T118" fmla="*/ 0 h 62"/>
                <a:gd name="T119" fmla="*/ 213 w 213"/>
                <a:gd name="T120" fmla="*/ 62 h 6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84" name="Freeform 1060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3816" y="788"/>
              <a:ext cx="70" cy="38"/>
            </a:xfrm>
            <a:custGeom>
              <a:avLst/>
              <a:gdLst>
                <a:gd name="T0" fmla="*/ 0 w 239"/>
                <a:gd name="T1" fmla="*/ 0 h 56"/>
                <a:gd name="T2" fmla="*/ 0 w 239"/>
                <a:gd name="T3" fmla="*/ 1 h 56"/>
                <a:gd name="T4" fmla="*/ 0 w 239"/>
                <a:gd name="T5" fmla="*/ 1 h 56"/>
                <a:gd name="T6" fmla="*/ 0 w 239"/>
                <a:gd name="T7" fmla="*/ 1 h 56"/>
                <a:gd name="T8" fmla="*/ 0 w 239"/>
                <a:gd name="T9" fmla="*/ 1 h 56"/>
                <a:gd name="T10" fmla="*/ 0 w 239"/>
                <a:gd name="T11" fmla="*/ 1 h 56"/>
                <a:gd name="T12" fmla="*/ 0 w 239"/>
                <a:gd name="T13" fmla="*/ 1 h 56"/>
                <a:gd name="T14" fmla="*/ 0 w 239"/>
                <a:gd name="T15" fmla="*/ 1 h 56"/>
                <a:gd name="T16" fmla="*/ 0 w 239"/>
                <a:gd name="T17" fmla="*/ 1 h 56"/>
                <a:gd name="T18" fmla="*/ 0 w 239"/>
                <a:gd name="T19" fmla="*/ 1 h 56"/>
                <a:gd name="T20" fmla="*/ 0 w 239"/>
                <a:gd name="T21" fmla="*/ 1 h 56"/>
                <a:gd name="T22" fmla="*/ 0 w 239"/>
                <a:gd name="T23" fmla="*/ 1 h 56"/>
                <a:gd name="T24" fmla="*/ 0 w 239"/>
                <a:gd name="T25" fmla="*/ 1 h 56"/>
                <a:gd name="T26" fmla="*/ 0 w 239"/>
                <a:gd name="T27" fmla="*/ 1 h 56"/>
                <a:gd name="T28" fmla="*/ 0 w 239"/>
                <a:gd name="T29" fmla="*/ 1 h 56"/>
                <a:gd name="T30" fmla="*/ 0 w 239"/>
                <a:gd name="T31" fmla="*/ 1 h 56"/>
                <a:gd name="T32" fmla="*/ 0 w 239"/>
                <a:gd name="T33" fmla="*/ 1 h 56"/>
                <a:gd name="T34" fmla="*/ 0 w 239"/>
                <a:gd name="T35" fmla="*/ 1 h 56"/>
                <a:gd name="T36" fmla="*/ 0 w 239"/>
                <a:gd name="T37" fmla="*/ 1 h 56"/>
                <a:gd name="T38" fmla="*/ 0 w 239"/>
                <a:gd name="T39" fmla="*/ 1 h 56"/>
                <a:gd name="T40" fmla="*/ 0 w 239"/>
                <a:gd name="T41" fmla="*/ 1 h 56"/>
                <a:gd name="T42" fmla="*/ 0 w 239"/>
                <a:gd name="T43" fmla="*/ 1 h 56"/>
                <a:gd name="T44" fmla="*/ 0 w 239"/>
                <a:gd name="T45" fmla="*/ 1 h 56"/>
                <a:gd name="T46" fmla="*/ 0 w 239"/>
                <a:gd name="T47" fmla="*/ 1 h 56"/>
                <a:gd name="T48" fmla="*/ 0 w 239"/>
                <a:gd name="T49" fmla="*/ 1 h 56"/>
                <a:gd name="T50" fmla="*/ 0 w 239"/>
                <a:gd name="T51" fmla="*/ 1 h 56"/>
                <a:gd name="T52" fmla="*/ 0 w 239"/>
                <a:gd name="T53" fmla="*/ 1 h 56"/>
                <a:gd name="T54" fmla="*/ 0 w 239"/>
                <a:gd name="T55" fmla="*/ 1 h 56"/>
                <a:gd name="T56" fmla="*/ 0 w 239"/>
                <a:gd name="T57" fmla="*/ 1 h 56"/>
                <a:gd name="T58" fmla="*/ 0 w 239"/>
                <a:gd name="T59" fmla="*/ 1 h 56"/>
                <a:gd name="T60" fmla="*/ 0 w 239"/>
                <a:gd name="T61" fmla="*/ 1 h 56"/>
                <a:gd name="T62" fmla="*/ 0 w 239"/>
                <a:gd name="T63" fmla="*/ 1 h 56"/>
                <a:gd name="T64" fmla="*/ 0 w 239"/>
                <a:gd name="T65" fmla="*/ 1 h 56"/>
                <a:gd name="T66" fmla="*/ 0 w 239"/>
                <a:gd name="T67" fmla="*/ 1 h 56"/>
                <a:gd name="T68" fmla="*/ 0 w 239"/>
                <a:gd name="T69" fmla="*/ 1 h 56"/>
                <a:gd name="T70" fmla="*/ 0 w 239"/>
                <a:gd name="T71" fmla="*/ 1 h 56"/>
                <a:gd name="T72" fmla="*/ 0 w 239"/>
                <a:gd name="T73" fmla="*/ 1 h 56"/>
                <a:gd name="T74" fmla="*/ 0 w 239"/>
                <a:gd name="T75" fmla="*/ 1 h 56"/>
                <a:gd name="T76" fmla="*/ 0 w 239"/>
                <a:gd name="T77" fmla="*/ 1 h 56"/>
                <a:gd name="T78" fmla="*/ 0 w 239"/>
                <a:gd name="T79" fmla="*/ 1 h 56"/>
                <a:gd name="T80" fmla="*/ 0 w 239"/>
                <a:gd name="T81" fmla="*/ 1 h 56"/>
                <a:gd name="T82" fmla="*/ 0 w 239"/>
                <a:gd name="T83" fmla="*/ 1 h 56"/>
                <a:gd name="T84" fmla="*/ 0 w 239"/>
                <a:gd name="T85" fmla="*/ 1 h 56"/>
                <a:gd name="T86" fmla="*/ 0 w 239"/>
                <a:gd name="T87" fmla="*/ 0 h 56"/>
                <a:gd name="T88" fmla="*/ 0 w 239"/>
                <a:gd name="T89" fmla="*/ 1 h 56"/>
                <a:gd name="T90" fmla="*/ 0 w 239"/>
                <a:gd name="T91" fmla="*/ 1 h 56"/>
                <a:gd name="T92" fmla="*/ 0 w 239"/>
                <a:gd name="T93" fmla="*/ 1 h 56"/>
                <a:gd name="T94" fmla="*/ 0 w 239"/>
                <a:gd name="T95" fmla="*/ 1 h 56"/>
                <a:gd name="T96" fmla="*/ 0 w 239"/>
                <a:gd name="T97" fmla="*/ 1 h 56"/>
                <a:gd name="T98" fmla="*/ 0 w 239"/>
                <a:gd name="T99" fmla="*/ 1 h 56"/>
                <a:gd name="T100" fmla="*/ 0 w 239"/>
                <a:gd name="T101" fmla="*/ 1 h 56"/>
                <a:gd name="T102" fmla="*/ 0 w 239"/>
                <a:gd name="T103" fmla="*/ 1 h 56"/>
                <a:gd name="T104" fmla="*/ 0 w 239"/>
                <a:gd name="T105" fmla="*/ 1 h 56"/>
                <a:gd name="T106" fmla="*/ 0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9"/>
                <a:gd name="T163" fmla="*/ 0 h 56"/>
                <a:gd name="T164" fmla="*/ 239 w 239"/>
                <a:gd name="T165" fmla="*/ 56 h 5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85" name="Freeform 1061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3896" y="797"/>
              <a:ext cx="56" cy="36"/>
            </a:xfrm>
            <a:custGeom>
              <a:avLst/>
              <a:gdLst>
                <a:gd name="T0" fmla="*/ 0 w 187"/>
                <a:gd name="T1" fmla="*/ 0 h 80"/>
                <a:gd name="T2" fmla="*/ 0 w 187"/>
                <a:gd name="T3" fmla="*/ 0 h 80"/>
                <a:gd name="T4" fmla="*/ 0 w 187"/>
                <a:gd name="T5" fmla="*/ 0 h 80"/>
                <a:gd name="T6" fmla="*/ 0 w 187"/>
                <a:gd name="T7" fmla="*/ 0 h 80"/>
                <a:gd name="T8" fmla="*/ 0 w 187"/>
                <a:gd name="T9" fmla="*/ 0 h 80"/>
                <a:gd name="T10" fmla="*/ 0 w 187"/>
                <a:gd name="T11" fmla="*/ 0 h 80"/>
                <a:gd name="T12" fmla="*/ 0 w 187"/>
                <a:gd name="T13" fmla="*/ 0 h 80"/>
                <a:gd name="T14" fmla="*/ 0 w 187"/>
                <a:gd name="T15" fmla="*/ 0 h 80"/>
                <a:gd name="T16" fmla="*/ 0 w 187"/>
                <a:gd name="T17" fmla="*/ 0 h 80"/>
                <a:gd name="T18" fmla="*/ 0 w 187"/>
                <a:gd name="T19" fmla="*/ 0 h 80"/>
                <a:gd name="T20" fmla="*/ 0 w 187"/>
                <a:gd name="T21" fmla="*/ 0 h 80"/>
                <a:gd name="T22" fmla="*/ 0 w 187"/>
                <a:gd name="T23" fmla="*/ 0 h 80"/>
                <a:gd name="T24" fmla="*/ 0 w 187"/>
                <a:gd name="T25" fmla="*/ 0 h 80"/>
                <a:gd name="T26" fmla="*/ 0 w 187"/>
                <a:gd name="T27" fmla="*/ 0 h 80"/>
                <a:gd name="T28" fmla="*/ 0 w 187"/>
                <a:gd name="T29" fmla="*/ 0 h 80"/>
                <a:gd name="T30" fmla="*/ 0 w 187"/>
                <a:gd name="T31" fmla="*/ 0 h 80"/>
                <a:gd name="T32" fmla="*/ 0 w 187"/>
                <a:gd name="T33" fmla="*/ 0 h 80"/>
                <a:gd name="T34" fmla="*/ 0 w 187"/>
                <a:gd name="T35" fmla="*/ 0 h 80"/>
                <a:gd name="T36" fmla="*/ 0 w 187"/>
                <a:gd name="T37" fmla="*/ 0 h 80"/>
                <a:gd name="T38" fmla="*/ 0 w 187"/>
                <a:gd name="T39" fmla="*/ 0 h 80"/>
                <a:gd name="T40" fmla="*/ 0 w 187"/>
                <a:gd name="T41" fmla="*/ 0 h 80"/>
                <a:gd name="T42" fmla="*/ 0 w 187"/>
                <a:gd name="T43" fmla="*/ 0 h 80"/>
                <a:gd name="T44" fmla="*/ 0 w 187"/>
                <a:gd name="T45" fmla="*/ 0 h 80"/>
                <a:gd name="T46" fmla="*/ 0 w 187"/>
                <a:gd name="T47" fmla="*/ 0 h 80"/>
                <a:gd name="T48" fmla="*/ 0 w 187"/>
                <a:gd name="T49" fmla="*/ 0 h 80"/>
                <a:gd name="T50" fmla="*/ 0 w 187"/>
                <a:gd name="T51" fmla="*/ 0 h 80"/>
                <a:gd name="T52" fmla="*/ 0 w 187"/>
                <a:gd name="T53" fmla="*/ 0 h 80"/>
                <a:gd name="T54" fmla="*/ 0 w 187"/>
                <a:gd name="T55" fmla="*/ 0 h 80"/>
                <a:gd name="T56" fmla="*/ 0 w 187"/>
                <a:gd name="T57" fmla="*/ 0 h 80"/>
                <a:gd name="T58" fmla="*/ 0 w 187"/>
                <a:gd name="T59" fmla="*/ 0 h 80"/>
                <a:gd name="T60" fmla="*/ 0 w 187"/>
                <a:gd name="T61" fmla="*/ 0 h 80"/>
                <a:gd name="T62" fmla="*/ 0 w 187"/>
                <a:gd name="T63" fmla="*/ 0 h 80"/>
                <a:gd name="T64" fmla="*/ 0 w 187"/>
                <a:gd name="T65" fmla="*/ 0 h 80"/>
                <a:gd name="T66" fmla="*/ 0 w 187"/>
                <a:gd name="T67" fmla="*/ 0 h 80"/>
                <a:gd name="T68" fmla="*/ 0 w 187"/>
                <a:gd name="T69" fmla="*/ 0 h 80"/>
                <a:gd name="T70" fmla="*/ 0 w 187"/>
                <a:gd name="T71" fmla="*/ 0 h 80"/>
                <a:gd name="T72" fmla="*/ 0 w 187"/>
                <a:gd name="T73" fmla="*/ 0 h 80"/>
                <a:gd name="T74" fmla="*/ 0 w 187"/>
                <a:gd name="T75" fmla="*/ 0 h 80"/>
                <a:gd name="T76" fmla="*/ 0 w 187"/>
                <a:gd name="T77" fmla="*/ 0 h 80"/>
                <a:gd name="T78" fmla="*/ 0 w 187"/>
                <a:gd name="T79" fmla="*/ 0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87"/>
                <a:gd name="T121" fmla="*/ 0 h 80"/>
                <a:gd name="T122" fmla="*/ 187 w 187"/>
                <a:gd name="T123" fmla="*/ 80 h 8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86" name="Freeform 1062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4255" y="876"/>
              <a:ext cx="55" cy="37"/>
            </a:xfrm>
            <a:custGeom>
              <a:avLst/>
              <a:gdLst>
                <a:gd name="T0" fmla="*/ 0 w 183"/>
                <a:gd name="T1" fmla="*/ 0 h 73"/>
                <a:gd name="T2" fmla="*/ 0 w 183"/>
                <a:gd name="T3" fmla="*/ 0 h 73"/>
                <a:gd name="T4" fmla="*/ 0 w 183"/>
                <a:gd name="T5" fmla="*/ 1 h 73"/>
                <a:gd name="T6" fmla="*/ 0 w 183"/>
                <a:gd name="T7" fmla="*/ 1 h 73"/>
                <a:gd name="T8" fmla="*/ 0 w 183"/>
                <a:gd name="T9" fmla="*/ 1 h 73"/>
                <a:gd name="T10" fmla="*/ 0 w 183"/>
                <a:gd name="T11" fmla="*/ 1 h 73"/>
                <a:gd name="T12" fmla="*/ 0 w 183"/>
                <a:gd name="T13" fmla="*/ 1 h 73"/>
                <a:gd name="T14" fmla="*/ 0 w 183"/>
                <a:gd name="T15" fmla="*/ 1 h 73"/>
                <a:gd name="T16" fmla="*/ 0 w 183"/>
                <a:gd name="T17" fmla="*/ 1 h 73"/>
                <a:gd name="T18" fmla="*/ 0 w 183"/>
                <a:gd name="T19" fmla="*/ 1 h 73"/>
                <a:gd name="T20" fmla="*/ 0 w 183"/>
                <a:gd name="T21" fmla="*/ 1 h 73"/>
                <a:gd name="T22" fmla="*/ 0 w 183"/>
                <a:gd name="T23" fmla="*/ 1 h 73"/>
                <a:gd name="T24" fmla="*/ 0 w 183"/>
                <a:gd name="T25" fmla="*/ 1 h 73"/>
                <a:gd name="T26" fmla="*/ 0 w 183"/>
                <a:gd name="T27" fmla="*/ 1 h 73"/>
                <a:gd name="T28" fmla="*/ 0 w 183"/>
                <a:gd name="T29" fmla="*/ 1 h 73"/>
                <a:gd name="T30" fmla="*/ 0 w 183"/>
                <a:gd name="T31" fmla="*/ 1 h 73"/>
                <a:gd name="T32" fmla="*/ 0 w 183"/>
                <a:gd name="T33" fmla="*/ 1 h 73"/>
                <a:gd name="T34" fmla="*/ 0 w 183"/>
                <a:gd name="T35" fmla="*/ 1 h 73"/>
                <a:gd name="T36" fmla="*/ 0 w 183"/>
                <a:gd name="T37" fmla="*/ 1 h 73"/>
                <a:gd name="T38" fmla="*/ 0 w 183"/>
                <a:gd name="T39" fmla="*/ 1 h 73"/>
                <a:gd name="T40" fmla="*/ 0 w 183"/>
                <a:gd name="T41" fmla="*/ 1 h 73"/>
                <a:gd name="T42" fmla="*/ 0 w 183"/>
                <a:gd name="T43" fmla="*/ 1 h 73"/>
                <a:gd name="T44" fmla="*/ 0 w 183"/>
                <a:gd name="T45" fmla="*/ 1 h 73"/>
                <a:gd name="T46" fmla="*/ 0 w 183"/>
                <a:gd name="T47" fmla="*/ 1 h 73"/>
                <a:gd name="T48" fmla="*/ 0 w 183"/>
                <a:gd name="T49" fmla="*/ 1 h 73"/>
                <a:gd name="T50" fmla="*/ 0 w 183"/>
                <a:gd name="T51" fmla="*/ 1 h 73"/>
                <a:gd name="T52" fmla="*/ 0 w 183"/>
                <a:gd name="T53" fmla="*/ 1 h 73"/>
                <a:gd name="T54" fmla="*/ 0 w 183"/>
                <a:gd name="T55" fmla="*/ 1 h 73"/>
                <a:gd name="T56" fmla="*/ 0 w 183"/>
                <a:gd name="T57" fmla="*/ 1 h 73"/>
                <a:gd name="T58" fmla="*/ 0 w 183"/>
                <a:gd name="T59" fmla="*/ 1 h 73"/>
                <a:gd name="T60" fmla="*/ 0 w 183"/>
                <a:gd name="T61" fmla="*/ 1 h 73"/>
                <a:gd name="T62" fmla="*/ 0 w 183"/>
                <a:gd name="T63" fmla="*/ 0 h 73"/>
                <a:gd name="T64" fmla="*/ 0 w 183"/>
                <a:gd name="T65" fmla="*/ 0 h 73"/>
                <a:gd name="T66" fmla="*/ 0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83"/>
                <a:gd name="T103" fmla="*/ 0 h 73"/>
                <a:gd name="T104" fmla="*/ 183 w 183"/>
                <a:gd name="T105" fmla="*/ 73 h 7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87" name="Freeform 1063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4301" y="887"/>
              <a:ext cx="23" cy="36"/>
            </a:xfrm>
            <a:custGeom>
              <a:avLst/>
              <a:gdLst>
                <a:gd name="T0" fmla="*/ 0 w 79"/>
                <a:gd name="T1" fmla="*/ 3 h 42"/>
                <a:gd name="T2" fmla="*/ 0 w 79"/>
                <a:gd name="T3" fmla="*/ 2 h 42"/>
                <a:gd name="T4" fmla="*/ 0 w 79"/>
                <a:gd name="T5" fmla="*/ 1 h 42"/>
                <a:gd name="T6" fmla="*/ 0 w 79"/>
                <a:gd name="T7" fmla="*/ 0 h 42"/>
                <a:gd name="T8" fmla="*/ 0 w 79"/>
                <a:gd name="T9" fmla="*/ 0 h 42"/>
                <a:gd name="T10" fmla="*/ 0 w 79"/>
                <a:gd name="T11" fmla="*/ 3 h 42"/>
                <a:gd name="T12" fmla="*/ 0 w 79"/>
                <a:gd name="T13" fmla="*/ 3 h 42"/>
                <a:gd name="T14" fmla="*/ 0 w 79"/>
                <a:gd name="T15" fmla="*/ 3 h 42"/>
                <a:gd name="T16" fmla="*/ 0 w 79"/>
                <a:gd name="T17" fmla="*/ 3 h 42"/>
                <a:gd name="T18" fmla="*/ 0 w 79"/>
                <a:gd name="T19" fmla="*/ 3 h 42"/>
                <a:gd name="T20" fmla="*/ 0 w 79"/>
                <a:gd name="T21" fmla="*/ 3 h 42"/>
                <a:gd name="T22" fmla="*/ 0 w 79"/>
                <a:gd name="T23" fmla="*/ 3 h 42"/>
                <a:gd name="T24" fmla="*/ 0 w 79"/>
                <a:gd name="T25" fmla="*/ 3 h 42"/>
                <a:gd name="T26" fmla="*/ 0 w 79"/>
                <a:gd name="T27" fmla="*/ 3 h 42"/>
                <a:gd name="T28" fmla="*/ 0 w 79"/>
                <a:gd name="T29" fmla="*/ 3 h 42"/>
                <a:gd name="T30" fmla="*/ 0 w 79"/>
                <a:gd name="T31" fmla="*/ 3 h 42"/>
                <a:gd name="T32" fmla="*/ 0 w 79"/>
                <a:gd name="T33" fmla="*/ 3 h 42"/>
                <a:gd name="T34" fmla="*/ 0 w 79"/>
                <a:gd name="T35" fmla="*/ 3 h 42"/>
                <a:gd name="T36" fmla="*/ 0 w 79"/>
                <a:gd name="T37" fmla="*/ 3 h 42"/>
                <a:gd name="T38" fmla="*/ 0 w 79"/>
                <a:gd name="T39" fmla="*/ 3 h 42"/>
                <a:gd name="T40" fmla="*/ 0 w 79"/>
                <a:gd name="T41" fmla="*/ 3 h 42"/>
                <a:gd name="T42" fmla="*/ 0 w 79"/>
                <a:gd name="T43" fmla="*/ 3 h 42"/>
                <a:gd name="T44" fmla="*/ 0 w 79"/>
                <a:gd name="T45" fmla="*/ 3 h 42"/>
                <a:gd name="T46" fmla="*/ 0 w 79"/>
                <a:gd name="T47" fmla="*/ 3 h 42"/>
                <a:gd name="T48" fmla="*/ 0 w 79"/>
                <a:gd name="T49" fmla="*/ 3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42"/>
                <a:gd name="T77" fmla="*/ 79 w 79"/>
                <a:gd name="T78" fmla="*/ 42 h 4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88" name="Freeform 1064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4321" y="894"/>
              <a:ext cx="36" cy="37"/>
            </a:xfrm>
            <a:custGeom>
              <a:avLst/>
              <a:gdLst>
                <a:gd name="T0" fmla="*/ 0 w 113"/>
                <a:gd name="T1" fmla="*/ 1 h 52"/>
                <a:gd name="T2" fmla="*/ 0 w 113"/>
                <a:gd name="T3" fmla="*/ 1 h 52"/>
                <a:gd name="T4" fmla="*/ 0 w 113"/>
                <a:gd name="T5" fmla="*/ 1 h 52"/>
                <a:gd name="T6" fmla="*/ 0 w 113"/>
                <a:gd name="T7" fmla="*/ 1 h 52"/>
                <a:gd name="T8" fmla="*/ 0 w 113"/>
                <a:gd name="T9" fmla="*/ 1 h 52"/>
                <a:gd name="T10" fmla="*/ 0 w 113"/>
                <a:gd name="T11" fmla="*/ 1 h 52"/>
                <a:gd name="T12" fmla="*/ 0 w 113"/>
                <a:gd name="T13" fmla="*/ 1 h 52"/>
                <a:gd name="T14" fmla="*/ 0 w 113"/>
                <a:gd name="T15" fmla="*/ 1 h 52"/>
                <a:gd name="T16" fmla="*/ 0 w 113"/>
                <a:gd name="T17" fmla="*/ 1 h 52"/>
                <a:gd name="T18" fmla="*/ 0 w 113"/>
                <a:gd name="T19" fmla="*/ 1 h 52"/>
                <a:gd name="T20" fmla="*/ 0 w 113"/>
                <a:gd name="T21" fmla="*/ 1 h 52"/>
                <a:gd name="T22" fmla="*/ 0 w 113"/>
                <a:gd name="T23" fmla="*/ 1 h 52"/>
                <a:gd name="T24" fmla="*/ 0 w 113"/>
                <a:gd name="T25" fmla="*/ 1 h 52"/>
                <a:gd name="T26" fmla="*/ 0 w 113"/>
                <a:gd name="T27" fmla="*/ 1 h 52"/>
                <a:gd name="T28" fmla="*/ 0 w 113"/>
                <a:gd name="T29" fmla="*/ 1 h 52"/>
                <a:gd name="T30" fmla="*/ 0 w 113"/>
                <a:gd name="T31" fmla="*/ 1 h 52"/>
                <a:gd name="T32" fmla="*/ 0 w 113"/>
                <a:gd name="T33" fmla="*/ 1 h 52"/>
                <a:gd name="T34" fmla="*/ 0 w 113"/>
                <a:gd name="T35" fmla="*/ 1 h 52"/>
                <a:gd name="T36" fmla="*/ 0 w 113"/>
                <a:gd name="T37" fmla="*/ 1 h 52"/>
                <a:gd name="T38" fmla="*/ 0 w 113"/>
                <a:gd name="T39" fmla="*/ 1 h 52"/>
                <a:gd name="T40" fmla="*/ 0 w 113"/>
                <a:gd name="T41" fmla="*/ 1 h 52"/>
                <a:gd name="T42" fmla="*/ 0 w 113"/>
                <a:gd name="T43" fmla="*/ 1 h 52"/>
                <a:gd name="T44" fmla="*/ 0 w 113"/>
                <a:gd name="T45" fmla="*/ 1 h 52"/>
                <a:gd name="T46" fmla="*/ 0 w 113"/>
                <a:gd name="T47" fmla="*/ 1 h 52"/>
                <a:gd name="T48" fmla="*/ 0 w 113"/>
                <a:gd name="T49" fmla="*/ 1 h 52"/>
                <a:gd name="T50" fmla="*/ 0 w 113"/>
                <a:gd name="T51" fmla="*/ 1 h 52"/>
                <a:gd name="T52" fmla="*/ 0 w 113"/>
                <a:gd name="T53" fmla="*/ 0 h 52"/>
                <a:gd name="T54" fmla="*/ 0 w 113"/>
                <a:gd name="T55" fmla="*/ 0 h 52"/>
                <a:gd name="T56" fmla="*/ 0 w 113"/>
                <a:gd name="T57" fmla="*/ 1 h 52"/>
                <a:gd name="T58" fmla="*/ 0 w 113"/>
                <a:gd name="T59" fmla="*/ 1 h 52"/>
                <a:gd name="T60" fmla="*/ 0 w 113"/>
                <a:gd name="T61" fmla="*/ 1 h 52"/>
                <a:gd name="T62" fmla="*/ 0 w 113"/>
                <a:gd name="T63" fmla="*/ 1 h 52"/>
                <a:gd name="T64" fmla="*/ 0 w 113"/>
                <a:gd name="T65" fmla="*/ 1 h 52"/>
                <a:gd name="T66" fmla="*/ 0 w 113"/>
                <a:gd name="T67" fmla="*/ 1 h 52"/>
                <a:gd name="T68" fmla="*/ 0 w 113"/>
                <a:gd name="T69" fmla="*/ 1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13"/>
                <a:gd name="T106" fmla="*/ 0 h 52"/>
                <a:gd name="T107" fmla="*/ 113 w 113"/>
                <a:gd name="T108" fmla="*/ 52 h 5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89" name="Freeform 1065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4165" y="877"/>
              <a:ext cx="43" cy="37"/>
            </a:xfrm>
            <a:custGeom>
              <a:avLst/>
              <a:gdLst>
                <a:gd name="T0" fmla="*/ 0 w 139"/>
                <a:gd name="T1" fmla="*/ 6 h 40"/>
                <a:gd name="T2" fmla="*/ 0 w 139"/>
                <a:gd name="T3" fmla="*/ 6 h 40"/>
                <a:gd name="T4" fmla="*/ 0 w 139"/>
                <a:gd name="T5" fmla="*/ 6 h 40"/>
                <a:gd name="T6" fmla="*/ 0 w 139"/>
                <a:gd name="T7" fmla="*/ 6 h 40"/>
                <a:gd name="T8" fmla="*/ 0 w 139"/>
                <a:gd name="T9" fmla="*/ 5 h 40"/>
                <a:gd name="T10" fmla="*/ 0 w 139"/>
                <a:gd name="T11" fmla="*/ 2 h 40"/>
                <a:gd name="T12" fmla="*/ 0 w 139"/>
                <a:gd name="T13" fmla="*/ 1 h 40"/>
                <a:gd name="T14" fmla="*/ 0 w 139"/>
                <a:gd name="T15" fmla="*/ 0 h 40"/>
                <a:gd name="T16" fmla="*/ 0 w 139"/>
                <a:gd name="T17" fmla="*/ 2 h 40"/>
                <a:gd name="T18" fmla="*/ 0 w 139"/>
                <a:gd name="T19" fmla="*/ 8 h 40"/>
                <a:gd name="T20" fmla="*/ 0 w 139"/>
                <a:gd name="T21" fmla="*/ 8 h 40"/>
                <a:gd name="T22" fmla="*/ 0 w 139"/>
                <a:gd name="T23" fmla="*/ 8 h 40"/>
                <a:gd name="T24" fmla="*/ 0 w 139"/>
                <a:gd name="T25" fmla="*/ 8 h 40"/>
                <a:gd name="T26" fmla="*/ 0 w 139"/>
                <a:gd name="T27" fmla="*/ 7 h 40"/>
                <a:gd name="T28" fmla="*/ 0 w 139"/>
                <a:gd name="T29" fmla="*/ 6 h 40"/>
                <a:gd name="T30" fmla="*/ 0 w 139"/>
                <a:gd name="T31" fmla="*/ 6 h 40"/>
                <a:gd name="T32" fmla="*/ 0 w 139"/>
                <a:gd name="T33" fmla="*/ 6 h 40"/>
                <a:gd name="T34" fmla="*/ 0 w 139"/>
                <a:gd name="T35" fmla="*/ 6 h 40"/>
                <a:gd name="T36" fmla="*/ 0 w 139"/>
                <a:gd name="T37" fmla="*/ 6 h 40"/>
                <a:gd name="T38" fmla="*/ 0 w 139"/>
                <a:gd name="T39" fmla="*/ 6 h 40"/>
                <a:gd name="T40" fmla="*/ 0 w 139"/>
                <a:gd name="T41" fmla="*/ 6 h 40"/>
                <a:gd name="T42" fmla="*/ 0 w 139"/>
                <a:gd name="T43" fmla="*/ 6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39"/>
                <a:gd name="T67" fmla="*/ 0 h 40"/>
                <a:gd name="T68" fmla="*/ 139 w 139"/>
                <a:gd name="T69" fmla="*/ 40 h 4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90" name="Freeform 1066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4370" y="840"/>
              <a:ext cx="96" cy="36"/>
            </a:xfrm>
            <a:custGeom>
              <a:avLst/>
              <a:gdLst>
                <a:gd name="T0" fmla="*/ 0 w 325"/>
                <a:gd name="T1" fmla="*/ 1 h 71"/>
                <a:gd name="T2" fmla="*/ 0 w 325"/>
                <a:gd name="T3" fmla="*/ 1 h 71"/>
                <a:gd name="T4" fmla="*/ 0 w 325"/>
                <a:gd name="T5" fmla="*/ 0 h 71"/>
                <a:gd name="T6" fmla="*/ 0 w 325"/>
                <a:gd name="T7" fmla="*/ 1 h 71"/>
                <a:gd name="T8" fmla="*/ 0 w 325"/>
                <a:gd name="T9" fmla="*/ 1 h 71"/>
                <a:gd name="T10" fmla="*/ 0 w 325"/>
                <a:gd name="T11" fmla="*/ 1 h 71"/>
                <a:gd name="T12" fmla="*/ 0 w 325"/>
                <a:gd name="T13" fmla="*/ 1 h 71"/>
                <a:gd name="T14" fmla="*/ 0 w 325"/>
                <a:gd name="T15" fmla="*/ 1 h 71"/>
                <a:gd name="T16" fmla="*/ 0 w 325"/>
                <a:gd name="T17" fmla="*/ 1 h 71"/>
                <a:gd name="T18" fmla="*/ 0 w 325"/>
                <a:gd name="T19" fmla="*/ 1 h 71"/>
                <a:gd name="T20" fmla="*/ 0 w 325"/>
                <a:gd name="T21" fmla="*/ 1 h 71"/>
                <a:gd name="T22" fmla="*/ 0 w 325"/>
                <a:gd name="T23" fmla="*/ 1 h 71"/>
                <a:gd name="T24" fmla="*/ 0 w 325"/>
                <a:gd name="T25" fmla="*/ 1 h 71"/>
                <a:gd name="T26" fmla="*/ 0 w 325"/>
                <a:gd name="T27" fmla="*/ 1 h 71"/>
                <a:gd name="T28" fmla="*/ 0 w 325"/>
                <a:gd name="T29" fmla="*/ 1 h 71"/>
                <a:gd name="T30" fmla="*/ 0 w 325"/>
                <a:gd name="T31" fmla="*/ 1 h 71"/>
                <a:gd name="T32" fmla="*/ 0 w 325"/>
                <a:gd name="T33" fmla="*/ 1 h 71"/>
                <a:gd name="T34" fmla="*/ 0 w 325"/>
                <a:gd name="T35" fmla="*/ 1 h 71"/>
                <a:gd name="T36" fmla="*/ 0 w 325"/>
                <a:gd name="T37" fmla="*/ 1 h 71"/>
                <a:gd name="T38" fmla="*/ 0 w 325"/>
                <a:gd name="T39" fmla="*/ 1 h 71"/>
                <a:gd name="T40" fmla="*/ 0 w 325"/>
                <a:gd name="T41" fmla="*/ 1 h 71"/>
                <a:gd name="T42" fmla="*/ 0 w 325"/>
                <a:gd name="T43" fmla="*/ 1 h 71"/>
                <a:gd name="T44" fmla="*/ 0 w 325"/>
                <a:gd name="T45" fmla="*/ 1 h 71"/>
                <a:gd name="T46" fmla="*/ 0 w 325"/>
                <a:gd name="T47" fmla="*/ 1 h 71"/>
                <a:gd name="T48" fmla="*/ 0 w 325"/>
                <a:gd name="T49" fmla="*/ 1 h 71"/>
                <a:gd name="T50" fmla="*/ 0 w 325"/>
                <a:gd name="T51" fmla="*/ 1 h 71"/>
                <a:gd name="T52" fmla="*/ 0 w 325"/>
                <a:gd name="T53" fmla="*/ 1 h 71"/>
                <a:gd name="T54" fmla="*/ 0 w 325"/>
                <a:gd name="T55" fmla="*/ 1 h 71"/>
                <a:gd name="T56" fmla="*/ 0 w 325"/>
                <a:gd name="T57" fmla="*/ 1 h 71"/>
                <a:gd name="T58" fmla="*/ 0 w 325"/>
                <a:gd name="T59" fmla="*/ 1 h 71"/>
                <a:gd name="T60" fmla="*/ 0 w 325"/>
                <a:gd name="T61" fmla="*/ 1 h 71"/>
                <a:gd name="T62" fmla="*/ 0 w 325"/>
                <a:gd name="T63" fmla="*/ 1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25"/>
                <a:gd name="T97" fmla="*/ 0 h 71"/>
                <a:gd name="T98" fmla="*/ 325 w 325"/>
                <a:gd name="T99" fmla="*/ 71 h 7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91" name="Freeform 1067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4480" y="845"/>
              <a:ext cx="65" cy="36"/>
            </a:xfrm>
            <a:custGeom>
              <a:avLst/>
              <a:gdLst>
                <a:gd name="T0" fmla="*/ 0 w 220"/>
                <a:gd name="T1" fmla="*/ 1 h 72"/>
                <a:gd name="T2" fmla="*/ 0 w 220"/>
                <a:gd name="T3" fmla="*/ 1 h 72"/>
                <a:gd name="T4" fmla="*/ 0 w 220"/>
                <a:gd name="T5" fmla="*/ 1 h 72"/>
                <a:gd name="T6" fmla="*/ 0 w 220"/>
                <a:gd name="T7" fmla="*/ 1 h 72"/>
                <a:gd name="T8" fmla="*/ 0 w 220"/>
                <a:gd name="T9" fmla="*/ 1 h 72"/>
                <a:gd name="T10" fmla="*/ 0 w 220"/>
                <a:gd name="T11" fmla="*/ 1 h 72"/>
                <a:gd name="T12" fmla="*/ 0 w 220"/>
                <a:gd name="T13" fmla="*/ 1 h 72"/>
                <a:gd name="T14" fmla="*/ 0 w 220"/>
                <a:gd name="T15" fmla="*/ 1 h 72"/>
                <a:gd name="T16" fmla="*/ 0 w 220"/>
                <a:gd name="T17" fmla="*/ 1 h 72"/>
                <a:gd name="T18" fmla="*/ 0 w 220"/>
                <a:gd name="T19" fmla="*/ 1 h 72"/>
                <a:gd name="T20" fmla="*/ 0 w 220"/>
                <a:gd name="T21" fmla="*/ 1 h 72"/>
                <a:gd name="T22" fmla="*/ 0 w 220"/>
                <a:gd name="T23" fmla="*/ 1 h 72"/>
                <a:gd name="T24" fmla="*/ 0 w 220"/>
                <a:gd name="T25" fmla="*/ 1 h 72"/>
                <a:gd name="T26" fmla="*/ 0 w 220"/>
                <a:gd name="T27" fmla="*/ 1 h 72"/>
                <a:gd name="T28" fmla="*/ 0 w 220"/>
                <a:gd name="T29" fmla="*/ 0 h 72"/>
                <a:gd name="T30" fmla="*/ 0 w 220"/>
                <a:gd name="T31" fmla="*/ 1 h 72"/>
                <a:gd name="T32" fmla="*/ 0 w 220"/>
                <a:gd name="T33" fmla="*/ 1 h 72"/>
                <a:gd name="T34" fmla="*/ 0 w 220"/>
                <a:gd name="T35" fmla="*/ 1 h 72"/>
                <a:gd name="T36" fmla="*/ 0 w 220"/>
                <a:gd name="T37" fmla="*/ 1 h 72"/>
                <a:gd name="T38" fmla="*/ 0 w 220"/>
                <a:gd name="T39" fmla="*/ 1 h 72"/>
                <a:gd name="T40" fmla="*/ 0 w 220"/>
                <a:gd name="T41" fmla="*/ 1 h 72"/>
                <a:gd name="T42" fmla="*/ 0 w 220"/>
                <a:gd name="T43" fmla="*/ 1 h 72"/>
                <a:gd name="T44" fmla="*/ 0 w 220"/>
                <a:gd name="T45" fmla="*/ 1 h 72"/>
                <a:gd name="T46" fmla="*/ 0 w 220"/>
                <a:gd name="T47" fmla="*/ 1 h 72"/>
                <a:gd name="T48" fmla="*/ 0 w 220"/>
                <a:gd name="T49" fmla="*/ 1 h 72"/>
                <a:gd name="T50" fmla="*/ 0 w 220"/>
                <a:gd name="T51" fmla="*/ 1 h 72"/>
                <a:gd name="T52" fmla="*/ 0 w 220"/>
                <a:gd name="T53" fmla="*/ 1 h 72"/>
                <a:gd name="T54" fmla="*/ 0 w 220"/>
                <a:gd name="T55" fmla="*/ 1 h 72"/>
                <a:gd name="T56" fmla="*/ 0 w 220"/>
                <a:gd name="T57" fmla="*/ 1 h 72"/>
                <a:gd name="T58" fmla="*/ 0 w 220"/>
                <a:gd name="T59" fmla="*/ 1 h 72"/>
                <a:gd name="T60" fmla="*/ 0 w 220"/>
                <a:gd name="T61" fmla="*/ 1 h 72"/>
                <a:gd name="T62" fmla="*/ 0 w 220"/>
                <a:gd name="T63" fmla="*/ 1 h 72"/>
                <a:gd name="T64" fmla="*/ 0 w 220"/>
                <a:gd name="T65" fmla="*/ 1 h 72"/>
                <a:gd name="T66" fmla="*/ 0 w 220"/>
                <a:gd name="T67" fmla="*/ 1 h 72"/>
                <a:gd name="T68" fmla="*/ 0 w 220"/>
                <a:gd name="T69" fmla="*/ 1 h 72"/>
                <a:gd name="T70" fmla="*/ 0 w 220"/>
                <a:gd name="T71" fmla="*/ 1 h 72"/>
                <a:gd name="T72" fmla="*/ 0 w 220"/>
                <a:gd name="T73" fmla="*/ 1 h 72"/>
                <a:gd name="T74" fmla="*/ 0 w 220"/>
                <a:gd name="T75" fmla="*/ 1 h 72"/>
                <a:gd name="T76" fmla="*/ 0 w 220"/>
                <a:gd name="T77" fmla="*/ 1 h 72"/>
                <a:gd name="T78" fmla="*/ 0 w 220"/>
                <a:gd name="T79" fmla="*/ 1 h 72"/>
                <a:gd name="T80" fmla="*/ 0 w 220"/>
                <a:gd name="T81" fmla="*/ 1 h 72"/>
                <a:gd name="T82" fmla="*/ 0 w 220"/>
                <a:gd name="T83" fmla="*/ 1 h 72"/>
                <a:gd name="T84" fmla="*/ 0 w 220"/>
                <a:gd name="T85" fmla="*/ 1 h 72"/>
                <a:gd name="T86" fmla="*/ 0 w 220"/>
                <a:gd name="T87" fmla="*/ 1 h 72"/>
                <a:gd name="T88" fmla="*/ 0 w 220"/>
                <a:gd name="T89" fmla="*/ 1 h 72"/>
                <a:gd name="T90" fmla="*/ 0 w 220"/>
                <a:gd name="T91" fmla="*/ 1 h 72"/>
                <a:gd name="T92" fmla="*/ 0 w 220"/>
                <a:gd name="T93" fmla="*/ 1 h 72"/>
                <a:gd name="T94" fmla="*/ 0 w 220"/>
                <a:gd name="T95" fmla="*/ 1 h 72"/>
                <a:gd name="T96" fmla="*/ 0 w 220"/>
                <a:gd name="T97" fmla="*/ 1 h 72"/>
                <a:gd name="T98" fmla="*/ 0 w 220"/>
                <a:gd name="T99" fmla="*/ 1 h 72"/>
                <a:gd name="T100" fmla="*/ 0 w 220"/>
                <a:gd name="T101" fmla="*/ 1 h 72"/>
                <a:gd name="T102" fmla="*/ 0 w 220"/>
                <a:gd name="T103" fmla="*/ 1 h 72"/>
                <a:gd name="T104" fmla="*/ 0 w 220"/>
                <a:gd name="T105" fmla="*/ 1 h 72"/>
                <a:gd name="T106" fmla="*/ 0 w 220"/>
                <a:gd name="T107" fmla="*/ 1 h 72"/>
                <a:gd name="T108" fmla="*/ 0 w 220"/>
                <a:gd name="T109" fmla="*/ 1 h 72"/>
                <a:gd name="T110" fmla="*/ 0 w 220"/>
                <a:gd name="T111" fmla="*/ 1 h 72"/>
                <a:gd name="T112" fmla="*/ 0 w 220"/>
                <a:gd name="T113" fmla="*/ 1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20"/>
                <a:gd name="T172" fmla="*/ 0 h 72"/>
                <a:gd name="T173" fmla="*/ 220 w 220"/>
                <a:gd name="T174" fmla="*/ 72 h 7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92" name="Freeform 1068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4453" y="875"/>
              <a:ext cx="43" cy="37"/>
            </a:xfrm>
            <a:custGeom>
              <a:avLst/>
              <a:gdLst>
                <a:gd name="T0" fmla="*/ 0 w 146"/>
                <a:gd name="T1" fmla="*/ 1677 h 30"/>
                <a:gd name="T2" fmla="*/ 0 w 146"/>
                <a:gd name="T3" fmla="*/ 1103 h 30"/>
                <a:gd name="T4" fmla="*/ 0 w 146"/>
                <a:gd name="T5" fmla="*/ 594 h 30"/>
                <a:gd name="T6" fmla="*/ 0 w 146"/>
                <a:gd name="T7" fmla="*/ 257 h 30"/>
                <a:gd name="T8" fmla="*/ 0 w 146"/>
                <a:gd name="T9" fmla="*/ 1 h 30"/>
                <a:gd name="T10" fmla="*/ 0 w 146"/>
                <a:gd name="T11" fmla="*/ 1 h 30"/>
                <a:gd name="T12" fmla="*/ 0 w 146"/>
                <a:gd name="T13" fmla="*/ 1 h 30"/>
                <a:gd name="T14" fmla="*/ 0 w 146"/>
                <a:gd name="T15" fmla="*/ 2 h 30"/>
                <a:gd name="T16" fmla="*/ 0 w 146"/>
                <a:gd name="T17" fmla="*/ 208 h 30"/>
                <a:gd name="T18" fmla="*/ 0 w 146"/>
                <a:gd name="T19" fmla="*/ 594 h 30"/>
                <a:gd name="T20" fmla="*/ 0 w 146"/>
                <a:gd name="T21" fmla="*/ 1221 h 30"/>
                <a:gd name="T22" fmla="*/ 0 w 146"/>
                <a:gd name="T23" fmla="*/ 1221 h 30"/>
                <a:gd name="T24" fmla="*/ 0 w 146"/>
                <a:gd name="T25" fmla="*/ 1189 h 30"/>
                <a:gd name="T26" fmla="*/ 0 w 146"/>
                <a:gd name="T27" fmla="*/ 1115 h 30"/>
                <a:gd name="T28" fmla="*/ 0 w 146"/>
                <a:gd name="T29" fmla="*/ 904 h 30"/>
                <a:gd name="T30" fmla="*/ 0 w 146"/>
                <a:gd name="T31" fmla="*/ 803 h 30"/>
                <a:gd name="T32" fmla="*/ 0 w 146"/>
                <a:gd name="T33" fmla="*/ 391 h 30"/>
                <a:gd name="T34" fmla="*/ 0 w 146"/>
                <a:gd name="T35" fmla="*/ 0 h 30"/>
                <a:gd name="T36" fmla="*/ 0 w 146"/>
                <a:gd name="T37" fmla="*/ 594 h 30"/>
                <a:gd name="T38" fmla="*/ 0 w 146"/>
                <a:gd name="T39" fmla="*/ 990 h 30"/>
                <a:gd name="T40" fmla="*/ 0 w 146"/>
                <a:gd name="T41" fmla="*/ 1360 h 30"/>
                <a:gd name="T42" fmla="*/ 0 w 146"/>
                <a:gd name="T43" fmla="*/ 1677 h 30"/>
                <a:gd name="T44" fmla="*/ 0 w 146"/>
                <a:gd name="T45" fmla="*/ 1677 h 30"/>
                <a:gd name="T46" fmla="*/ 0 w 146"/>
                <a:gd name="T47" fmla="*/ 1677 h 30"/>
                <a:gd name="T48" fmla="*/ 0 w 146"/>
                <a:gd name="T49" fmla="*/ 1677 h 30"/>
                <a:gd name="T50" fmla="*/ 0 w 146"/>
                <a:gd name="T51" fmla="*/ 1677 h 30"/>
                <a:gd name="T52" fmla="*/ 0 w 146"/>
                <a:gd name="T53" fmla="*/ 1696 h 30"/>
                <a:gd name="T54" fmla="*/ 0 w 146"/>
                <a:gd name="T55" fmla="*/ 1922 h 30"/>
                <a:gd name="T56" fmla="*/ 0 w 146"/>
                <a:gd name="T57" fmla="*/ 2013 h 30"/>
                <a:gd name="T58" fmla="*/ 0 w 146"/>
                <a:gd name="T59" fmla="*/ 2013 h 30"/>
                <a:gd name="T60" fmla="*/ 0 w 146"/>
                <a:gd name="T61" fmla="*/ 1857 h 30"/>
                <a:gd name="T62" fmla="*/ 0 w 146"/>
                <a:gd name="T63" fmla="*/ 1677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6"/>
                <a:gd name="T97" fmla="*/ 0 h 30"/>
                <a:gd name="T98" fmla="*/ 146 w 146"/>
                <a:gd name="T99" fmla="*/ 30 h 3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93" name="Freeform 1069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4438" y="873"/>
              <a:ext cx="15" cy="37"/>
            </a:xfrm>
            <a:custGeom>
              <a:avLst/>
              <a:gdLst>
                <a:gd name="T0" fmla="*/ 0 w 53"/>
                <a:gd name="T1" fmla="*/ 2147483647 h 9"/>
                <a:gd name="T2" fmla="*/ 0 w 53"/>
                <a:gd name="T3" fmla="*/ 2147483647 h 9"/>
                <a:gd name="T4" fmla="*/ 0 w 53"/>
                <a:gd name="T5" fmla="*/ 2147483647 h 9"/>
                <a:gd name="T6" fmla="*/ 0 w 53"/>
                <a:gd name="T7" fmla="*/ 2147483647 h 9"/>
                <a:gd name="T8" fmla="*/ 0 w 53"/>
                <a:gd name="T9" fmla="*/ 2147483647 h 9"/>
                <a:gd name="T10" fmla="*/ 0 w 53"/>
                <a:gd name="T11" fmla="*/ 2147483647 h 9"/>
                <a:gd name="T12" fmla="*/ 0 w 53"/>
                <a:gd name="T13" fmla="*/ 2147483647 h 9"/>
                <a:gd name="T14" fmla="*/ 0 w 53"/>
                <a:gd name="T15" fmla="*/ 2147483647 h 9"/>
                <a:gd name="T16" fmla="*/ 0 w 53"/>
                <a:gd name="T17" fmla="*/ 0 h 9"/>
                <a:gd name="T18" fmla="*/ 0 w 53"/>
                <a:gd name="T19" fmla="*/ 0 h 9"/>
                <a:gd name="T20" fmla="*/ 0 w 53"/>
                <a:gd name="T21" fmla="*/ 0 h 9"/>
                <a:gd name="T22" fmla="*/ 0 w 53"/>
                <a:gd name="T23" fmla="*/ 2147483647 h 9"/>
                <a:gd name="T24" fmla="*/ 0 w 53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3"/>
                <a:gd name="T40" fmla="*/ 0 h 9"/>
                <a:gd name="T41" fmla="*/ 53 w 53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94" name="Line 1070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4440" y="872"/>
              <a:ext cx="0" cy="1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95" name="Freeform 1071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3873" y="827"/>
              <a:ext cx="8" cy="35"/>
            </a:xfrm>
            <a:custGeom>
              <a:avLst/>
              <a:gdLst>
                <a:gd name="T0" fmla="*/ 0 w 26"/>
                <a:gd name="T1" fmla="*/ 21088 h 25"/>
                <a:gd name="T2" fmla="*/ 0 w 26"/>
                <a:gd name="T3" fmla="*/ 14682 h 25"/>
                <a:gd name="T4" fmla="*/ 0 w 26"/>
                <a:gd name="T5" fmla="*/ 6359 h 25"/>
                <a:gd name="T6" fmla="*/ 0 w 26"/>
                <a:gd name="T7" fmla="*/ 4351 h 25"/>
                <a:gd name="T8" fmla="*/ 0 w 26"/>
                <a:gd name="T9" fmla="*/ 1655 h 25"/>
                <a:gd name="T10" fmla="*/ 0 w 26"/>
                <a:gd name="T11" fmla="*/ 1 h 25"/>
                <a:gd name="T12" fmla="*/ 0 w 26"/>
                <a:gd name="T13" fmla="*/ 0 h 25"/>
                <a:gd name="T14" fmla="*/ 0 w 26"/>
                <a:gd name="T15" fmla="*/ 21088 h 25"/>
                <a:gd name="T16" fmla="*/ 0 w 26"/>
                <a:gd name="T17" fmla="*/ 21088 h 25"/>
                <a:gd name="T18" fmla="*/ 0 w 26"/>
                <a:gd name="T19" fmla="*/ 21088 h 25"/>
                <a:gd name="T20" fmla="*/ 0 w 26"/>
                <a:gd name="T21" fmla="*/ 21088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25"/>
                <a:gd name="T35" fmla="*/ 26 w 26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96" name="Freeform 1072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4384" y="872"/>
              <a:ext cx="7" cy="36"/>
            </a:xfrm>
            <a:custGeom>
              <a:avLst/>
              <a:gdLst>
                <a:gd name="T0" fmla="*/ 0 w 33"/>
                <a:gd name="T1" fmla="*/ 37107 h 25"/>
                <a:gd name="T2" fmla="*/ 0 w 33"/>
                <a:gd name="T3" fmla="*/ 17182 h 25"/>
                <a:gd name="T4" fmla="*/ 0 w 33"/>
                <a:gd name="T5" fmla="*/ 0 h 25"/>
                <a:gd name="T6" fmla="*/ 0 w 33"/>
                <a:gd name="T7" fmla="*/ 0 h 25"/>
                <a:gd name="T8" fmla="*/ 0 w 33"/>
                <a:gd name="T9" fmla="*/ 13329 h 25"/>
                <a:gd name="T10" fmla="*/ 0 w 33"/>
                <a:gd name="T11" fmla="*/ 24742 h 25"/>
                <a:gd name="T12" fmla="*/ 0 w 33"/>
                <a:gd name="T13" fmla="*/ 29591 h 25"/>
                <a:gd name="T14" fmla="*/ 0 w 33"/>
                <a:gd name="T15" fmla="*/ 33998 h 25"/>
                <a:gd name="T16" fmla="*/ 0 w 33"/>
                <a:gd name="T17" fmla="*/ 35628 h 25"/>
                <a:gd name="T18" fmla="*/ 0 w 33"/>
                <a:gd name="T19" fmla="*/ 3710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25"/>
                <a:gd name="T32" fmla="*/ 33 w 33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97" name="Freeform 1073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4353" y="849"/>
              <a:ext cx="6" cy="3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874368 h 18"/>
                <a:gd name="T4" fmla="*/ 0 w 20"/>
                <a:gd name="T5" fmla="*/ 11534335 h 18"/>
                <a:gd name="T6" fmla="*/ 0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18"/>
                <a:gd name="T17" fmla="*/ 20 w 20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98" name="Freeform 1074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4694" y="1208"/>
              <a:ext cx="9" cy="37"/>
            </a:xfrm>
            <a:custGeom>
              <a:avLst/>
              <a:gdLst>
                <a:gd name="T0" fmla="*/ 0 w 33"/>
                <a:gd name="T1" fmla="*/ 1072 h 31"/>
                <a:gd name="T2" fmla="*/ 0 w 33"/>
                <a:gd name="T3" fmla="*/ 0 h 31"/>
                <a:gd name="T4" fmla="*/ 0 w 33"/>
                <a:gd name="T5" fmla="*/ 0 h 31"/>
                <a:gd name="T6" fmla="*/ 0 w 33"/>
                <a:gd name="T7" fmla="*/ 0 h 31"/>
                <a:gd name="T8" fmla="*/ 0 w 33"/>
                <a:gd name="T9" fmla="*/ 0 h 31"/>
                <a:gd name="T10" fmla="*/ 0 w 33"/>
                <a:gd name="T11" fmla="*/ 0 h 31"/>
                <a:gd name="T12" fmla="*/ 0 w 33"/>
                <a:gd name="T13" fmla="*/ 2 h 31"/>
                <a:gd name="T14" fmla="*/ 0 w 33"/>
                <a:gd name="T15" fmla="*/ 175 h 31"/>
                <a:gd name="T16" fmla="*/ 0 w 33"/>
                <a:gd name="T17" fmla="*/ 315 h 31"/>
                <a:gd name="T18" fmla="*/ 0 w 33"/>
                <a:gd name="T19" fmla="*/ 449 h 31"/>
                <a:gd name="T20" fmla="*/ 0 w 33"/>
                <a:gd name="T21" fmla="*/ 603 h 31"/>
                <a:gd name="T22" fmla="*/ 0 w 33"/>
                <a:gd name="T23" fmla="*/ 728 h 31"/>
                <a:gd name="T24" fmla="*/ 0 w 33"/>
                <a:gd name="T25" fmla="*/ 898 h 31"/>
                <a:gd name="T26" fmla="*/ 0 w 33"/>
                <a:gd name="T27" fmla="*/ 1072 h 31"/>
                <a:gd name="T28" fmla="*/ 0 w 33"/>
                <a:gd name="T29" fmla="*/ 1072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3"/>
                <a:gd name="T46" fmla="*/ 0 h 31"/>
                <a:gd name="T47" fmla="*/ 33 w 33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799" name="Freeform 1075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4895" y="907"/>
              <a:ext cx="37" cy="37"/>
            </a:xfrm>
            <a:custGeom>
              <a:avLst/>
              <a:gdLst>
                <a:gd name="T0" fmla="*/ 0 w 129"/>
                <a:gd name="T1" fmla="*/ 1 h 56"/>
                <a:gd name="T2" fmla="*/ 0 w 129"/>
                <a:gd name="T3" fmla="*/ 1 h 56"/>
                <a:gd name="T4" fmla="*/ 0 w 129"/>
                <a:gd name="T5" fmla="*/ 1 h 56"/>
                <a:gd name="T6" fmla="*/ 0 w 129"/>
                <a:gd name="T7" fmla="*/ 1 h 56"/>
                <a:gd name="T8" fmla="*/ 0 w 129"/>
                <a:gd name="T9" fmla="*/ 1 h 56"/>
                <a:gd name="T10" fmla="*/ 0 w 129"/>
                <a:gd name="T11" fmla="*/ 1 h 56"/>
                <a:gd name="T12" fmla="*/ 0 w 129"/>
                <a:gd name="T13" fmla="*/ 1 h 56"/>
                <a:gd name="T14" fmla="*/ 0 w 129"/>
                <a:gd name="T15" fmla="*/ 1 h 56"/>
                <a:gd name="T16" fmla="*/ 0 w 129"/>
                <a:gd name="T17" fmla="*/ 1 h 56"/>
                <a:gd name="T18" fmla="*/ 0 w 129"/>
                <a:gd name="T19" fmla="*/ 1 h 56"/>
                <a:gd name="T20" fmla="*/ 0 w 129"/>
                <a:gd name="T21" fmla="*/ 1 h 56"/>
                <a:gd name="T22" fmla="*/ 0 w 129"/>
                <a:gd name="T23" fmla="*/ 1 h 56"/>
                <a:gd name="T24" fmla="*/ 0 w 129"/>
                <a:gd name="T25" fmla="*/ 0 h 56"/>
                <a:gd name="T26" fmla="*/ 0 w 129"/>
                <a:gd name="T27" fmla="*/ 1 h 56"/>
                <a:gd name="T28" fmla="*/ 0 w 129"/>
                <a:gd name="T29" fmla="*/ 1 h 56"/>
                <a:gd name="T30" fmla="*/ 0 w 129"/>
                <a:gd name="T31" fmla="*/ 1 h 56"/>
                <a:gd name="T32" fmla="*/ 0 w 129"/>
                <a:gd name="T33" fmla="*/ 1 h 56"/>
                <a:gd name="T34" fmla="*/ 0 w 129"/>
                <a:gd name="T35" fmla="*/ 1 h 56"/>
                <a:gd name="T36" fmla="*/ 0 w 129"/>
                <a:gd name="T37" fmla="*/ 1 h 56"/>
                <a:gd name="T38" fmla="*/ 0 w 129"/>
                <a:gd name="T39" fmla="*/ 1 h 56"/>
                <a:gd name="T40" fmla="*/ 0 w 129"/>
                <a:gd name="T41" fmla="*/ 1 h 56"/>
                <a:gd name="T42" fmla="*/ 0 w 129"/>
                <a:gd name="T43" fmla="*/ 1 h 56"/>
                <a:gd name="T44" fmla="*/ 0 w 129"/>
                <a:gd name="T45" fmla="*/ 1 h 56"/>
                <a:gd name="T46" fmla="*/ 0 w 129"/>
                <a:gd name="T47" fmla="*/ 1 h 56"/>
                <a:gd name="T48" fmla="*/ 0 w 129"/>
                <a:gd name="T49" fmla="*/ 1 h 56"/>
                <a:gd name="T50" fmla="*/ 0 w 129"/>
                <a:gd name="T51" fmla="*/ 1 h 56"/>
                <a:gd name="T52" fmla="*/ 0 w 129"/>
                <a:gd name="T53" fmla="*/ 1 h 56"/>
                <a:gd name="T54" fmla="*/ 0 w 129"/>
                <a:gd name="T55" fmla="*/ 1 h 56"/>
                <a:gd name="T56" fmla="*/ 0 w 129"/>
                <a:gd name="T57" fmla="*/ 1 h 56"/>
                <a:gd name="T58" fmla="*/ 0 w 129"/>
                <a:gd name="T59" fmla="*/ 1 h 56"/>
                <a:gd name="T60" fmla="*/ 0 w 129"/>
                <a:gd name="T61" fmla="*/ 1 h 56"/>
                <a:gd name="T62" fmla="*/ 0 w 129"/>
                <a:gd name="T63" fmla="*/ 1 h 56"/>
                <a:gd name="T64" fmla="*/ 0 w 129"/>
                <a:gd name="T65" fmla="*/ 1 h 56"/>
                <a:gd name="T66" fmla="*/ 0 w 129"/>
                <a:gd name="T67" fmla="*/ 1 h 56"/>
                <a:gd name="T68" fmla="*/ 0 w 129"/>
                <a:gd name="T69" fmla="*/ 1 h 56"/>
                <a:gd name="T70" fmla="*/ 0 w 129"/>
                <a:gd name="T71" fmla="*/ 1 h 56"/>
                <a:gd name="T72" fmla="*/ 0 w 129"/>
                <a:gd name="T73" fmla="*/ 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29"/>
                <a:gd name="T112" fmla="*/ 0 h 56"/>
                <a:gd name="T113" fmla="*/ 129 w 129"/>
                <a:gd name="T114" fmla="*/ 56 h 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00" name="Freeform 1076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4988" y="1129"/>
              <a:ext cx="9" cy="36"/>
            </a:xfrm>
            <a:custGeom>
              <a:avLst/>
              <a:gdLst>
                <a:gd name="T0" fmla="*/ 0 w 41"/>
                <a:gd name="T1" fmla="*/ 3 h 42"/>
                <a:gd name="T2" fmla="*/ 0 w 41"/>
                <a:gd name="T3" fmla="*/ 3 h 42"/>
                <a:gd name="T4" fmla="*/ 0 w 41"/>
                <a:gd name="T5" fmla="*/ 3 h 42"/>
                <a:gd name="T6" fmla="*/ 0 w 41"/>
                <a:gd name="T7" fmla="*/ 3 h 42"/>
                <a:gd name="T8" fmla="*/ 0 w 41"/>
                <a:gd name="T9" fmla="*/ 3 h 42"/>
                <a:gd name="T10" fmla="*/ 0 w 41"/>
                <a:gd name="T11" fmla="*/ 1 h 42"/>
                <a:gd name="T12" fmla="*/ 0 w 41"/>
                <a:gd name="T13" fmla="*/ 0 h 42"/>
                <a:gd name="T14" fmla="*/ 0 w 41"/>
                <a:gd name="T15" fmla="*/ 3 h 42"/>
                <a:gd name="T16" fmla="*/ 0 w 41"/>
                <a:gd name="T17" fmla="*/ 3 h 42"/>
                <a:gd name="T18" fmla="*/ 0 w 41"/>
                <a:gd name="T19" fmla="*/ 3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1"/>
                <a:gd name="T31" fmla="*/ 0 h 42"/>
                <a:gd name="T32" fmla="*/ 41 w 41"/>
                <a:gd name="T33" fmla="*/ 42 h 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01" name="Freeform 1077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5090" y="1200"/>
              <a:ext cx="29" cy="38"/>
            </a:xfrm>
            <a:custGeom>
              <a:avLst/>
              <a:gdLst>
                <a:gd name="T0" fmla="*/ 0 w 93"/>
                <a:gd name="T1" fmla="*/ 9 h 39"/>
                <a:gd name="T2" fmla="*/ 0 w 93"/>
                <a:gd name="T3" fmla="*/ 18 h 39"/>
                <a:gd name="T4" fmla="*/ 0 w 93"/>
                <a:gd name="T5" fmla="*/ 19 h 39"/>
                <a:gd name="T6" fmla="*/ 0 w 93"/>
                <a:gd name="T7" fmla="*/ 19 h 39"/>
                <a:gd name="T8" fmla="*/ 0 w 93"/>
                <a:gd name="T9" fmla="*/ 19 h 39"/>
                <a:gd name="T10" fmla="*/ 0 w 93"/>
                <a:gd name="T11" fmla="*/ 19 h 39"/>
                <a:gd name="T12" fmla="*/ 0 w 93"/>
                <a:gd name="T13" fmla="*/ 19 h 39"/>
                <a:gd name="T14" fmla="*/ 0 w 93"/>
                <a:gd name="T15" fmla="*/ 19 h 39"/>
                <a:gd name="T16" fmla="*/ 0 w 93"/>
                <a:gd name="T17" fmla="*/ 19 h 39"/>
                <a:gd name="T18" fmla="*/ 0 w 93"/>
                <a:gd name="T19" fmla="*/ 19 h 39"/>
                <a:gd name="T20" fmla="*/ 0 w 93"/>
                <a:gd name="T21" fmla="*/ 19 h 39"/>
                <a:gd name="T22" fmla="*/ 0 w 93"/>
                <a:gd name="T23" fmla="*/ 19 h 39"/>
                <a:gd name="T24" fmla="*/ 0 w 93"/>
                <a:gd name="T25" fmla="*/ 18 h 39"/>
                <a:gd name="T26" fmla="*/ 0 w 93"/>
                <a:gd name="T27" fmla="*/ 13 h 39"/>
                <a:gd name="T28" fmla="*/ 0 w 93"/>
                <a:gd name="T29" fmla="*/ 7 h 39"/>
                <a:gd name="T30" fmla="*/ 0 w 93"/>
                <a:gd name="T31" fmla="*/ 3 h 39"/>
                <a:gd name="T32" fmla="*/ 0 w 93"/>
                <a:gd name="T33" fmla="*/ 1 h 39"/>
                <a:gd name="T34" fmla="*/ 0 w 93"/>
                <a:gd name="T35" fmla="*/ 0 h 39"/>
                <a:gd name="T36" fmla="*/ 0 w 93"/>
                <a:gd name="T37" fmla="*/ 0 h 39"/>
                <a:gd name="T38" fmla="*/ 0 w 93"/>
                <a:gd name="T39" fmla="*/ 1 h 39"/>
                <a:gd name="T40" fmla="*/ 0 w 93"/>
                <a:gd name="T41" fmla="*/ 4 h 39"/>
                <a:gd name="T42" fmla="*/ 0 w 93"/>
                <a:gd name="T43" fmla="*/ 9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3"/>
                <a:gd name="T67" fmla="*/ 0 h 39"/>
                <a:gd name="T68" fmla="*/ 93 w 93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02" name="Freeform 1078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5124" y="1210"/>
              <a:ext cx="13" cy="37"/>
            </a:xfrm>
            <a:custGeom>
              <a:avLst/>
              <a:gdLst>
                <a:gd name="T0" fmla="*/ 0 w 39"/>
                <a:gd name="T1" fmla="*/ 11682013 h 19"/>
                <a:gd name="T2" fmla="*/ 0 w 39"/>
                <a:gd name="T3" fmla="*/ 11682013 h 19"/>
                <a:gd name="T4" fmla="*/ 0 w 39"/>
                <a:gd name="T5" fmla="*/ 11682013 h 19"/>
                <a:gd name="T6" fmla="*/ 0 w 39"/>
                <a:gd name="T7" fmla="*/ 10392069 h 19"/>
                <a:gd name="T8" fmla="*/ 0 w 39"/>
                <a:gd name="T9" fmla="*/ 8583323 h 19"/>
                <a:gd name="T10" fmla="*/ 0 w 39"/>
                <a:gd name="T11" fmla="*/ 6677537 h 19"/>
                <a:gd name="T12" fmla="*/ 0 w 39"/>
                <a:gd name="T13" fmla="*/ 3080503 h 19"/>
                <a:gd name="T14" fmla="*/ 0 w 39"/>
                <a:gd name="T15" fmla="*/ 0 h 19"/>
                <a:gd name="T16" fmla="*/ 0 w 39"/>
                <a:gd name="T17" fmla="*/ 2571611 h 19"/>
                <a:gd name="T18" fmla="*/ 0 w 39"/>
                <a:gd name="T19" fmla="*/ 5642141 h 19"/>
                <a:gd name="T20" fmla="*/ 0 w 39"/>
                <a:gd name="T21" fmla="*/ 8583323 h 19"/>
                <a:gd name="T22" fmla="*/ 0 w 39"/>
                <a:gd name="T23" fmla="*/ 11682013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9"/>
                <a:gd name="T37" fmla="*/ 0 h 19"/>
                <a:gd name="T38" fmla="*/ 39 w 39"/>
                <a:gd name="T39" fmla="*/ 19 h 1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03" name="Freeform 1079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5032" y="1290"/>
              <a:ext cx="10" cy="36"/>
            </a:xfrm>
            <a:custGeom>
              <a:avLst/>
              <a:gdLst>
                <a:gd name="T0" fmla="*/ 0 w 26"/>
                <a:gd name="T1" fmla="*/ 36 h 36"/>
                <a:gd name="T2" fmla="*/ 0 w 26"/>
                <a:gd name="T3" fmla="*/ 31 h 36"/>
                <a:gd name="T4" fmla="*/ 0 w 26"/>
                <a:gd name="T5" fmla="*/ 20 h 36"/>
                <a:gd name="T6" fmla="*/ 0 w 26"/>
                <a:gd name="T7" fmla="*/ 8 h 36"/>
                <a:gd name="T8" fmla="*/ 0 w 26"/>
                <a:gd name="T9" fmla="*/ 0 h 36"/>
                <a:gd name="T10" fmla="*/ 0 w 26"/>
                <a:gd name="T11" fmla="*/ 9 h 36"/>
                <a:gd name="T12" fmla="*/ 0 w 26"/>
                <a:gd name="T13" fmla="*/ 18 h 36"/>
                <a:gd name="T14" fmla="*/ 0 w 26"/>
                <a:gd name="T15" fmla="*/ 22 h 36"/>
                <a:gd name="T16" fmla="*/ 0 w 26"/>
                <a:gd name="T17" fmla="*/ 26 h 36"/>
                <a:gd name="T18" fmla="*/ 0 w 26"/>
                <a:gd name="T19" fmla="*/ 29 h 36"/>
                <a:gd name="T20" fmla="*/ 0 w 26"/>
                <a:gd name="T21" fmla="*/ 32 h 36"/>
                <a:gd name="T22" fmla="*/ 0 w 26"/>
                <a:gd name="T23" fmla="*/ 34 h 36"/>
                <a:gd name="T24" fmla="*/ 0 w 26"/>
                <a:gd name="T25" fmla="*/ 35 h 36"/>
                <a:gd name="T26" fmla="*/ 0 w 26"/>
                <a:gd name="T27" fmla="*/ 36 h 36"/>
                <a:gd name="T28" fmla="*/ 0 w 26"/>
                <a:gd name="T29" fmla="*/ 36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"/>
                <a:gd name="T46" fmla="*/ 0 h 36"/>
                <a:gd name="T47" fmla="*/ 26 w 26"/>
                <a:gd name="T48" fmla="*/ 36 h 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04" name="Freeform 1080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5040" y="1308"/>
              <a:ext cx="2" cy="38"/>
            </a:xfrm>
            <a:custGeom>
              <a:avLst/>
              <a:gdLst>
                <a:gd name="T0" fmla="*/ 0 w 6"/>
                <a:gd name="T1" fmla="*/ 58 h 37"/>
                <a:gd name="T2" fmla="*/ 0 w 6"/>
                <a:gd name="T3" fmla="*/ 0 h 37"/>
                <a:gd name="T4" fmla="*/ 0 w 6"/>
                <a:gd name="T5" fmla="*/ 0 h 37"/>
                <a:gd name="T6" fmla="*/ 0 w 6"/>
                <a:gd name="T7" fmla="*/ 51 h 37"/>
                <a:gd name="T8" fmla="*/ 0 w 6"/>
                <a:gd name="T9" fmla="*/ 58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7"/>
                <a:gd name="T17" fmla="*/ 6 w 6"/>
                <a:gd name="T18" fmla="*/ 37 h 3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05" name="Freeform 1081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5031" y="1360"/>
              <a:ext cx="7" cy="35"/>
            </a:xfrm>
            <a:custGeom>
              <a:avLst/>
              <a:gdLst>
                <a:gd name="T0" fmla="*/ 0 w 20"/>
                <a:gd name="T1" fmla="*/ 2 h 43"/>
                <a:gd name="T2" fmla="*/ 0 w 20"/>
                <a:gd name="T3" fmla="*/ 2 h 43"/>
                <a:gd name="T4" fmla="*/ 0 w 20"/>
                <a:gd name="T5" fmla="*/ 2 h 43"/>
                <a:gd name="T6" fmla="*/ 0 w 20"/>
                <a:gd name="T7" fmla="*/ 2 h 43"/>
                <a:gd name="T8" fmla="*/ 0 w 20"/>
                <a:gd name="T9" fmla="*/ 0 h 43"/>
                <a:gd name="T10" fmla="*/ 0 w 20"/>
                <a:gd name="T11" fmla="*/ 2 h 43"/>
                <a:gd name="T12" fmla="*/ 0 w 20"/>
                <a:gd name="T13" fmla="*/ 2 h 43"/>
                <a:gd name="T14" fmla="*/ 0 w 20"/>
                <a:gd name="T15" fmla="*/ 2 h 43"/>
                <a:gd name="T16" fmla="*/ 0 w 20"/>
                <a:gd name="T17" fmla="*/ 2 h 43"/>
                <a:gd name="T18" fmla="*/ 0 w 20"/>
                <a:gd name="T19" fmla="*/ 2 h 43"/>
                <a:gd name="T20" fmla="*/ 0 w 20"/>
                <a:gd name="T21" fmla="*/ 2 h 43"/>
                <a:gd name="T22" fmla="*/ 0 w 20"/>
                <a:gd name="T23" fmla="*/ 2 h 43"/>
                <a:gd name="T24" fmla="*/ 0 w 20"/>
                <a:gd name="T25" fmla="*/ 2 h 43"/>
                <a:gd name="T26" fmla="*/ 0 w 20"/>
                <a:gd name="T27" fmla="*/ 2 h 43"/>
                <a:gd name="T28" fmla="*/ 0 w 20"/>
                <a:gd name="T29" fmla="*/ 2 h 43"/>
                <a:gd name="T30" fmla="*/ 0 w 20"/>
                <a:gd name="T31" fmla="*/ 2 h 43"/>
                <a:gd name="T32" fmla="*/ 0 w 20"/>
                <a:gd name="T33" fmla="*/ 2 h 43"/>
                <a:gd name="T34" fmla="*/ 0 w 20"/>
                <a:gd name="T35" fmla="*/ 2 h 43"/>
                <a:gd name="T36" fmla="*/ 0 w 20"/>
                <a:gd name="T37" fmla="*/ 2 h 43"/>
                <a:gd name="T38" fmla="*/ 0 w 20"/>
                <a:gd name="T39" fmla="*/ 2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"/>
                <a:gd name="T61" fmla="*/ 0 h 43"/>
                <a:gd name="T62" fmla="*/ 20 w 20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06" name="Freeform 1082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5016" y="1382"/>
              <a:ext cx="0" cy="37"/>
            </a:xfrm>
            <a:custGeom>
              <a:avLst/>
              <a:gdLst>
                <a:gd name="T0" fmla="*/ 2013 h 30"/>
                <a:gd name="T1" fmla="*/ 1677 h 30"/>
                <a:gd name="T2" fmla="*/ 1189 h 30"/>
                <a:gd name="T3" fmla="*/ 594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h 30"/>
                <a:gd name="T11" fmla="*/ 30 h 30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T10" r="0" b="T11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07" name="Freeform 1083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5016" y="1382"/>
              <a:ext cx="5" cy="37"/>
            </a:xfrm>
            <a:custGeom>
              <a:avLst/>
              <a:gdLst>
                <a:gd name="T0" fmla="*/ 0 w 20"/>
                <a:gd name="T1" fmla="*/ 0 h 24"/>
                <a:gd name="T2" fmla="*/ 0 w 20"/>
                <a:gd name="T3" fmla="*/ 0 h 24"/>
                <a:gd name="T4" fmla="*/ 0 w 20"/>
                <a:gd name="T5" fmla="*/ 139024 h 24"/>
                <a:gd name="T6" fmla="*/ 0 60000 65536"/>
                <a:gd name="T7" fmla="*/ 0 60000 65536"/>
                <a:gd name="T8" fmla="*/ 0 60000 65536"/>
                <a:gd name="T9" fmla="*/ 0 w 20"/>
                <a:gd name="T10" fmla="*/ 0 h 24"/>
                <a:gd name="T11" fmla="*/ 20 w 20"/>
                <a:gd name="T12" fmla="*/ 24 h 2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08" name="Freeform 1084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4848" y="1122"/>
              <a:ext cx="12" cy="38"/>
            </a:xfrm>
            <a:custGeom>
              <a:avLst/>
              <a:gdLst>
                <a:gd name="T0" fmla="*/ 0 w 46"/>
                <a:gd name="T1" fmla="*/ 0 h 19"/>
                <a:gd name="T2" fmla="*/ 0 w 46"/>
                <a:gd name="T3" fmla="*/ 3145728 h 19"/>
                <a:gd name="T4" fmla="*/ 0 w 46"/>
                <a:gd name="T5" fmla="*/ 5242880 h 19"/>
                <a:gd name="T6" fmla="*/ 0 w 46"/>
                <a:gd name="T7" fmla="*/ 8388609 h 19"/>
                <a:gd name="T8" fmla="*/ 0 w 46"/>
                <a:gd name="T9" fmla="*/ 10485760 h 19"/>
                <a:gd name="T10" fmla="*/ 0 w 46"/>
                <a:gd name="T11" fmla="*/ 12582911 h 19"/>
                <a:gd name="T12" fmla="*/ 0 w 46"/>
                <a:gd name="T13" fmla="*/ 14680062 h 19"/>
                <a:gd name="T14" fmla="*/ 0 w 46"/>
                <a:gd name="T15" fmla="*/ 17825793 h 19"/>
                <a:gd name="T16" fmla="*/ 0 w 46"/>
                <a:gd name="T17" fmla="*/ 19922944 h 19"/>
                <a:gd name="T18" fmla="*/ 0 w 46"/>
                <a:gd name="T19" fmla="*/ 19922944 h 19"/>
                <a:gd name="T20" fmla="*/ 0 w 46"/>
                <a:gd name="T21" fmla="*/ 19922944 h 19"/>
                <a:gd name="T22" fmla="*/ 0 w 46"/>
                <a:gd name="T23" fmla="*/ 18874368 h 19"/>
                <a:gd name="T24" fmla="*/ 0 w 46"/>
                <a:gd name="T25" fmla="*/ 17825793 h 19"/>
                <a:gd name="T26" fmla="*/ 0 w 46"/>
                <a:gd name="T27" fmla="*/ 14680062 h 19"/>
                <a:gd name="T28" fmla="*/ 0 w 46"/>
                <a:gd name="T29" fmla="*/ 11534335 h 19"/>
                <a:gd name="T30" fmla="*/ 0 w 46"/>
                <a:gd name="T31" fmla="*/ 7340031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6"/>
                <a:gd name="T52" fmla="*/ 0 h 19"/>
                <a:gd name="T53" fmla="*/ 46 w 46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09" name="Freeform 1085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3016" y="1210"/>
              <a:ext cx="33" cy="37"/>
            </a:xfrm>
            <a:custGeom>
              <a:avLst/>
              <a:gdLst>
                <a:gd name="T0" fmla="*/ 0 w 100"/>
                <a:gd name="T1" fmla="*/ 0 h 55"/>
                <a:gd name="T2" fmla="*/ 0 w 100"/>
                <a:gd name="T3" fmla="*/ 1 h 55"/>
                <a:gd name="T4" fmla="*/ 0 w 100"/>
                <a:gd name="T5" fmla="*/ 1 h 55"/>
                <a:gd name="T6" fmla="*/ 0 w 100"/>
                <a:gd name="T7" fmla="*/ 1 h 55"/>
                <a:gd name="T8" fmla="*/ 0 w 100"/>
                <a:gd name="T9" fmla="*/ 1 h 55"/>
                <a:gd name="T10" fmla="*/ 0 w 100"/>
                <a:gd name="T11" fmla="*/ 1 h 55"/>
                <a:gd name="T12" fmla="*/ 0 w 100"/>
                <a:gd name="T13" fmla="*/ 1 h 55"/>
                <a:gd name="T14" fmla="*/ 0 w 100"/>
                <a:gd name="T15" fmla="*/ 1 h 55"/>
                <a:gd name="T16" fmla="*/ 0 w 100"/>
                <a:gd name="T17" fmla="*/ 1 h 55"/>
                <a:gd name="T18" fmla="*/ 0 w 100"/>
                <a:gd name="T19" fmla="*/ 1 h 55"/>
                <a:gd name="T20" fmla="*/ 0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0"/>
                <a:gd name="T34" fmla="*/ 0 h 55"/>
                <a:gd name="T35" fmla="*/ 100 w 100"/>
                <a:gd name="T36" fmla="*/ 55 h 5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10" name="Freeform 1086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3323" y="953"/>
              <a:ext cx="29" cy="37"/>
            </a:xfrm>
            <a:custGeom>
              <a:avLst/>
              <a:gdLst>
                <a:gd name="T0" fmla="*/ 0 w 99"/>
                <a:gd name="T1" fmla="*/ 1 h 51"/>
                <a:gd name="T2" fmla="*/ 0 w 99"/>
                <a:gd name="T3" fmla="*/ 1 h 51"/>
                <a:gd name="T4" fmla="*/ 0 w 99"/>
                <a:gd name="T5" fmla="*/ 0 h 51"/>
                <a:gd name="T6" fmla="*/ 0 w 99"/>
                <a:gd name="T7" fmla="*/ 0 h 51"/>
                <a:gd name="T8" fmla="*/ 0 w 99"/>
                <a:gd name="T9" fmla="*/ 1 h 51"/>
                <a:gd name="T10" fmla="*/ 0 w 99"/>
                <a:gd name="T11" fmla="*/ 1 h 51"/>
                <a:gd name="T12" fmla="*/ 0 w 99"/>
                <a:gd name="T13" fmla="*/ 1 h 51"/>
                <a:gd name="T14" fmla="*/ 0 w 99"/>
                <a:gd name="T15" fmla="*/ 1 h 51"/>
                <a:gd name="T16" fmla="*/ 0 w 99"/>
                <a:gd name="T17" fmla="*/ 1 h 51"/>
                <a:gd name="T18" fmla="*/ 0 w 99"/>
                <a:gd name="T19" fmla="*/ 1 h 51"/>
                <a:gd name="T20" fmla="*/ 0 w 99"/>
                <a:gd name="T21" fmla="*/ 1 h 51"/>
                <a:gd name="T22" fmla="*/ 0 w 99"/>
                <a:gd name="T23" fmla="*/ 1 h 51"/>
                <a:gd name="T24" fmla="*/ 0 w 99"/>
                <a:gd name="T25" fmla="*/ 1 h 51"/>
                <a:gd name="T26" fmla="*/ 0 w 99"/>
                <a:gd name="T27" fmla="*/ 1 h 51"/>
                <a:gd name="T28" fmla="*/ 0 w 99"/>
                <a:gd name="T29" fmla="*/ 1 h 51"/>
                <a:gd name="T30" fmla="*/ 0 w 99"/>
                <a:gd name="T31" fmla="*/ 1 h 51"/>
                <a:gd name="T32" fmla="*/ 0 w 99"/>
                <a:gd name="T33" fmla="*/ 1 h 51"/>
                <a:gd name="T34" fmla="*/ 0 w 99"/>
                <a:gd name="T35" fmla="*/ 1 h 51"/>
                <a:gd name="T36" fmla="*/ 0 w 99"/>
                <a:gd name="T37" fmla="*/ 1 h 51"/>
                <a:gd name="T38" fmla="*/ 0 w 99"/>
                <a:gd name="T39" fmla="*/ 1 h 51"/>
                <a:gd name="T40" fmla="*/ 0 w 99"/>
                <a:gd name="T41" fmla="*/ 1 h 51"/>
                <a:gd name="T42" fmla="*/ 0 w 99"/>
                <a:gd name="T43" fmla="*/ 1 h 51"/>
                <a:gd name="T44" fmla="*/ 0 w 99"/>
                <a:gd name="T45" fmla="*/ 1 h 51"/>
                <a:gd name="T46" fmla="*/ 0 w 99"/>
                <a:gd name="T47" fmla="*/ 1 h 51"/>
                <a:gd name="T48" fmla="*/ 0 w 99"/>
                <a:gd name="T49" fmla="*/ 1 h 51"/>
                <a:gd name="T50" fmla="*/ 0 w 99"/>
                <a:gd name="T51" fmla="*/ 1 h 51"/>
                <a:gd name="T52" fmla="*/ 0 w 99"/>
                <a:gd name="T53" fmla="*/ 1 h 51"/>
                <a:gd name="T54" fmla="*/ 0 w 99"/>
                <a:gd name="T55" fmla="*/ 1 h 51"/>
                <a:gd name="T56" fmla="*/ 0 w 99"/>
                <a:gd name="T57" fmla="*/ 1 h 51"/>
                <a:gd name="T58" fmla="*/ 0 w 99"/>
                <a:gd name="T59" fmla="*/ 1 h 51"/>
                <a:gd name="T60" fmla="*/ 0 w 99"/>
                <a:gd name="T61" fmla="*/ 1 h 51"/>
                <a:gd name="T62" fmla="*/ 0 w 99"/>
                <a:gd name="T63" fmla="*/ 1 h 51"/>
                <a:gd name="T64" fmla="*/ 0 w 99"/>
                <a:gd name="T65" fmla="*/ 1 h 51"/>
                <a:gd name="T66" fmla="*/ 0 w 99"/>
                <a:gd name="T67" fmla="*/ 1 h 51"/>
                <a:gd name="T68" fmla="*/ 0 w 99"/>
                <a:gd name="T69" fmla="*/ 1 h 51"/>
                <a:gd name="T70" fmla="*/ 0 w 99"/>
                <a:gd name="T71" fmla="*/ 1 h 51"/>
                <a:gd name="T72" fmla="*/ 0 w 99"/>
                <a:gd name="T73" fmla="*/ 1 h 51"/>
                <a:gd name="T74" fmla="*/ 0 w 99"/>
                <a:gd name="T75" fmla="*/ 1 h 51"/>
                <a:gd name="T76" fmla="*/ 0 w 99"/>
                <a:gd name="T77" fmla="*/ 1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9"/>
                <a:gd name="T118" fmla="*/ 0 h 51"/>
                <a:gd name="T119" fmla="*/ 99 w 99"/>
                <a:gd name="T120" fmla="*/ 51 h 5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11" name="Freeform 1087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3346" y="835"/>
              <a:ext cx="156" cy="103"/>
            </a:xfrm>
            <a:custGeom>
              <a:avLst/>
              <a:gdLst>
                <a:gd name="T0" fmla="*/ 0 w 525"/>
                <a:gd name="T1" fmla="*/ 0 h 311"/>
                <a:gd name="T2" fmla="*/ 0 w 525"/>
                <a:gd name="T3" fmla="*/ 0 h 311"/>
                <a:gd name="T4" fmla="*/ 0 w 525"/>
                <a:gd name="T5" fmla="*/ 0 h 311"/>
                <a:gd name="T6" fmla="*/ 0 w 525"/>
                <a:gd name="T7" fmla="*/ 0 h 311"/>
                <a:gd name="T8" fmla="*/ 0 w 525"/>
                <a:gd name="T9" fmla="*/ 0 h 311"/>
                <a:gd name="T10" fmla="*/ 0 w 525"/>
                <a:gd name="T11" fmla="*/ 0 h 311"/>
                <a:gd name="T12" fmla="*/ 0 w 525"/>
                <a:gd name="T13" fmla="*/ 0 h 311"/>
                <a:gd name="T14" fmla="*/ 0 w 525"/>
                <a:gd name="T15" fmla="*/ 0 h 311"/>
                <a:gd name="T16" fmla="*/ 0 w 525"/>
                <a:gd name="T17" fmla="*/ 0 h 311"/>
                <a:gd name="T18" fmla="*/ 0 w 525"/>
                <a:gd name="T19" fmla="*/ 0 h 311"/>
                <a:gd name="T20" fmla="*/ 0 w 525"/>
                <a:gd name="T21" fmla="*/ 0 h 311"/>
                <a:gd name="T22" fmla="*/ 0 w 525"/>
                <a:gd name="T23" fmla="*/ 0 h 311"/>
                <a:gd name="T24" fmla="*/ 0 w 525"/>
                <a:gd name="T25" fmla="*/ 0 h 311"/>
                <a:gd name="T26" fmla="*/ 0 w 525"/>
                <a:gd name="T27" fmla="*/ 0 h 311"/>
                <a:gd name="T28" fmla="*/ 0 w 525"/>
                <a:gd name="T29" fmla="*/ 0 h 311"/>
                <a:gd name="T30" fmla="*/ 0 w 525"/>
                <a:gd name="T31" fmla="*/ 0 h 311"/>
                <a:gd name="T32" fmla="*/ 0 w 525"/>
                <a:gd name="T33" fmla="*/ 0 h 311"/>
                <a:gd name="T34" fmla="*/ 0 w 525"/>
                <a:gd name="T35" fmla="*/ 0 h 311"/>
                <a:gd name="T36" fmla="*/ 0 w 525"/>
                <a:gd name="T37" fmla="*/ 0 h 311"/>
                <a:gd name="T38" fmla="*/ 0 w 525"/>
                <a:gd name="T39" fmla="*/ 0 h 311"/>
                <a:gd name="T40" fmla="*/ 0 w 525"/>
                <a:gd name="T41" fmla="*/ 0 h 311"/>
                <a:gd name="T42" fmla="*/ 0 w 525"/>
                <a:gd name="T43" fmla="*/ 0 h 311"/>
                <a:gd name="T44" fmla="*/ 0 w 525"/>
                <a:gd name="T45" fmla="*/ 0 h 311"/>
                <a:gd name="T46" fmla="*/ 0 w 525"/>
                <a:gd name="T47" fmla="*/ 0 h 311"/>
                <a:gd name="T48" fmla="*/ 0 w 525"/>
                <a:gd name="T49" fmla="*/ 0 h 311"/>
                <a:gd name="T50" fmla="*/ 0 w 525"/>
                <a:gd name="T51" fmla="*/ 0 h 311"/>
                <a:gd name="T52" fmla="*/ 0 w 525"/>
                <a:gd name="T53" fmla="*/ 0 h 311"/>
                <a:gd name="T54" fmla="*/ 0 w 525"/>
                <a:gd name="T55" fmla="*/ 0 h 311"/>
                <a:gd name="T56" fmla="*/ 0 w 525"/>
                <a:gd name="T57" fmla="*/ 0 h 311"/>
                <a:gd name="T58" fmla="*/ 0 w 525"/>
                <a:gd name="T59" fmla="*/ 0 h 311"/>
                <a:gd name="T60" fmla="*/ 0 w 525"/>
                <a:gd name="T61" fmla="*/ 0 h 311"/>
                <a:gd name="T62" fmla="*/ 0 w 525"/>
                <a:gd name="T63" fmla="*/ 0 h 311"/>
                <a:gd name="T64" fmla="*/ 0 w 525"/>
                <a:gd name="T65" fmla="*/ 0 h 311"/>
                <a:gd name="T66" fmla="*/ 0 w 525"/>
                <a:gd name="T67" fmla="*/ 0 h 311"/>
                <a:gd name="T68" fmla="*/ 0 w 525"/>
                <a:gd name="T69" fmla="*/ 0 h 311"/>
                <a:gd name="T70" fmla="*/ 0 w 525"/>
                <a:gd name="T71" fmla="*/ 0 h 311"/>
                <a:gd name="T72" fmla="*/ 0 w 525"/>
                <a:gd name="T73" fmla="*/ 0 h 311"/>
                <a:gd name="T74" fmla="*/ 0 w 525"/>
                <a:gd name="T75" fmla="*/ 0 h 311"/>
                <a:gd name="T76" fmla="*/ 0 w 525"/>
                <a:gd name="T77" fmla="*/ 0 h 311"/>
                <a:gd name="T78" fmla="*/ 0 w 525"/>
                <a:gd name="T79" fmla="*/ 0 h 311"/>
                <a:gd name="T80" fmla="*/ 0 w 525"/>
                <a:gd name="T81" fmla="*/ 0 h 311"/>
                <a:gd name="T82" fmla="*/ 0 w 525"/>
                <a:gd name="T83" fmla="*/ 0 h 311"/>
                <a:gd name="T84" fmla="*/ 0 w 525"/>
                <a:gd name="T85" fmla="*/ 0 h 311"/>
                <a:gd name="T86" fmla="*/ 0 w 525"/>
                <a:gd name="T87" fmla="*/ 0 h 311"/>
                <a:gd name="T88" fmla="*/ 0 w 525"/>
                <a:gd name="T89" fmla="*/ 0 h 311"/>
                <a:gd name="T90" fmla="*/ 0 w 525"/>
                <a:gd name="T91" fmla="*/ 0 h 311"/>
                <a:gd name="T92" fmla="*/ 0 w 525"/>
                <a:gd name="T93" fmla="*/ 0 h 311"/>
                <a:gd name="T94" fmla="*/ 0 w 525"/>
                <a:gd name="T95" fmla="*/ 0 h 311"/>
                <a:gd name="T96" fmla="*/ 0 w 525"/>
                <a:gd name="T97" fmla="*/ 0 h 311"/>
                <a:gd name="T98" fmla="*/ 0 w 525"/>
                <a:gd name="T99" fmla="*/ 0 h 311"/>
                <a:gd name="T100" fmla="*/ 0 w 525"/>
                <a:gd name="T101" fmla="*/ 0 h 311"/>
                <a:gd name="T102" fmla="*/ 0 w 525"/>
                <a:gd name="T103" fmla="*/ 0 h 311"/>
                <a:gd name="T104" fmla="*/ 0 w 525"/>
                <a:gd name="T105" fmla="*/ 0 h 311"/>
                <a:gd name="T106" fmla="*/ 0 w 525"/>
                <a:gd name="T107" fmla="*/ 0 h 311"/>
                <a:gd name="T108" fmla="*/ 0 w 525"/>
                <a:gd name="T109" fmla="*/ 0 h 311"/>
                <a:gd name="T110" fmla="*/ 0 w 525"/>
                <a:gd name="T111" fmla="*/ 0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25"/>
                <a:gd name="T169" fmla="*/ 0 h 311"/>
                <a:gd name="T170" fmla="*/ 525 w 525"/>
                <a:gd name="T171" fmla="*/ 311 h 31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12" name="Freeform 1088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3205" y="1031"/>
              <a:ext cx="21" cy="35"/>
            </a:xfrm>
            <a:custGeom>
              <a:avLst/>
              <a:gdLst>
                <a:gd name="T0" fmla="*/ 0 w 79"/>
                <a:gd name="T1" fmla="*/ 0 h 38"/>
                <a:gd name="T2" fmla="*/ 0 w 79"/>
                <a:gd name="T3" fmla="*/ 1 h 38"/>
                <a:gd name="T4" fmla="*/ 0 w 79"/>
                <a:gd name="T5" fmla="*/ 3 h 38"/>
                <a:gd name="T6" fmla="*/ 0 w 79"/>
                <a:gd name="T7" fmla="*/ 6 h 38"/>
                <a:gd name="T8" fmla="*/ 0 w 79"/>
                <a:gd name="T9" fmla="*/ 6 h 38"/>
                <a:gd name="T10" fmla="*/ 0 w 79"/>
                <a:gd name="T11" fmla="*/ 6 h 38"/>
                <a:gd name="T12" fmla="*/ 0 w 79"/>
                <a:gd name="T13" fmla="*/ 6 h 38"/>
                <a:gd name="T14" fmla="*/ 0 w 79"/>
                <a:gd name="T15" fmla="*/ 6 h 38"/>
                <a:gd name="T16" fmla="*/ 0 w 79"/>
                <a:gd name="T17" fmla="*/ 6 h 38"/>
                <a:gd name="T18" fmla="*/ 0 w 79"/>
                <a:gd name="T19" fmla="*/ 6 h 38"/>
                <a:gd name="T20" fmla="*/ 0 w 79"/>
                <a:gd name="T21" fmla="*/ 6 h 38"/>
                <a:gd name="T22" fmla="*/ 0 w 79"/>
                <a:gd name="T23" fmla="*/ 6 h 38"/>
                <a:gd name="T24" fmla="*/ 0 w 79"/>
                <a:gd name="T25" fmla="*/ 7 h 38"/>
                <a:gd name="T26" fmla="*/ 0 w 79"/>
                <a:gd name="T27" fmla="*/ 7 h 38"/>
                <a:gd name="T28" fmla="*/ 0 w 79"/>
                <a:gd name="T29" fmla="*/ 7 h 38"/>
                <a:gd name="T30" fmla="*/ 0 w 79"/>
                <a:gd name="T31" fmla="*/ 7 h 38"/>
                <a:gd name="T32" fmla="*/ 0 w 79"/>
                <a:gd name="T33" fmla="*/ 6 h 38"/>
                <a:gd name="T34" fmla="*/ 0 w 79"/>
                <a:gd name="T35" fmla="*/ 6 h 38"/>
                <a:gd name="T36" fmla="*/ 0 w 79"/>
                <a:gd name="T37" fmla="*/ 6 h 38"/>
                <a:gd name="T38" fmla="*/ 0 w 79"/>
                <a:gd name="T39" fmla="*/ 6 h 38"/>
                <a:gd name="T40" fmla="*/ 0 w 79"/>
                <a:gd name="T41" fmla="*/ 6 h 38"/>
                <a:gd name="T42" fmla="*/ 0 w 79"/>
                <a:gd name="T43" fmla="*/ 6 h 38"/>
                <a:gd name="T44" fmla="*/ 0 w 79"/>
                <a:gd name="T45" fmla="*/ 6 h 38"/>
                <a:gd name="T46" fmla="*/ 0 w 79"/>
                <a:gd name="T47" fmla="*/ 6 h 38"/>
                <a:gd name="T48" fmla="*/ 0 w 79"/>
                <a:gd name="T49" fmla="*/ 6 h 38"/>
                <a:gd name="T50" fmla="*/ 0 w 79"/>
                <a:gd name="T51" fmla="*/ 6 h 38"/>
                <a:gd name="T52" fmla="*/ 0 w 79"/>
                <a:gd name="T53" fmla="*/ 6 h 38"/>
                <a:gd name="T54" fmla="*/ 0 w 79"/>
                <a:gd name="T55" fmla="*/ 6 h 38"/>
                <a:gd name="T56" fmla="*/ 0 w 79"/>
                <a:gd name="T57" fmla="*/ 4 h 38"/>
                <a:gd name="T58" fmla="*/ 0 w 79"/>
                <a:gd name="T59" fmla="*/ 1 h 38"/>
                <a:gd name="T60" fmla="*/ 0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9"/>
                <a:gd name="T94" fmla="*/ 0 h 38"/>
                <a:gd name="T95" fmla="*/ 79 w 79"/>
                <a:gd name="T96" fmla="*/ 38 h 3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13" name="Freeform 1089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4778" y="1218"/>
              <a:ext cx="134" cy="169"/>
            </a:xfrm>
            <a:custGeom>
              <a:avLst/>
              <a:gdLst>
                <a:gd name="T0" fmla="*/ 0 w 459"/>
                <a:gd name="T1" fmla="*/ 0 h 511"/>
                <a:gd name="T2" fmla="*/ 0 w 459"/>
                <a:gd name="T3" fmla="*/ 0 h 511"/>
                <a:gd name="T4" fmla="*/ 0 w 459"/>
                <a:gd name="T5" fmla="*/ 0 h 511"/>
                <a:gd name="T6" fmla="*/ 0 w 459"/>
                <a:gd name="T7" fmla="*/ 0 h 511"/>
                <a:gd name="T8" fmla="*/ 0 w 459"/>
                <a:gd name="T9" fmla="*/ 0 h 511"/>
                <a:gd name="T10" fmla="*/ 0 w 459"/>
                <a:gd name="T11" fmla="*/ 0 h 511"/>
                <a:gd name="T12" fmla="*/ 0 w 459"/>
                <a:gd name="T13" fmla="*/ 0 h 511"/>
                <a:gd name="T14" fmla="*/ 0 w 459"/>
                <a:gd name="T15" fmla="*/ 0 h 511"/>
                <a:gd name="T16" fmla="*/ 0 w 459"/>
                <a:gd name="T17" fmla="*/ 0 h 511"/>
                <a:gd name="T18" fmla="*/ 0 w 459"/>
                <a:gd name="T19" fmla="*/ 0 h 511"/>
                <a:gd name="T20" fmla="*/ 0 w 459"/>
                <a:gd name="T21" fmla="*/ 0 h 511"/>
                <a:gd name="T22" fmla="*/ 0 w 459"/>
                <a:gd name="T23" fmla="*/ 0 h 511"/>
                <a:gd name="T24" fmla="*/ 0 w 459"/>
                <a:gd name="T25" fmla="*/ 0 h 511"/>
                <a:gd name="T26" fmla="*/ 0 w 459"/>
                <a:gd name="T27" fmla="*/ 0 h 511"/>
                <a:gd name="T28" fmla="*/ 0 w 459"/>
                <a:gd name="T29" fmla="*/ 0 h 511"/>
                <a:gd name="T30" fmla="*/ 0 w 459"/>
                <a:gd name="T31" fmla="*/ 0 h 511"/>
                <a:gd name="T32" fmla="*/ 0 w 459"/>
                <a:gd name="T33" fmla="*/ 0 h 511"/>
                <a:gd name="T34" fmla="*/ 0 w 459"/>
                <a:gd name="T35" fmla="*/ 0 h 511"/>
                <a:gd name="T36" fmla="*/ 0 w 459"/>
                <a:gd name="T37" fmla="*/ 0 h 511"/>
                <a:gd name="T38" fmla="*/ 0 w 459"/>
                <a:gd name="T39" fmla="*/ 0 h 511"/>
                <a:gd name="T40" fmla="*/ 0 w 459"/>
                <a:gd name="T41" fmla="*/ 0 h 511"/>
                <a:gd name="T42" fmla="*/ 0 w 459"/>
                <a:gd name="T43" fmla="*/ 0 h 511"/>
                <a:gd name="T44" fmla="*/ 0 w 459"/>
                <a:gd name="T45" fmla="*/ 0 h 511"/>
                <a:gd name="T46" fmla="*/ 0 w 459"/>
                <a:gd name="T47" fmla="*/ 0 h 511"/>
                <a:gd name="T48" fmla="*/ 0 w 459"/>
                <a:gd name="T49" fmla="*/ 0 h 511"/>
                <a:gd name="T50" fmla="*/ 0 w 459"/>
                <a:gd name="T51" fmla="*/ 0 h 511"/>
                <a:gd name="T52" fmla="*/ 0 w 459"/>
                <a:gd name="T53" fmla="*/ 0 h 511"/>
                <a:gd name="T54" fmla="*/ 0 w 459"/>
                <a:gd name="T55" fmla="*/ 0 h 511"/>
                <a:gd name="T56" fmla="*/ 0 w 459"/>
                <a:gd name="T57" fmla="*/ 0 h 511"/>
                <a:gd name="T58" fmla="*/ 0 w 459"/>
                <a:gd name="T59" fmla="*/ 0 h 511"/>
                <a:gd name="T60" fmla="*/ 0 w 459"/>
                <a:gd name="T61" fmla="*/ 0 h 511"/>
                <a:gd name="T62" fmla="*/ 0 w 459"/>
                <a:gd name="T63" fmla="*/ 0 h 511"/>
                <a:gd name="T64" fmla="*/ 0 w 459"/>
                <a:gd name="T65" fmla="*/ 0 h 511"/>
                <a:gd name="T66" fmla="*/ 0 w 459"/>
                <a:gd name="T67" fmla="*/ 0 h 511"/>
                <a:gd name="T68" fmla="*/ 0 w 459"/>
                <a:gd name="T69" fmla="*/ 0 h 511"/>
                <a:gd name="T70" fmla="*/ 0 w 459"/>
                <a:gd name="T71" fmla="*/ 0 h 511"/>
                <a:gd name="T72" fmla="*/ 0 w 459"/>
                <a:gd name="T73" fmla="*/ 0 h 511"/>
                <a:gd name="T74" fmla="*/ 0 w 459"/>
                <a:gd name="T75" fmla="*/ 0 h 511"/>
                <a:gd name="T76" fmla="*/ 0 w 459"/>
                <a:gd name="T77" fmla="*/ 0 h 511"/>
                <a:gd name="T78" fmla="*/ 0 w 459"/>
                <a:gd name="T79" fmla="*/ 0 h 511"/>
                <a:gd name="T80" fmla="*/ 0 w 459"/>
                <a:gd name="T81" fmla="*/ 0 h 511"/>
                <a:gd name="T82" fmla="*/ 0 w 459"/>
                <a:gd name="T83" fmla="*/ 0 h 511"/>
                <a:gd name="T84" fmla="*/ 0 w 459"/>
                <a:gd name="T85" fmla="*/ 0 h 511"/>
                <a:gd name="T86" fmla="*/ 0 w 459"/>
                <a:gd name="T87" fmla="*/ 0 h 511"/>
                <a:gd name="T88" fmla="*/ 0 w 459"/>
                <a:gd name="T89" fmla="*/ 0 h 511"/>
                <a:gd name="T90" fmla="*/ 0 w 459"/>
                <a:gd name="T91" fmla="*/ 0 h 511"/>
                <a:gd name="T92" fmla="*/ 0 w 459"/>
                <a:gd name="T93" fmla="*/ 0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59"/>
                <a:gd name="T142" fmla="*/ 0 h 511"/>
                <a:gd name="T143" fmla="*/ 459 w 459"/>
                <a:gd name="T144" fmla="*/ 511 h 51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grpSp>
          <p:nvGrpSpPr>
            <p:cNvPr id="17" name="Group 1090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3952" y="1190"/>
              <a:ext cx="458" cy="242"/>
              <a:chOff x="4115" y="1551"/>
              <a:chExt cx="504" cy="244"/>
            </a:xfrm>
            <a:grpFill/>
          </p:grpSpPr>
          <p:sp>
            <p:nvSpPr>
              <p:cNvPr id="18839" name="Freeform 1091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0 w 240"/>
                  <a:gd name="T1" fmla="*/ 0 h 259"/>
                  <a:gd name="T2" fmla="*/ 0 w 240"/>
                  <a:gd name="T3" fmla="*/ 0 h 259"/>
                  <a:gd name="T4" fmla="*/ 0 w 240"/>
                  <a:gd name="T5" fmla="*/ 0 h 259"/>
                  <a:gd name="T6" fmla="*/ 0 w 240"/>
                  <a:gd name="T7" fmla="*/ 0 h 259"/>
                  <a:gd name="T8" fmla="*/ 0 w 240"/>
                  <a:gd name="T9" fmla="*/ 0 h 259"/>
                  <a:gd name="T10" fmla="*/ 0 w 240"/>
                  <a:gd name="T11" fmla="*/ 0 h 259"/>
                  <a:gd name="T12" fmla="*/ 0 w 240"/>
                  <a:gd name="T13" fmla="*/ 0 h 259"/>
                  <a:gd name="T14" fmla="*/ 0 w 240"/>
                  <a:gd name="T15" fmla="*/ 0 h 259"/>
                  <a:gd name="T16" fmla="*/ 0 w 240"/>
                  <a:gd name="T17" fmla="*/ 0 h 259"/>
                  <a:gd name="T18" fmla="*/ 0 w 240"/>
                  <a:gd name="T19" fmla="*/ 0 h 259"/>
                  <a:gd name="T20" fmla="*/ 0 w 240"/>
                  <a:gd name="T21" fmla="*/ 0 h 259"/>
                  <a:gd name="T22" fmla="*/ 0 w 240"/>
                  <a:gd name="T23" fmla="*/ 0 h 259"/>
                  <a:gd name="T24" fmla="*/ 0 w 240"/>
                  <a:gd name="T25" fmla="*/ 0 h 259"/>
                  <a:gd name="T26" fmla="*/ 0 w 240"/>
                  <a:gd name="T27" fmla="*/ 0 h 259"/>
                  <a:gd name="T28" fmla="*/ 0 w 240"/>
                  <a:gd name="T29" fmla="*/ 0 h 259"/>
                  <a:gd name="T30" fmla="*/ 0 w 240"/>
                  <a:gd name="T31" fmla="*/ 0 h 259"/>
                  <a:gd name="T32" fmla="*/ 0 w 240"/>
                  <a:gd name="T33" fmla="*/ 0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40"/>
                  <a:gd name="T52" fmla="*/ 0 h 259"/>
                  <a:gd name="T53" fmla="*/ 240 w 240"/>
                  <a:gd name="T54" fmla="*/ 259 h 25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40" name="Freeform 1092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0 w 259"/>
                  <a:gd name="T1" fmla="*/ 0 h 104"/>
                  <a:gd name="T2" fmla="*/ 0 w 259"/>
                  <a:gd name="T3" fmla="*/ 0 h 104"/>
                  <a:gd name="T4" fmla="*/ 0 w 259"/>
                  <a:gd name="T5" fmla="*/ 0 h 104"/>
                  <a:gd name="T6" fmla="*/ 0 w 259"/>
                  <a:gd name="T7" fmla="*/ 0 h 104"/>
                  <a:gd name="T8" fmla="*/ 0 w 259"/>
                  <a:gd name="T9" fmla="*/ 0 h 104"/>
                  <a:gd name="T10" fmla="*/ 0 w 259"/>
                  <a:gd name="T11" fmla="*/ 0 h 104"/>
                  <a:gd name="T12" fmla="*/ 0 w 259"/>
                  <a:gd name="T13" fmla="*/ 0 h 104"/>
                  <a:gd name="T14" fmla="*/ 0 w 259"/>
                  <a:gd name="T15" fmla="*/ 0 h 104"/>
                  <a:gd name="T16" fmla="*/ 0 w 259"/>
                  <a:gd name="T17" fmla="*/ 0 h 104"/>
                  <a:gd name="T18" fmla="*/ 0 w 259"/>
                  <a:gd name="T19" fmla="*/ 0 h 104"/>
                  <a:gd name="T20" fmla="*/ 0 w 259"/>
                  <a:gd name="T21" fmla="*/ 0 h 104"/>
                  <a:gd name="T22" fmla="*/ 0 w 259"/>
                  <a:gd name="T23" fmla="*/ 0 h 104"/>
                  <a:gd name="T24" fmla="*/ 0 w 259"/>
                  <a:gd name="T25" fmla="*/ 0 h 104"/>
                  <a:gd name="T26" fmla="*/ 0 w 259"/>
                  <a:gd name="T27" fmla="*/ 0 h 104"/>
                  <a:gd name="T28" fmla="*/ 0 w 259"/>
                  <a:gd name="T29" fmla="*/ 0 h 104"/>
                  <a:gd name="T30" fmla="*/ 0 w 259"/>
                  <a:gd name="T31" fmla="*/ 0 h 104"/>
                  <a:gd name="T32" fmla="*/ 0 w 259"/>
                  <a:gd name="T33" fmla="*/ 0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59"/>
                  <a:gd name="T52" fmla="*/ 0 h 104"/>
                  <a:gd name="T53" fmla="*/ 259 w 259"/>
                  <a:gd name="T54" fmla="*/ 104 h 10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</p:grpSp>
        <p:sp>
          <p:nvSpPr>
            <p:cNvPr id="18815" name="Freeform 1093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3309" y="1662"/>
              <a:ext cx="361" cy="322"/>
            </a:xfrm>
            <a:custGeom>
              <a:avLst/>
              <a:gdLst>
                <a:gd name="T0" fmla="*/ 0 w 1227"/>
                <a:gd name="T1" fmla="*/ 0 h 979"/>
                <a:gd name="T2" fmla="*/ 0 w 1227"/>
                <a:gd name="T3" fmla="*/ 0 h 979"/>
                <a:gd name="T4" fmla="*/ 0 w 1227"/>
                <a:gd name="T5" fmla="*/ 0 h 979"/>
                <a:gd name="T6" fmla="*/ 0 w 1227"/>
                <a:gd name="T7" fmla="*/ 0 h 979"/>
                <a:gd name="T8" fmla="*/ 0 w 1227"/>
                <a:gd name="T9" fmla="*/ 0 h 979"/>
                <a:gd name="T10" fmla="*/ 0 w 1227"/>
                <a:gd name="T11" fmla="*/ 0 h 979"/>
                <a:gd name="T12" fmla="*/ 0 w 1227"/>
                <a:gd name="T13" fmla="*/ 0 h 979"/>
                <a:gd name="T14" fmla="*/ 0 w 1227"/>
                <a:gd name="T15" fmla="*/ 0 h 979"/>
                <a:gd name="T16" fmla="*/ 0 w 1227"/>
                <a:gd name="T17" fmla="*/ 0 h 979"/>
                <a:gd name="T18" fmla="*/ 0 w 1227"/>
                <a:gd name="T19" fmla="*/ 0 h 979"/>
                <a:gd name="T20" fmla="*/ 0 w 1227"/>
                <a:gd name="T21" fmla="*/ 0 h 979"/>
                <a:gd name="T22" fmla="*/ 0 w 1227"/>
                <a:gd name="T23" fmla="*/ 0 h 979"/>
                <a:gd name="T24" fmla="*/ 0 w 1227"/>
                <a:gd name="T25" fmla="*/ 0 h 979"/>
                <a:gd name="T26" fmla="*/ 0 w 1227"/>
                <a:gd name="T27" fmla="*/ 0 h 979"/>
                <a:gd name="T28" fmla="*/ 0 w 1227"/>
                <a:gd name="T29" fmla="*/ 0 h 979"/>
                <a:gd name="T30" fmla="*/ 0 w 1227"/>
                <a:gd name="T31" fmla="*/ 0 h 979"/>
                <a:gd name="T32" fmla="*/ 0 w 1227"/>
                <a:gd name="T33" fmla="*/ 0 h 979"/>
                <a:gd name="T34" fmla="*/ 0 w 1227"/>
                <a:gd name="T35" fmla="*/ 0 h 979"/>
                <a:gd name="T36" fmla="*/ 0 w 1227"/>
                <a:gd name="T37" fmla="*/ 0 h 979"/>
                <a:gd name="T38" fmla="*/ 0 w 1227"/>
                <a:gd name="T39" fmla="*/ 0 h 979"/>
                <a:gd name="T40" fmla="*/ 0 w 1227"/>
                <a:gd name="T41" fmla="*/ 0 h 979"/>
                <a:gd name="T42" fmla="*/ 0 w 1227"/>
                <a:gd name="T43" fmla="*/ 0 h 979"/>
                <a:gd name="T44" fmla="*/ 0 w 1227"/>
                <a:gd name="T45" fmla="*/ 0 h 979"/>
                <a:gd name="T46" fmla="*/ 0 w 1227"/>
                <a:gd name="T47" fmla="*/ 0 h 979"/>
                <a:gd name="T48" fmla="*/ 0 w 1227"/>
                <a:gd name="T49" fmla="*/ 0 h 979"/>
                <a:gd name="T50" fmla="*/ 0 w 1227"/>
                <a:gd name="T51" fmla="*/ 0 h 979"/>
                <a:gd name="T52" fmla="*/ 0 w 1227"/>
                <a:gd name="T53" fmla="*/ 0 h 979"/>
                <a:gd name="T54" fmla="*/ 0 w 1227"/>
                <a:gd name="T55" fmla="*/ 0 h 979"/>
                <a:gd name="T56" fmla="*/ 0 w 1227"/>
                <a:gd name="T57" fmla="*/ 0 h 979"/>
                <a:gd name="T58" fmla="*/ 0 w 1227"/>
                <a:gd name="T59" fmla="*/ 0 h 979"/>
                <a:gd name="T60" fmla="*/ 0 w 1227"/>
                <a:gd name="T61" fmla="*/ 0 h 979"/>
                <a:gd name="T62" fmla="*/ 0 w 1227"/>
                <a:gd name="T63" fmla="*/ 0 h 979"/>
                <a:gd name="T64" fmla="*/ 0 w 1227"/>
                <a:gd name="T65" fmla="*/ 0 h 979"/>
                <a:gd name="T66" fmla="*/ 0 w 1227"/>
                <a:gd name="T67" fmla="*/ 0 h 979"/>
                <a:gd name="T68" fmla="*/ 0 w 1227"/>
                <a:gd name="T69" fmla="*/ 0 h 979"/>
                <a:gd name="T70" fmla="*/ 0 w 1227"/>
                <a:gd name="T71" fmla="*/ 0 h 979"/>
                <a:gd name="T72" fmla="*/ 0 w 1227"/>
                <a:gd name="T73" fmla="*/ 0 h 979"/>
                <a:gd name="T74" fmla="*/ 0 w 1227"/>
                <a:gd name="T75" fmla="*/ 0 h 979"/>
                <a:gd name="T76" fmla="*/ 0 w 1227"/>
                <a:gd name="T77" fmla="*/ 0 h 979"/>
                <a:gd name="T78" fmla="*/ 0 w 1227"/>
                <a:gd name="T79" fmla="*/ 0 h 979"/>
                <a:gd name="T80" fmla="*/ 0 w 1227"/>
                <a:gd name="T81" fmla="*/ 0 h 979"/>
                <a:gd name="T82" fmla="*/ 0 w 1227"/>
                <a:gd name="T83" fmla="*/ 0 h 979"/>
                <a:gd name="T84" fmla="*/ 0 w 1227"/>
                <a:gd name="T85" fmla="*/ 0 h 979"/>
                <a:gd name="T86" fmla="*/ 0 w 1227"/>
                <a:gd name="T87" fmla="*/ 0 h 979"/>
                <a:gd name="T88" fmla="*/ 0 w 1227"/>
                <a:gd name="T89" fmla="*/ 0 h 979"/>
                <a:gd name="T90" fmla="*/ 0 w 1227"/>
                <a:gd name="T91" fmla="*/ 0 h 979"/>
                <a:gd name="T92" fmla="*/ 0 w 1227"/>
                <a:gd name="T93" fmla="*/ 0 h 979"/>
                <a:gd name="T94" fmla="*/ 0 w 1227"/>
                <a:gd name="T95" fmla="*/ 0 h 979"/>
                <a:gd name="T96" fmla="*/ 0 w 1227"/>
                <a:gd name="T97" fmla="*/ 0 h 979"/>
                <a:gd name="T98" fmla="*/ 0 w 1227"/>
                <a:gd name="T99" fmla="*/ 0 h 979"/>
                <a:gd name="T100" fmla="*/ 0 w 1227"/>
                <a:gd name="T101" fmla="*/ 0 h 979"/>
                <a:gd name="T102" fmla="*/ 0 w 1227"/>
                <a:gd name="T103" fmla="*/ 0 h 979"/>
                <a:gd name="T104" fmla="*/ 0 w 1227"/>
                <a:gd name="T105" fmla="*/ 0 h 979"/>
                <a:gd name="T106" fmla="*/ 0 w 1227"/>
                <a:gd name="T107" fmla="*/ 0 h 979"/>
                <a:gd name="T108" fmla="*/ 0 w 1227"/>
                <a:gd name="T109" fmla="*/ 0 h 979"/>
                <a:gd name="T110" fmla="*/ 0 w 1227"/>
                <a:gd name="T111" fmla="*/ 0 h 979"/>
                <a:gd name="T112" fmla="*/ 0 w 1227"/>
                <a:gd name="T113" fmla="*/ 0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27"/>
                <a:gd name="T172" fmla="*/ 0 h 979"/>
                <a:gd name="T173" fmla="*/ 1227 w 1227"/>
                <a:gd name="T174" fmla="*/ 979 h 97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16" name="Freeform 1094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2950" y="1375"/>
              <a:ext cx="39" cy="36"/>
            </a:xfrm>
            <a:custGeom>
              <a:avLst/>
              <a:gdLst>
                <a:gd name="T0" fmla="*/ 0 w 146"/>
                <a:gd name="T1" fmla="*/ 0 h 81"/>
                <a:gd name="T2" fmla="*/ 0 w 146"/>
                <a:gd name="T3" fmla="*/ 0 h 81"/>
                <a:gd name="T4" fmla="*/ 0 w 146"/>
                <a:gd name="T5" fmla="*/ 0 h 81"/>
                <a:gd name="T6" fmla="*/ 0 w 146"/>
                <a:gd name="T7" fmla="*/ 0 h 81"/>
                <a:gd name="T8" fmla="*/ 0 w 146"/>
                <a:gd name="T9" fmla="*/ 0 h 81"/>
                <a:gd name="T10" fmla="*/ 0 w 146"/>
                <a:gd name="T11" fmla="*/ 0 h 81"/>
                <a:gd name="T12" fmla="*/ 0 w 146"/>
                <a:gd name="T13" fmla="*/ 0 h 81"/>
                <a:gd name="T14" fmla="*/ 0 w 146"/>
                <a:gd name="T15" fmla="*/ 0 h 81"/>
                <a:gd name="T16" fmla="*/ 0 w 146"/>
                <a:gd name="T17" fmla="*/ 0 h 81"/>
                <a:gd name="T18" fmla="*/ 0 w 146"/>
                <a:gd name="T19" fmla="*/ 0 h 81"/>
                <a:gd name="T20" fmla="*/ 0 w 146"/>
                <a:gd name="T21" fmla="*/ 0 h 81"/>
                <a:gd name="T22" fmla="*/ 0 w 146"/>
                <a:gd name="T23" fmla="*/ 0 h 81"/>
                <a:gd name="T24" fmla="*/ 0 w 146"/>
                <a:gd name="T25" fmla="*/ 0 h 81"/>
                <a:gd name="T26" fmla="*/ 0 w 146"/>
                <a:gd name="T27" fmla="*/ 0 h 81"/>
                <a:gd name="T28" fmla="*/ 0 w 146"/>
                <a:gd name="T29" fmla="*/ 0 h 81"/>
                <a:gd name="T30" fmla="*/ 0 w 146"/>
                <a:gd name="T31" fmla="*/ 0 h 81"/>
                <a:gd name="T32" fmla="*/ 0 w 146"/>
                <a:gd name="T33" fmla="*/ 0 h 81"/>
                <a:gd name="T34" fmla="*/ 0 w 146"/>
                <a:gd name="T35" fmla="*/ 0 h 81"/>
                <a:gd name="T36" fmla="*/ 0 w 146"/>
                <a:gd name="T37" fmla="*/ 0 h 81"/>
                <a:gd name="T38" fmla="*/ 0 w 146"/>
                <a:gd name="T39" fmla="*/ 0 h 81"/>
                <a:gd name="T40" fmla="*/ 0 w 146"/>
                <a:gd name="T41" fmla="*/ 0 h 81"/>
                <a:gd name="T42" fmla="*/ 0 w 146"/>
                <a:gd name="T43" fmla="*/ 0 h 81"/>
                <a:gd name="T44" fmla="*/ 0 w 146"/>
                <a:gd name="T45" fmla="*/ 0 h 81"/>
                <a:gd name="T46" fmla="*/ 0 w 146"/>
                <a:gd name="T47" fmla="*/ 0 h 81"/>
                <a:gd name="T48" fmla="*/ 0 w 146"/>
                <a:gd name="T49" fmla="*/ 0 h 81"/>
                <a:gd name="T50" fmla="*/ 0 w 146"/>
                <a:gd name="T51" fmla="*/ 0 h 81"/>
                <a:gd name="T52" fmla="*/ 0 w 146"/>
                <a:gd name="T53" fmla="*/ 0 h 81"/>
                <a:gd name="T54" fmla="*/ 0 w 146"/>
                <a:gd name="T55" fmla="*/ 0 h 81"/>
                <a:gd name="T56" fmla="*/ 0 w 146"/>
                <a:gd name="T57" fmla="*/ 0 h 81"/>
                <a:gd name="T58" fmla="*/ 0 w 146"/>
                <a:gd name="T59" fmla="*/ 0 h 81"/>
                <a:gd name="T60" fmla="*/ 0 w 146"/>
                <a:gd name="T61" fmla="*/ 0 h 81"/>
                <a:gd name="T62" fmla="*/ 0 w 146"/>
                <a:gd name="T63" fmla="*/ 0 h 81"/>
                <a:gd name="T64" fmla="*/ 0 w 146"/>
                <a:gd name="T65" fmla="*/ 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6"/>
                <a:gd name="T100" fmla="*/ 0 h 81"/>
                <a:gd name="T101" fmla="*/ 146 w 146"/>
                <a:gd name="T102" fmla="*/ 81 h 8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17" name="Freeform 1095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2772" y="1509"/>
              <a:ext cx="11" cy="36"/>
            </a:xfrm>
            <a:custGeom>
              <a:avLst/>
              <a:gdLst>
                <a:gd name="T0" fmla="*/ 0 w 34"/>
                <a:gd name="T1" fmla="*/ 1 h 49"/>
                <a:gd name="T2" fmla="*/ 0 w 34"/>
                <a:gd name="T3" fmla="*/ 1 h 49"/>
                <a:gd name="T4" fmla="*/ 0 w 34"/>
                <a:gd name="T5" fmla="*/ 1 h 49"/>
                <a:gd name="T6" fmla="*/ 0 w 34"/>
                <a:gd name="T7" fmla="*/ 1 h 49"/>
                <a:gd name="T8" fmla="*/ 0 w 34"/>
                <a:gd name="T9" fmla="*/ 1 h 49"/>
                <a:gd name="T10" fmla="*/ 0 w 34"/>
                <a:gd name="T11" fmla="*/ 1 h 49"/>
                <a:gd name="T12" fmla="*/ 0 w 34"/>
                <a:gd name="T13" fmla="*/ 1 h 49"/>
                <a:gd name="T14" fmla="*/ 0 w 34"/>
                <a:gd name="T15" fmla="*/ 1 h 49"/>
                <a:gd name="T16" fmla="*/ 0 w 34"/>
                <a:gd name="T17" fmla="*/ 0 h 49"/>
                <a:gd name="T18" fmla="*/ 0 w 34"/>
                <a:gd name="T19" fmla="*/ 0 h 49"/>
                <a:gd name="T20" fmla="*/ 0 w 34"/>
                <a:gd name="T21" fmla="*/ 0 h 49"/>
                <a:gd name="T22" fmla="*/ 0 w 34"/>
                <a:gd name="T23" fmla="*/ 1 h 49"/>
                <a:gd name="T24" fmla="*/ 0 w 34"/>
                <a:gd name="T25" fmla="*/ 1 h 49"/>
                <a:gd name="T26" fmla="*/ 0 w 34"/>
                <a:gd name="T27" fmla="*/ 1 h 49"/>
                <a:gd name="T28" fmla="*/ 0 w 34"/>
                <a:gd name="T29" fmla="*/ 1 h 49"/>
                <a:gd name="T30" fmla="*/ 0 w 34"/>
                <a:gd name="T31" fmla="*/ 1 h 49"/>
                <a:gd name="T32" fmla="*/ 0 w 34"/>
                <a:gd name="T33" fmla="*/ 1 h 49"/>
                <a:gd name="T34" fmla="*/ 0 w 34"/>
                <a:gd name="T35" fmla="*/ 1 h 49"/>
                <a:gd name="T36" fmla="*/ 0 w 34"/>
                <a:gd name="T37" fmla="*/ 1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4"/>
                <a:gd name="T58" fmla="*/ 0 h 49"/>
                <a:gd name="T59" fmla="*/ 34 w 34"/>
                <a:gd name="T60" fmla="*/ 49 h 4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18" name="Freeform 1096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2494" y="1727"/>
              <a:ext cx="19" cy="36"/>
            </a:xfrm>
            <a:custGeom>
              <a:avLst/>
              <a:gdLst>
                <a:gd name="T0" fmla="*/ 0 w 60"/>
                <a:gd name="T1" fmla="*/ 0 h 74"/>
                <a:gd name="T2" fmla="*/ 0 w 60"/>
                <a:gd name="T3" fmla="*/ 0 h 74"/>
                <a:gd name="T4" fmla="*/ 0 w 60"/>
                <a:gd name="T5" fmla="*/ 0 h 74"/>
                <a:gd name="T6" fmla="*/ 0 w 60"/>
                <a:gd name="T7" fmla="*/ 0 h 74"/>
                <a:gd name="T8" fmla="*/ 0 w 60"/>
                <a:gd name="T9" fmla="*/ 0 h 74"/>
                <a:gd name="T10" fmla="*/ 0 w 60"/>
                <a:gd name="T11" fmla="*/ 0 h 74"/>
                <a:gd name="T12" fmla="*/ 0 w 60"/>
                <a:gd name="T13" fmla="*/ 0 h 74"/>
                <a:gd name="T14" fmla="*/ 0 w 60"/>
                <a:gd name="T15" fmla="*/ 0 h 74"/>
                <a:gd name="T16" fmla="*/ 0 w 60"/>
                <a:gd name="T17" fmla="*/ 0 h 74"/>
                <a:gd name="T18" fmla="*/ 0 w 60"/>
                <a:gd name="T19" fmla="*/ 0 h 74"/>
                <a:gd name="T20" fmla="*/ 0 w 60"/>
                <a:gd name="T21" fmla="*/ 0 h 74"/>
                <a:gd name="T22" fmla="*/ 0 w 60"/>
                <a:gd name="T23" fmla="*/ 0 h 74"/>
                <a:gd name="T24" fmla="*/ 0 w 60"/>
                <a:gd name="T25" fmla="*/ 0 h 74"/>
                <a:gd name="T26" fmla="*/ 0 w 60"/>
                <a:gd name="T27" fmla="*/ 0 h 74"/>
                <a:gd name="T28" fmla="*/ 0 w 60"/>
                <a:gd name="T29" fmla="*/ 0 h 74"/>
                <a:gd name="T30" fmla="*/ 0 w 60"/>
                <a:gd name="T31" fmla="*/ 0 h 74"/>
                <a:gd name="T32" fmla="*/ 0 w 60"/>
                <a:gd name="T33" fmla="*/ 0 h 74"/>
                <a:gd name="T34" fmla="*/ 0 w 60"/>
                <a:gd name="T35" fmla="*/ 0 h 74"/>
                <a:gd name="T36" fmla="*/ 0 w 60"/>
                <a:gd name="T37" fmla="*/ 0 h 74"/>
                <a:gd name="T38" fmla="*/ 0 w 60"/>
                <a:gd name="T39" fmla="*/ 0 h 74"/>
                <a:gd name="T40" fmla="*/ 0 w 60"/>
                <a:gd name="T41" fmla="*/ 0 h 74"/>
                <a:gd name="T42" fmla="*/ 0 w 60"/>
                <a:gd name="T43" fmla="*/ 0 h 74"/>
                <a:gd name="T44" fmla="*/ 0 w 60"/>
                <a:gd name="T45" fmla="*/ 0 h 74"/>
                <a:gd name="T46" fmla="*/ 0 w 60"/>
                <a:gd name="T47" fmla="*/ 0 h 74"/>
                <a:gd name="T48" fmla="*/ 0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0"/>
                <a:gd name="T76" fmla="*/ 0 h 74"/>
                <a:gd name="T77" fmla="*/ 60 w 60"/>
                <a:gd name="T78" fmla="*/ 74 h 7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19" name="Freeform 1097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2454" y="1737"/>
              <a:ext cx="16" cy="38"/>
            </a:xfrm>
            <a:custGeom>
              <a:avLst/>
              <a:gdLst>
                <a:gd name="T0" fmla="*/ 0 w 47"/>
                <a:gd name="T1" fmla="*/ 3 h 45"/>
                <a:gd name="T2" fmla="*/ 0 w 47"/>
                <a:gd name="T3" fmla="*/ 3 h 45"/>
                <a:gd name="T4" fmla="*/ 0 w 47"/>
                <a:gd name="T5" fmla="*/ 3 h 45"/>
                <a:gd name="T6" fmla="*/ 0 w 47"/>
                <a:gd name="T7" fmla="*/ 3 h 45"/>
                <a:gd name="T8" fmla="*/ 0 w 47"/>
                <a:gd name="T9" fmla="*/ 3 h 45"/>
                <a:gd name="T10" fmla="*/ 0 w 47"/>
                <a:gd name="T11" fmla="*/ 1 h 45"/>
                <a:gd name="T12" fmla="*/ 0 w 47"/>
                <a:gd name="T13" fmla="*/ 0 h 45"/>
                <a:gd name="T14" fmla="*/ 0 w 47"/>
                <a:gd name="T15" fmla="*/ 1 h 45"/>
                <a:gd name="T16" fmla="*/ 0 w 47"/>
                <a:gd name="T17" fmla="*/ 2 h 45"/>
                <a:gd name="T18" fmla="*/ 0 w 47"/>
                <a:gd name="T19" fmla="*/ 3 h 45"/>
                <a:gd name="T20" fmla="*/ 0 w 47"/>
                <a:gd name="T21" fmla="*/ 3 h 45"/>
                <a:gd name="T22" fmla="*/ 0 w 47"/>
                <a:gd name="T23" fmla="*/ 3 h 45"/>
                <a:gd name="T24" fmla="*/ 0 w 47"/>
                <a:gd name="T25" fmla="*/ 3 h 45"/>
                <a:gd name="T26" fmla="*/ 0 w 47"/>
                <a:gd name="T27" fmla="*/ 3 h 45"/>
                <a:gd name="T28" fmla="*/ 0 w 47"/>
                <a:gd name="T29" fmla="*/ 3 h 45"/>
                <a:gd name="T30" fmla="*/ 0 w 47"/>
                <a:gd name="T31" fmla="*/ 3 h 45"/>
                <a:gd name="T32" fmla="*/ 0 w 47"/>
                <a:gd name="T33" fmla="*/ 3 h 45"/>
                <a:gd name="T34" fmla="*/ 0 w 47"/>
                <a:gd name="T35" fmla="*/ 3 h 45"/>
                <a:gd name="T36" fmla="*/ 0 w 47"/>
                <a:gd name="T37" fmla="*/ 3 h 45"/>
                <a:gd name="T38" fmla="*/ 0 w 47"/>
                <a:gd name="T39" fmla="*/ 3 h 45"/>
                <a:gd name="T40" fmla="*/ 0 w 47"/>
                <a:gd name="T41" fmla="*/ 3 h 45"/>
                <a:gd name="T42" fmla="*/ 0 w 47"/>
                <a:gd name="T43" fmla="*/ 3 h 45"/>
                <a:gd name="T44" fmla="*/ 0 w 47"/>
                <a:gd name="T45" fmla="*/ 3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7"/>
                <a:gd name="T70" fmla="*/ 0 h 45"/>
                <a:gd name="T71" fmla="*/ 47 w 47"/>
                <a:gd name="T72" fmla="*/ 45 h 4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20" name="Freeform 1098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2436" y="1733"/>
              <a:ext cx="5" cy="36"/>
            </a:xfrm>
            <a:custGeom>
              <a:avLst/>
              <a:gdLst>
                <a:gd name="T0" fmla="*/ 0 w 26"/>
                <a:gd name="T1" fmla="*/ 36 h 36"/>
                <a:gd name="T2" fmla="*/ 0 w 26"/>
                <a:gd name="T3" fmla="*/ 30 h 36"/>
                <a:gd name="T4" fmla="*/ 0 w 26"/>
                <a:gd name="T5" fmla="*/ 20 h 36"/>
                <a:gd name="T6" fmla="*/ 0 w 26"/>
                <a:gd name="T7" fmla="*/ 10 h 36"/>
                <a:gd name="T8" fmla="*/ 0 w 26"/>
                <a:gd name="T9" fmla="*/ 0 h 36"/>
                <a:gd name="T10" fmla="*/ 0 w 26"/>
                <a:gd name="T11" fmla="*/ 0 h 36"/>
                <a:gd name="T12" fmla="*/ 0 w 26"/>
                <a:gd name="T13" fmla="*/ 12 h 36"/>
                <a:gd name="T14" fmla="*/ 0 w 26"/>
                <a:gd name="T15" fmla="*/ 23 h 36"/>
                <a:gd name="T16" fmla="*/ 0 w 26"/>
                <a:gd name="T17" fmla="*/ 27 h 36"/>
                <a:gd name="T18" fmla="*/ 0 w 26"/>
                <a:gd name="T19" fmla="*/ 31 h 36"/>
                <a:gd name="T20" fmla="*/ 0 w 26"/>
                <a:gd name="T21" fmla="*/ 34 h 36"/>
                <a:gd name="T22" fmla="*/ 0 w 26"/>
                <a:gd name="T23" fmla="*/ 36 h 36"/>
                <a:gd name="T24" fmla="*/ 0 w 26"/>
                <a:gd name="T25" fmla="*/ 36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36"/>
                <a:gd name="T41" fmla="*/ 26 w 26"/>
                <a:gd name="T42" fmla="*/ 36 h 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21" name="Freeform 1099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3304" y="1562"/>
              <a:ext cx="119" cy="100"/>
            </a:xfrm>
            <a:custGeom>
              <a:avLst/>
              <a:gdLst>
                <a:gd name="T0" fmla="*/ 0 w 405"/>
                <a:gd name="T1" fmla="*/ 0 h 302"/>
                <a:gd name="T2" fmla="*/ 0 w 405"/>
                <a:gd name="T3" fmla="*/ 0 h 302"/>
                <a:gd name="T4" fmla="*/ 0 w 405"/>
                <a:gd name="T5" fmla="*/ 0 h 302"/>
                <a:gd name="T6" fmla="*/ 0 w 405"/>
                <a:gd name="T7" fmla="*/ 0 h 302"/>
                <a:gd name="T8" fmla="*/ 0 w 405"/>
                <a:gd name="T9" fmla="*/ 0 h 302"/>
                <a:gd name="T10" fmla="*/ 0 w 405"/>
                <a:gd name="T11" fmla="*/ 0 h 302"/>
                <a:gd name="T12" fmla="*/ 0 w 405"/>
                <a:gd name="T13" fmla="*/ 0 h 302"/>
                <a:gd name="T14" fmla="*/ 0 w 405"/>
                <a:gd name="T15" fmla="*/ 0 h 302"/>
                <a:gd name="T16" fmla="*/ 0 w 405"/>
                <a:gd name="T17" fmla="*/ 0 h 302"/>
                <a:gd name="T18" fmla="*/ 0 w 405"/>
                <a:gd name="T19" fmla="*/ 0 h 302"/>
                <a:gd name="T20" fmla="*/ 0 w 405"/>
                <a:gd name="T21" fmla="*/ 0 h 302"/>
                <a:gd name="T22" fmla="*/ 0 w 405"/>
                <a:gd name="T23" fmla="*/ 0 h 302"/>
                <a:gd name="T24" fmla="*/ 0 w 405"/>
                <a:gd name="T25" fmla="*/ 0 h 302"/>
                <a:gd name="T26" fmla="*/ 0 w 405"/>
                <a:gd name="T27" fmla="*/ 0 h 302"/>
                <a:gd name="T28" fmla="*/ 0 w 405"/>
                <a:gd name="T29" fmla="*/ 0 h 302"/>
                <a:gd name="T30" fmla="*/ 0 w 405"/>
                <a:gd name="T31" fmla="*/ 0 h 302"/>
                <a:gd name="T32" fmla="*/ 0 w 405"/>
                <a:gd name="T33" fmla="*/ 0 h 302"/>
                <a:gd name="T34" fmla="*/ 0 w 405"/>
                <a:gd name="T35" fmla="*/ 0 h 302"/>
                <a:gd name="T36" fmla="*/ 0 w 405"/>
                <a:gd name="T37" fmla="*/ 0 h 302"/>
                <a:gd name="T38" fmla="*/ 0 w 405"/>
                <a:gd name="T39" fmla="*/ 0 h 302"/>
                <a:gd name="T40" fmla="*/ 0 w 405"/>
                <a:gd name="T41" fmla="*/ 0 h 302"/>
                <a:gd name="T42" fmla="*/ 0 w 405"/>
                <a:gd name="T43" fmla="*/ 0 h 302"/>
                <a:gd name="T44" fmla="*/ 0 w 405"/>
                <a:gd name="T45" fmla="*/ 0 h 302"/>
                <a:gd name="T46" fmla="*/ 0 w 405"/>
                <a:gd name="T47" fmla="*/ 0 h 302"/>
                <a:gd name="T48" fmla="*/ 0 w 405"/>
                <a:gd name="T49" fmla="*/ 0 h 302"/>
                <a:gd name="T50" fmla="*/ 0 w 405"/>
                <a:gd name="T51" fmla="*/ 0 h 302"/>
                <a:gd name="T52" fmla="*/ 0 w 405"/>
                <a:gd name="T53" fmla="*/ 0 h 302"/>
                <a:gd name="T54" fmla="*/ 0 w 405"/>
                <a:gd name="T55" fmla="*/ 0 h 302"/>
                <a:gd name="T56" fmla="*/ 0 w 405"/>
                <a:gd name="T57" fmla="*/ 0 h 302"/>
                <a:gd name="T58" fmla="*/ 0 w 405"/>
                <a:gd name="T59" fmla="*/ 0 h 302"/>
                <a:gd name="T60" fmla="*/ 0 w 405"/>
                <a:gd name="T61" fmla="*/ 0 h 302"/>
                <a:gd name="T62" fmla="*/ 0 w 405"/>
                <a:gd name="T63" fmla="*/ 0 h 302"/>
                <a:gd name="T64" fmla="*/ 0 w 405"/>
                <a:gd name="T65" fmla="*/ 0 h 302"/>
                <a:gd name="T66" fmla="*/ 0 w 405"/>
                <a:gd name="T67" fmla="*/ 0 h 302"/>
                <a:gd name="T68" fmla="*/ 0 w 405"/>
                <a:gd name="T69" fmla="*/ 0 h 302"/>
                <a:gd name="T70" fmla="*/ 0 w 405"/>
                <a:gd name="T71" fmla="*/ 0 h 302"/>
                <a:gd name="T72" fmla="*/ 0 w 405"/>
                <a:gd name="T73" fmla="*/ 0 h 302"/>
                <a:gd name="T74" fmla="*/ 0 w 405"/>
                <a:gd name="T75" fmla="*/ 0 h 302"/>
                <a:gd name="T76" fmla="*/ 0 w 405"/>
                <a:gd name="T77" fmla="*/ 0 h 302"/>
                <a:gd name="T78" fmla="*/ 0 w 405"/>
                <a:gd name="T79" fmla="*/ 0 h 302"/>
                <a:gd name="T80" fmla="*/ 0 w 405"/>
                <a:gd name="T81" fmla="*/ 0 h 302"/>
                <a:gd name="T82" fmla="*/ 0 w 405"/>
                <a:gd name="T83" fmla="*/ 0 h 302"/>
                <a:gd name="T84" fmla="*/ 0 w 405"/>
                <a:gd name="T85" fmla="*/ 0 h 302"/>
                <a:gd name="T86" fmla="*/ 0 w 405"/>
                <a:gd name="T87" fmla="*/ 0 h 302"/>
                <a:gd name="T88" fmla="*/ 0 w 405"/>
                <a:gd name="T89" fmla="*/ 0 h 302"/>
                <a:gd name="T90" fmla="*/ 0 w 405"/>
                <a:gd name="T91" fmla="*/ 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05"/>
                <a:gd name="T139" fmla="*/ 0 h 302"/>
                <a:gd name="T140" fmla="*/ 405 w 405"/>
                <a:gd name="T141" fmla="*/ 302 h 3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22" name="Freeform 1100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4733" y="1802"/>
              <a:ext cx="29" cy="50"/>
            </a:xfrm>
            <a:custGeom>
              <a:avLst/>
              <a:gdLst>
                <a:gd name="T0" fmla="*/ 0 w 100"/>
                <a:gd name="T1" fmla="*/ 0 h 155"/>
                <a:gd name="T2" fmla="*/ 0 w 100"/>
                <a:gd name="T3" fmla="*/ 0 h 155"/>
                <a:gd name="T4" fmla="*/ 0 w 100"/>
                <a:gd name="T5" fmla="*/ 0 h 155"/>
                <a:gd name="T6" fmla="*/ 0 w 100"/>
                <a:gd name="T7" fmla="*/ 0 h 155"/>
                <a:gd name="T8" fmla="*/ 0 w 100"/>
                <a:gd name="T9" fmla="*/ 0 h 155"/>
                <a:gd name="T10" fmla="*/ 0 w 100"/>
                <a:gd name="T11" fmla="*/ 0 h 155"/>
                <a:gd name="T12" fmla="*/ 0 w 100"/>
                <a:gd name="T13" fmla="*/ 0 h 155"/>
                <a:gd name="T14" fmla="*/ 0 w 100"/>
                <a:gd name="T15" fmla="*/ 0 h 155"/>
                <a:gd name="T16" fmla="*/ 0 w 100"/>
                <a:gd name="T17" fmla="*/ 0 h 155"/>
                <a:gd name="T18" fmla="*/ 0 w 100"/>
                <a:gd name="T19" fmla="*/ 0 h 155"/>
                <a:gd name="T20" fmla="*/ 0 w 100"/>
                <a:gd name="T21" fmla="*/ 0 h 155"/>
                <a:gd name="T22" fmla="*/ 0 w 100"/>
                <a:gd name="T23" fmla="*/ 0 h 155"/>
                <a:gd name="T24" fmla="*/ 0 w 100"/>
                <a:gd name="T25" fmla="*/ 0 h 155"/>
                <a:gd name="T26" fmla="*/ 0 w 100"/>
                <a:gd name="T27" fmla="*/ 0 h 155"/>
                <a:gd name="T28" fmla="*/ 0 w 100"/>
                <a:gd name="T29" fmla="*/ 0 h 155"/>
                <a:gd name="T30" fmla="*/ 0 w 100"/>
                <a:gd name="T31" fmla="*/ 0 h 155"/>
                <a:gd name="T32" fmla="*/ 0 w 100"/>
                <a:gd name="T33" fmla="*/ 0 h 155"/>
                <a:gd name="T34" fmla="*/ 0 w 100"/>
                <a:gd name="T35" fmla="*/ 0 h 155"/>
                <a:gd name="T36" fmla="*/ 0 w 100"/>
                <a:gd name="T37" fmla="*/ 0 h 155"/>
                <a:gd name="T38" fmla="*/ 0 w 100"/>
                <a:gd name="T39" fmla="*/ 0 h 155"/>
                <a:gd name="T40" fmla="*/ 0 w 100"/>
                <a:gd name="T41" fmla="*/ 0 h 155"/>
                <a:gd name="T42" fmla="*/ 0 w 100"/>
                <a:gd name="T43" fmla="*/ 0 h 155"/>
                <a:gd name="T44" fmla="*/ 0 w 100"/>
                <a:gd name="T45" fmla="*/ 0 h 155"/>
                <a:gd name="T46" fmla="*/ 0 w 100"/>
                <a:gd name="T47" fmla="*/ 0 h 155"/>
                <a:gd name="T48" fmla="*/ 0 w 100"/>
                <a:gd name="T49" fmla="*/ 0 h 155"/>
                <a:gd name="T50" fmla="*/ 0 w 100"/>
                <a:gd name="T51" fmla="*/ 0 h 155"/>
                <a:gd name="T52" fmla="*/ 0 w 100"/>
                <a:gd name="T53" fmla="*/ 0 h 155"/>
                <a:gd name="T54" fmla="*/ 0 w 100"/>
                <a:gd name="T55" fmla="*/ 0 h 155"/>
                <a:gd name="T56" fmla="*/ 0 w 100"/>
                <a:gd name="T57" fmla="*/ 0 h 155"/>
                <a:gd name="T58" fmla="*/ 0 w 100"/>
                <a:gd name="T59" fmla="*/ 0 h 155"/>
                <a:gd name="T60" fmla="*/ 0 w 100"/>
                <a:gd name="T61" fmla="*/ 0 h 155"/>
                <a:gd name="T62" fmla="*/ 0 w 100"/>
                <a:gd name="T63" fmla="*/ 0 h 155"/>
                <a:gd name="T64" fmla="*/ 0 w 100"/>
                <a:gd name="T65" fmla="*/ 0 h 155"/>
                <a:gd name="T66" fmla="*/ 0 w 100"/>
                <a:gd name="T67" fmla="*/ 0 h 155"/>
                <a:gd name="T68" fmla="*/ 0 w 100"/>
                <a:gd name="T69" fmla="*/ 0 h 155"/>
                <a:gd name="T70" fmla="*/ 0 w 100"/>
                <a:gd name="T71" fmla="*/ 0 h 155"/>
                <a:gd name="T72" fmla="*/ 0 w 100"/>
                <a:gd name="T73" fmla="*/ 0 h 155"/>
                <a:gd name="T74" fmla="*/ 0 w 100"/>
                <a:gd name="T75" fmla="*/ 0 h 155"/>
                <a:gd name="T76" fmla="*/ 0 w 100"/>
                <a:gd name="T77" fmla="*/ 0 h 155"/>
                <a:gd name="T78" fmla="*/ 0 w 100"/>
                <a:gd name="T79" fmla="*/ 0 h 155"/>
                <a:gd name="T80" fmla="*/ 0 w 100"/>
                <a:gd name="T81" fmla="*/ 0 h 155"/>
                <a:gd name="T82" fmla="*/ 0 w 100"/>
                <a:gd name="T83" fmla="*/ 0 h 155"/>
                <a:gd name="T84" fmla="*/ 0 w 100"/>
                <a:gd name="T85" fmla="*/ 0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0"/>
                <a:gd name="T130" fmla="*/ 0 h 155"/>
                <a:gd name="T131" fmla="*/ 100 w 100"/>
                <a:gd name="T132" fmla="*/ 155 h 15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grpSp>
          <p:nvGrpSpPr>
            <p:cNvPr id="18" name="Group 1101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3128" y="1467"/>
              <a:ext cx="329" cy="127"/>
              <a:chOff x="3289" y="1830"/>
              <a:chExt cx="363" cy="128"/>
            </a:xfrm>
            <a:grpFill/>
          </p:grpSpPr>
          <p:sp>
            <p:nvSpPr>
              <p:cNvPr id="18834" name="Freeform 1102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0 w 13"/>
                  <a:gd name="T1" fmla="*/ 0 h 7"/>
                  <a:gd name="T2" fmla="*/ 0 w 13"/>
                  <a:gd name="T3" fmla="*/ 0 h 7"/>
                  <a:gd name="T4" fmla="*/ 0 w 13"/>
                  <a:gd name="T5" fmla="*/ 0 h 7"/>
                  <a:gd name="T6" fmla="*/ 0 w 13"/>
                  <a:gd name="T7" fmla="*/ 0 h 7"/>
                  <a:gd name="T8" fmla="*/ 0 w 13"/>
                  <a:gd name="T9" fmla="*/ 0 h 7"/>
                  <a:gd name="T10" fmla="*/ 0 w 13"/>
                  <a:gd name="T11" fmla="*/ 0 h 7"/>
                  <a:gd name="T12" fmla="*/ 0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7"/>
                  <a:gd name="T23" fmla="*/ 13 w 13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35" name="Freeform 1103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0 h 8"/>
                  <a:gd name="T2" fmla="*/ 0 w 34"/>
                  <a:gd name="T3" fmla="*/ 0 h 8"/>
                  <a:gd name="T4" fmla="*/ 0 w 34"/>
                  <a:gd name="T5" fmla="*/ 0 h 8"/>
                  <a:gd name="T6" fmla="*/ 0 w 34"/>
                  <a:gd name="T7" fmla="*/ 0 h 8"/>
                  <a:gd name="T8" fmla="*/ 0 w 34"/>
                  <a:gd name="T9" fmla="*/ 0 h 8"/>
                  <a:gd name="T10" fmla="*/ 0 w 34"/>
                  <a:gd name="T11" fmla="*/ 0 h 8"/>
                  <a:gd name="T12" fmla="*/ 0 w 34"/>
                  <a:gd name="T13" fmla="*/ 0 h 8"/>
                  <a:gd name="T14" fmla="*/ 0 w 34"/>
                  <a:gd name="T15" fmla="*/ 0 h 8"/>
                  <a:gd name="T16" fmla="*/ 0 w 34"/>
                  <a:gd name="T17" fmla="*/ 0 h 8"/>
                  <a:gd name="T18" fmla="*/ 0 w 34"/>
                  <a:gd name="T19" fmla="*/ 0 h 8"/>
                  <a:gd name="T20" fmla="*/ 0 w 34"/>
                  <a:gd name="T21" fmla="*/ 0 h 8"/>
                  <a:gd name="T22" fmla="*/ 0 w 34"/>
                  <a:gd name="T23" fmla="*/ 0 h 8"/>
                  <a:gd name="T24" fmla="*/ 0 w 34"/>
                  <a:gd name="T25" fmla="*/ 0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4"/>
                  <a:gd name="T40" fmla="*/ 0 h 8"/>
                  <a:gd name="T41" fmla="*/ 34 w 34"/>
                  <a:gd name="T42" fmla="*/ 8 h 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36" name="Freeform 1104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0 h 24"/>
                  <a:gd name="T2" fmla="*/ 0 w 13"/>
                  <a:gd name="T3" fmla="*/ 0 h 24"/>
                  <a:gd name="T4" fmla="*/ 0 w 13"/>
                  <a:gd name="T5" fmla="*/ 0 h 24"/>
                  <a:gd name="T6" fmla="*/ 0 w 13"/>
                  <a:gd name="T7" fmla="*/ 0 h 2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"/>
                  <a:gd name="T13" fmla="*/ 0 h 24"/>
                  <a:gd name="T14" fmla="*/ 13 w 13"/>
                  <a:gd name="T15" fmla="*/ 24 h 2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37" name="Freeform 1105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0 h 69"/>
                  <a:gd name="T2" fmla="*/ 0 w 107"/>
                  <a:gd name="T3" fmla="*/ 0 h 69"/>
                  <a:gd name="T4" fmla="*/ 0 w 107"/>
                  <a:gd name="T5" fmla="*/ 0 h 69"/>
                  <a:gd name="T6" fmla="*/ 0 w 107"/>
                  <a:gd name="T7" fmla="*/ 0 h 69"/>
                  <a:gd name="T8" fmla="*/ 0 w 107"/>
                  <a:gd name="T9" fmla="*/ 0 h 69"/>
                  <a:gd name="T10" fmla="*/ 0 w 107"/>
                  <a:gd name="T11" fmla="*/ 0 h 69"/>
                  <a:gd name="T12" fmla="*/ 0 w 107"/>
                  <a:gd name="T13" fmla="*/ 0 h 69"/>
                  <a:gd name="T14" fmla="*/ 0 w 107"/>
                  <a:gd name="T15" fmla="*/ 0 h 69"/>
                  <a:gd name="T16" fmla="*/ 0 w 107"/>
                  <a:gd name="T17" fmla="*/ 0 h 69"/>
                  <a:gd name="T18" fmla="*/ 0 w 107"/>
                  <a:gd name="T19" fmla="*/ 0 h 69"/>
                  <a:gd name="T20" fmla="*/ 0 w 107"/>
                  <a:gd name="T21" fmla="*/ 0 h 69"/>
                  <a:gd name="T22" fmla="*/ 0 w 107"/>
                  <a:gd name="T23" fmla="*/ 0 h 69"/>
                  <a:gd name="T24" fmla="*/ 0 w 107"/>
                  <a:gd name="T25" fmla="*/ 0 h 69"/>
                  <a:gd name="T26" fmla="*/ 0 w 107"/>
                  <a:gd name="T27" fmla="*/ 0 h 69"/>
                  <a:gd name="T28" fmla="*/ 0 w 107"/>
                  <a:gd name="T29" fmla="*/ 0 h 69"/>
                  <a:gd name="T30" fmla="*/ 0 w 107"/>
                  <a:gd name="T31" fmla="*/ 0 h 69"/>
                  <a:gd name="T32" fmla="*/ 0 w 107"/>
                  <a:gd name="T33" fmla="*/ 0 h 69"/>
                  <a:gd name="T34" fmla="*/ 0 w 107"/>
                  <a:gd name="T35" fmla="*/ 0 h 69"/>
                  <a:gd name="T36" fmla="*/ 0 w 107"/>
                  <a:gd name="T37" fmla="*/ 0 h 69"/>
                  <a:gd name="T38" fmla="*/ 0 w 107"/>
                  <a:gd name="T39" fmla="*/ 0 h 69"/>
                  <a:gd name="T40" fmla="*/ 0 w 107"/>
                  <a:gd name="T41" fmla="*/ 0 h 69"/>
                  <a:gd name="T42" fmla="*/ 0 w 107"/>
                  <a:gd name="T43" fmla="*/ 0 h 69"/>
                  <a:gd name="T44" fmla="*/ 0 w 107"/>
                  <a:gd name="T45" fmla="*/ 0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07"/>
                  <a:gd name="T70" fmla="*/ 0 h 69"/>
                  <a:gd name="T71" fmla="*/ 107 w 107"/>
                  <a:gd name="T72" fmla="*/ 69 h 6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  <p:sp>
            <p:nvSpPr>
              <p:cNvPr id="18838" name="Freeform 1106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0 w 1070"/>
                  <a:gd name="T1" fmla="*/ 0 h 382"/>
                  <a:gd name="T2" fmla="*/ 0 w 1070"/>
                  <a:gd name="T3" fmla="*/ 0 h 382"/>
                  <a:gd name="T4" fmla="*/ 0 w 1070"/>
                  <a:gd name="T5" fmla="*/ 0 h 382"/>
                  <a:gd name="T6" fmla="*/ 0 w 1070"/>
                  <a:gd name="T7" fmla="*/ 0 h 382"/>
                  <a:gd name="T8" fmla="*/ 0 w 1070"/>
                  <a:gd name="T9" fmla="*/ 0 h 382"/>
                  <a:gd name="T10" fmla="*/ 0 w 1070"/>
                  <a:gd name="T11" fmla="*/ 0 h 382"/>
                  <a:gd name="T12" fmla="*/ 0 w 1070"/>
                  <a:gd name="T13" fmla="*/ 0 h 382"/>
                  <a:gd name="T14" fmla="*/ 0 w 1070"/>
                  <a:gd name="T15" fmla="*/ 0 h 382"/>
                  <a:gd name="T16" fmla="*/ 0 w 1070"/>
                  <a:gd name="T17" fmla="*/ 0 h 382"/>
                  <a:gd name="T18" fmla="*/ 0 w 1070"/>
                  <a:gd name="T19" fmla="*/ 0 h 382"/>
                  <a:gd name="T20" fmla="*/ 0 w 1070"/>
                  <a:gd name="T21" fmla="*/ 0 h 382"/>
                  <a:gd name="T22" fmla="*/ 0 w 1070"/>
                  <a:gd name="T23" fmla="*/ 0 h 382"/>
                  <a:gd name="T24" fmla="*/ 0 w 1070"/>
                  <a:gd name="T25" fmla="*/ 0 h 382"/>
                  <a:gd name="T26" fmla="*/ 0 w 1070"/>
                  <a:gd name="T27" fmla="*/ 0 h 382"/>
                  <a:gd name="T28" fmla="*/ 0 w 1070"/>
                  <a:gd name="T29" fmla="*/ 0 h 382"/>
                  <a:gd name="T30" fmla="*/ 0 w 1070"/>
                  <a:gd name="T31" fmla="*/ 0 h 382"/>
                  <a:gd name="T32" fmla="*/ 0 w 1070"/>
                  <a:gd name="T33" fmla="*/ 0 h 382"/>
                  <a:gd name="T34" fmla="*/ 0 w 1070"/>
                  <a:gd name="T35" fmla="*/ 0 h 382"/>
                  <a:gd name="T36" fmla="*/ 0 w 1070"/>
                  <a:gd name="T37" fmla="*/ 0 h 382"/>
                  <a:gd name="T38" fmla="*/ 0 w 1070"/>
                  <a:gd name="T39" fmla="*/ 0 h 382"/>
                  <a:gd name="T40" fmla="*/ 0 w 1070"/>
                  <a:gd name="T41" fmla="*/ 0 h 382"/>
                  <a:gd name="T42" fmla="*/ 0 w 1070"/>
                  <a:gd name="T43" fmla="*/ 0 h 382"/>
                  <a:gd name="T44" fmla="*/ 0 w 1070"/>
                  <a:gd name="T45" fmla="*/ 0 h 382"/>
                  <a:gd name="T46" fmla="*/ 0 w 1070"/>
                  <a:gd name="T47" fmla="*/ 0 h 382"/>
                  <a:gd name="T48" fmla="*/ 0 w 1070"/>
                  <a:gd name="T49" fmla="*/ 0 h 382"/>
                  <a:gd name="T50" fmla="*/ 0 w 1070"/>
                  <a:gd name="T51" fmla="*/ 0 h 382"/>
                  <a:gd name="T52" fmla="*/ 0 w 1070"/>
                  <a:gd name="T53" fmla="*/ 0 h 382"/>
                  <a:gd name="T54" fmla="*/ 0 w 1070"/>
                  <a:gd name="T55" fmla="*/ 0 h 382"/>
                  <a:gd name="T56" fmla="*/ 0 w 1070"/>
                  <a:gd name="T57" fmla="*/ 0 h 382"/>
                  <a:gd name="T58" fmla="*/ 0 w 1070"/>
                  <a:gd name="T59" fmla="*/ 0 h 382"/>
                  <a:gd name="T60" fmla="*/ 0 w 1070"/>
                  <a:gd name="T61" fmla="*/ 0 h 382"/>
                  <a:gd name="T62" fmla="*/ 0 w 1070"/>
                  <a:gd name="T63" fmla="*/ 0 h 382"/>
                  <a:gd name="T64" fmla="*/ 0 w 1070"/>
                  <a:gd name="T65" fmla="*/ 0 h 382"/>
                  <a:gd name="T66" fmla="*/ 0 w 1070"/>
                  <a:gd name="T67" fmla="*/ 0 h 382"/>
                  <a:gd name="T68" fmla="*/ 0 w 1070"/>
                  <a:gd name="T69" fmla="*/ 0 h 382"/>
                  <a:gd name="T70" fmla="*/ 0 w 1070"/>
                  <a:gd name="T71" fmla="*/ 0 h 382"/>
                  <a:gd name="T72" fmla="*/ 0 w 1070"/>
                  <a:gd name="T73" fmla="*/ 0 h 382"/>
                  <a:gd name="T74" fmla="*/ 0 w 1070"/>
                  <a:gd name="T75" fmla="*/ 0 h 382"/>
                  <a:gd name="T76" fmla="*/ 0 w 1070"/>
                  <a:gd name="T77" fmla="*/ 0 h 382"/>
                  <a:gd name="T78" fmla="*/ 0 w 1070"/>
                  <a:gd name="T79" fmla="*/ 0 h 382"/>
                  <a:gd name="T80" fmla="*/ 0 w 1070"/>
                  <a:gd name="T81" fmla="*/ 0 h 382"/>
                  <a:gd name="T82" fmla="*/ 0 w 1070"/>
                  <a:gd name="T83" fmla="*/ 0 h 382"/>
                  <a:gd name="T84" fmla="*/ 0 w 1070"/>
                  <a:gd name="T85" fmla="*/ 0 h 382"/>
                  <a:gd name="T86" fmla="*/ 0 w 1070"/>
                  <a:gd name="T87" fmla="*/ 0 h 382"/>
                  <a:gd name="T88" fmla="*/ 0 w 1070"/>
                  <a:gd name="T89" fmla="*/ 0 h 382"/>
                  <a:gd name="T90" fmla="*/ 0 w 1070"/>
                  <a:gd name="T91" fmla="*/ 0 h 382"/>
                  <a:gd name="T92" fmla="*/ 0 w 1070"/>
                  <a:gd name="T93" fmla="*/ 0 h 382"/>
                  <a:gd name="T94" fmla="*/ 0 w 1070"/>
                  <a:gd name="T95" fmla="*/ 0 h 382"/>
                  <a:gd name="T96" fmla="*/ 0 w 1070"/>
                  <a:gd name="T97" fmla="*/ 0 h 382"/>
                  <a:gd name="T98" fmla="*/ 0 w 1070"/>
                  <a:gd name="T99" fmla="*/ 0 h 382"/>
                  <a:gd name="T100" fmla="*/ 0 w 1070"/>
                  <a:gd name="T101" fmla="*/ 0 h 382"/>
                  <a:gd name="T102" fmla="*/ 0 w 1070"/>
                  <a:gd name="T103" fmla="*/ 0 h 382"/>
                  <a:gd name="T104" fmla="*/ 0 w 1070"/>
                  <a:gd name="T105" fmla="*/ 0 h 382"/>
                  <a:gd name="T106" fmla="*/ 0 w 1070"/>
                  <a:gd name="T107" fmla="*/ 0 h 382"/>
                  <a:gd name="T108" fmla="*/ 0 w 1070"/>
                  <a:gd name="T109" fmla="*/ 0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070"/>
                  <a:gd name="T166" fmla="*/ 0 h 382"/>
                  <a:gd name="T167" fmla="*/ 1070 w 1070"/>
                  <a:gd name="T168" fmla="*/ 382 h 38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dirty="0">
                  <a:solidFill>
                    <a:prstClr val="white">
                      <a:lumMod val="85000"/>
                    </a:prstClr>
                  </a:solidFill>
                  <a:latin typeface="Arial"/>
                </a:endParaRPr>
              </a:p>
            </p:txBody>
          </p:sp>
        </p:grpSp>
        <p:sp>
          <p:nvSpPr>
            <p:cNvPr id="18824" name="Freeform 1107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1755" y="2193"/>
              <a:ext cx="68" cy="77"/>
            </a:xfrm>
            <a:custGeom>
              <a:avLst/>
              <a:gdLst>
                <a:gd name="T0" fmla="*/ 0 w 226"/>
                <a:gd name="T1" fmla="*/ 0 h 237"/>
                <a:gd name="T2" fmla="*/ 0 w 226"/>
                <a:gd name="T3" fmla="*/ 0 h 237"/>
                <a:gd name="T4" fmla="*/ 0 w 226"/>
                <a:gd name="T5" fmla="*/ 0 h 237"/>
                <a:gd name="T6" fmla="*/ 0 w 226"/>
                <a:gd name="T7" fmla="*/ 0 h 237"/>
                <a:gd name="T8" fmla="*/ 0 w 226"/>
                <a:gd name="T9" fmla="*/ 0 h 237"/>
                <a:gd name="T10" fmla="*/ 0 w 226"/>
                <a:gd name="T11" fmla="*/ 0 h 237"/>
                <a:gd name="T12" fmla="*/ 0 w 226"/>
                <a:gd name="T13" fmla="*/ 0 h 237"/>
                <a:gd name="T14" fmla="*/ 0 w 226"/>
                <a:gd name="T15" fmla="*/ 0 h 237"/>
                <a:gd name="T16" fmla="*/ 0 w 226"/>
                <a:gd name="T17" fmla="*/ 0 h 237"/>
                <a:gd name="T18" fmla="*/ 0 w 226"/>
                <a:gd name="T19" fmla="*/ 0 h 237"/>
                <a:gd name="T20" fmla="*/ 0 w 226"/>
                <a:gd name="T21" fmla="*/ 0 h 237"/>
                <a:gd name="T22" fmla="*/ 0 w 226"/>
                <a:gd name="T23" fmla="*/ 0 h 237"/>
                <a:gd name="T24" fmla="*/ 0 w 226"/>
                <a:gd name="T25" fmla="*/ 0 h 237"/>
                <a:gd name="T26" fmla="*/ 0 w 226"/>
                <a:gd name="T27" fmla="*/ 0 h 237"/>
                <a:gd name="T28" fmla="*/ 0 w 226"/>
                <a:gd name="T29" fmla="*/ 0 h 237"/>
                <a:gd name="T30" fmla="*/ 0 w 226"/>
                <a:gd name="T31" fmla="*/ 0 h 237"/>
                <a:gd name="T32" fmla="*/ 0 w 226"/>
                <a:gd name="T33" fmla="*/ 0 h 237"/>
                <a:gd name="T34" fmla="*/ 0 w 226"/>
                <a:gd name="T35" fmla="*/ 0 h 237"/>
                <a:gd name="T36" fmla="*/ 0 w 226"/>
                <a:gd name="T37" fmla="*/ 0 h 237"/>
                <a:gd name="T38" fmla="*/ 0 w 226"/>
                <a:gd name="T39" fmla="*/ 0 h 237"/>
                <a:gd name="T40" fmla="*/ 0 w 226"/>
                <a:gd name="T41" fmla="*/ 0 h 237"/>
                <a:gd name="T42" fmla="*/ 0 w 226"/>
                <a:gd name="T43" fmla="*/ 0 h 237"/>
                <a:gd name="T44" fmla="*/ 0 w 226"/>
                <a:gd name="T45" fmla="*/ 0 h 237"/>
                <a:gd name="T46" fmla="*/ 0 w 226"/>
                <a:gd name="T47" fmla="*/ 0 h 237"/>
                <a:gd name="T48" fmla="*/ 0 w 226"/>
                <a:gd name="T49" fmla="*/ 0 h 237"/>
                <a:gd name="T50" fmla="*/ 0 w 226"/>
                <a:gd name="T51" fmla="*/ 0 h 237"/>
                <a:gd name="T52" fmla="*/ 0 w 226"/>
                <a:gd name="T53" fmla="*/ 0 h 237"/>
                <a:gd name="T54" fmla="*/ 0 w 226"/>
                <a:gd name="T55" fmla="*/ 0 h 237"/>
                <a:gd name="T56" fmla="*/ 0 w 226"/>
                <a:gd name="T57" fmla="*/ 0 h 237"/>
                <a:gd name="T58" fmla="*/ 0 w 226"/>
                <a:gd name="T59" fmla="*/ 0 h 237"/>
                <a:gd name="T60" fmla="*/ 0 w 226"/>
                <a:gd name="T61" fmla="*/ 0 h 237"/>
                <a:gd name="T62" fmla="*/ 0 w 226"/>
                <a:gd name="T63" fmla="*/ 0 h 237"/>
                <a:gd name="T64" fmla="*/ 0 w 226"/>
                <a:gd name="T65" fmla="*/ 0 h 237"/>
                <a:gd name="T66" fmla="*/ 0 w 226"/>
                <a:gd name="T67" fmla="*/ 0 h 237"/>
                <a:gd name="T68" fmla="*/ 0 w 226"/>
                <a:gd name="T69" fmla="*/ 0 h 237"/>
                <a:gd name="T70" fmla="*/ 0 w 226"/>
                <a:gd name="T71" fmla="*/ 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6"/>
                <a:gd name="T109" fmla="*/ 0 h 237"/>
                <a:gd name="T110" fmla="*/ 226 w 226"/>
                <a:gd name="T111" fmla="*/ 237 h 23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25" name="Freeform 1108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4447" y="1838"/>
              <a:ext cx="142" cy="289"/>
            </a:xfrm>
            <a:custGeom>
              <a:avLst/>
              <a:gdLst>
                <a:gd name="T0" fmla="*/ 0 w 478"/>
                <a:gd name="T1" fmla="*/ 0 h 875"/>
                <a:gd name="T2" fmla="*/ 0 w 478"/>
                <a:gd name="T3" fmla="*/ 0 h 875"/>
                <a:gd name="T4" fmla="*/ 0 w 478"/>
                <a:gd name="T5" fmla="*/ 0 h 875"/>
                <a:gd name="T6" fmla="*/ 0 w 478"/>
                <a:gd name="T7" fmla="*/ 0 h 875"/>
                <a:gd name="T8" fmla="*/ 0 w 478"/>
                <a:gd name="T9" fmla="*/ 0 h 875"/>
                <a:gd name="T10" fmla="*/ 0 w 478"/>
                <a:gd name="T11" fmla="*/ 0 h 875"/>
                <a:gd name="T12" fmla="*/ 0 w 478"/>
                <a:gd name="T13" fmla="*/ 0 h 875"/>
                <a:gd name="T14" fmla="*/ 0 w 478"/>
                <a:gd name="T15" fmla="*/ 0 h 875"/>
                <a:gd name="T16" fmla="*/ 0 w 478"/>
                <a:gd name="T17" fmla="*/ 0 h 875"/>
                <a:gd name="T18" fmla="*/ 0 w 478"/>
                <a:gd name="T19" fmla="*/ 0 h 875"/>
                <a:gd name="T20" fmla="*/ 0 w 478"/>
                <a:gd name="T21" fmla="*/ 0 h 875"/>
                <a:gd name="T22" fmla="*/ 0 w 478"/>
                <a:gd name="T23" fmla="*/ 0 h 875"/>
                <a:gd name="T24" fmla="*/ 0 w 478"/>
                <a:gd name="T25" fmla="*/ 0 h 875"/>
                <a:gd name="T26" fmla="*/ 0 w 478"/>
                <a:gd name="T27" fmla="*/ 0 h 875"/>
                <a:gd name="T28" fmla="*/ 0 w 478"/>
                <a:gd name="T29" fmla="*/ 0 h 875"/>
                <a:gd name="T30" fmla="*/ 0 w 478"/>
                <a:gd name="T31" fmla="*/ 0 h 875"/>
                <a:gd name="T32" fmla="*/ 0 w 478"/>
                <a:gd name="T33" fmla="*/ 0 h 875"/>
                <a:gd name="T34" fmla="*/ 0 w 478"/>
                <a:gd name="T35" fmla="*/ 0 h 875"/>
                <a:gd name="T36" fmla="*/ 0 w 478"/>
                <a:gd name="T37" fmla="*/ 0 h 875"/>
                <a:gd name="T38" fmla="*/ 0 w 478"/>
                <a:gd name="T39" fmla="*/ 0 h 875"/>
                <a:gd name="T40" fmla="*/ 0 w 478"/>
                <a:gd name="T41" fmla="*/ 0 h 875"/>
                <a:gd name="T42" fmla="*/ 0 w 478"/>
                <a:gd name="T43" fmla="*/ 0 h 875"/>
                <a:gd name="T44" fmla="*/ 0 w 478"/>
                <a:gd name="T45" fmla="*/ 0 h 875"/>
                <a:gd name="T46" fmla="*/ 0 w 478"/>
                <a:gd name="T47" fmla="*/ 0 h 875"/>
                <a:gd name="T48" fmla="*/ 0 w 478"/>
                <a:gd name="T49" fmla="*/ 0 h 875"/>
                <a:gd name="T50" fmla="*/ 0 w 478"/>
                <a:gd name="T51" fmla="*/ 0 h 875"/>
                <a:gd name="T52" fmla="*/ 0 w 478"/>
                <a:gd name="T53" fmla="*/ 0 h 875"/>
                <a:gd name="T54" fmla="*/ 0 w 478"/>
                <a:gd name="T55" fmla="*/ 0 h 875"/>
                <a:gd name="T56" fmla="*/ 0 w 478"/>
                <a:gd name="T57" fmla="*/ 0 h 875"/>
                <a:gd name="T58" fmla="*/ 0 w 478"/>
                <a:gd name="T59" fmla="*/ 0 h 875"/>
                <a:gd name="T60" fmla="*/ 0 w 478"/>
                <a:gd name="T61" fmla="*/ 0 h 875"/>
                <a:gd name="T62" fmla="*/ 0 w 478"/>
                <a:gd name="T63" fmla="*/ 0 h 875"/>
                <a:gd name="T64" fmla="*/ 0 w 478"/>
                <a:gd name="T65" fmla="*/ 0 h 875"/>
                <a:gd name="T66" fmla="*/ 0 w 478"/>
                <a:gd name="T67" fmla="*/ 0 h 875"/>
                <a:gd name="T68" fmla="*/ 0 w 478"/>
                <a:gd name="T69" fmla="*/ 0 h 875"/>
                <a:gd name="T70" fmla="*/ 0 w 478"/>
                <a:gd name="T71" fmla="*/ 0 h 875"/>
                <a:gd name="T72" fmla="*/ 0 w 478"/>
                <a:gd name="T73" fmla="*/ 0 h 875"/>
                <a:gd name="T74" fmla="*/ 0 w 478"/>
                <a:gd name="T75" fmla="*/ 0 h 875"/>
                <a:gd name="T76" fmla="*/ 0 w 478"/>
                <a:gd name="T77" fmla="*/ 0 h 875"/>
                <a:gd name="T78" fmla="*/ 0 w 478"/>
                <a:gd name="T79" fmla="*/ 0 h 875"/>
                <a:gd name="T80" fmla="*/ 0 w 478"/>
                <a:gd name="T81" fmla="*/ 0 h 875"/>
                <a:gd name="T82" fmla="*/ 0 w 478"/>
                <a:gd name="T83" fmla="*/ 0 h 875"/>
                <a:gd name="T84" fmla="*/ 0 w 478"/>
                <a:gd name="T85" fmla="*/ 0 h 875"/>
                <a:gd name="T86" fmla="*/ 0 w 478"/>
                <a:gd name="T87" fmla="*/ 0 h 875"/>
                <a:gd name="T88" fmla="*/ 0 w 478"/>
                <a:gd name="T89" fmla="*/ 0 h 875"/>
                <a:gd name="T90" fmla="*/ 0 w 478"/>
                <a:gd name="T91" fmla="*/ 0 h 875"/>
                <a:gd name="T92" fmla="*/ 0 w 478"/>
                <a:gd name="T93" fmla="*/ 0 h 875"/>
                <a:gd name="T94" fmla="*/ 0 w 478"/>
                <a:gd name="T95" fmla="*/ 0 h 875"/>
                <a:gd name="T96" fmla="*/ 0 w 478"/>
                <a:gd name="T97" fmla="*/ 0 h 875"/>
                <a:gd name="T98" fmla="*/ 0 w 478"/>
                <a:gd name="T99" fmla="*/ 0 h 875"/>
                <a:gd name="T100" fmla="*/ 0 w 478"/>
                <a:gd name="T101" fmla="*/ 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78"/>
                <a:gd name="T154" fmla="*/ 0 h 875"/>
                <a:gd name="T155" fmla="*/ 478 w 478"/>
                <a:gd name="T156" fmla="*/ 875 h 87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26" name="Freeform 1109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4507" y="2270"/>
              <a:ext cx="17" cy="36"/>
            </a:xfrm>
            <a:custGeom>
              <a:avLst/>
              <a:gdLst>
                <a:gd name="T0" fmla="*/ 0 w 59"/>
                <a:gd name="T1" fmla="*/ 117 h 31"/>
                <a:gd name="T2" fmla="*/ 0 w 59"/>
                <a:gd name="T3" fmla="*/ 217 h 31"/>
                <a:gd name="T4" fmla="*/ 0 w 59"/>
                <a:gd name="T5" fmla="*/ 293 h 31"/>
                <a:gd name="T6" fmla="*/ 0 w 59"/>
                <a:gd name="T7" fmla="*/ 387 h 31"/>
                <a:gd name="T8" fmla="*/ 0 w 59"/>
                <a:gd name="T9" fmla="*/ 476 h 31"/>
                <a:gd name="T10" fmla="*/ 0 w 59"/>
                <a:gd name="T11" fmla="*/ 533 h 31"/>
                <a:gd name="T12" fmla="*/ 0 w 59"/>
                <a:gd name="T13" fmla="*/ 566 h 31"/>
                <a:gd name="T14" fmla="*/ 0 w 59"/>
                <a:gd name="T15" fmla="*/ 619 h 31"/>
                <a:gd name="T16" fmla="*/ 0 w 59"/>
                <a:gd name="T17" fmla="*/ 619 h 31"/>
                <a:gd name="T18" fmla="*/ 0 w 59"/>
                <a:gd name="T19" fmla="*/ 619 h 31"/>
                <a:gd name="T20" fmla="*/ 0 w 59"/>
                <a:gd name="T21" fmla="*/ 605 h 31"/>
                <a:gd name="T22" fmla="*/ 0 w 59"/>
                <a:gd name="T23" fmla="*/ 566 h 31"/>
                <a:gd name="T24" fmla="*/ 0 w 59"/>
                <a:gd name="T25" fmla="*/ 533 h 31"/>
                <a:gd name="T26" fmla="*/ 0 w 59"/>
                <a:gd name="T27" fmla="*/ 395 h 31"/>
                <a:gd name="T28" fmla="*/ 0 w 59"/>
                <a:gd name="T29" fmla="*/ 247 h 31"/>
                <a:gd name="T30" fmla="*/ 0 w 59"/>
                <a:gd name="T31" fmla="*/ 183 h 31"/>
                <a:gd name="T32" fmla="*/ 0 w 59"/>
                <a:gd name="T33" fmla="*/ 117 h 31"/>
                <a:gd name="T34" fmla="*/ 0 w 59"/>
                <a:gd name="T35" fmla="*/ 87 h 31"/>
                <a:gd name="T36" fmla="*/ 0 w 59"/>
                <a:gd name="T37" fmla="*/ 3 h 31"/>
                <a:gd name="T38" fmla="*/ 0 w 59"/>
                <a:gd name="T39" fmla="*/ 1 h 31"/>
                <a:gd name="T40" fmla="*/ 0 w 59"/>
                <a:gd name="T41" fmla="*/ 0 h 31"/>
                <a:gd name="T42" fmla="*/ 0 w 59"/>
                <a:gd name="T43" fmla="*/ 0 h 31"/>
                <a:gd name="T44" fmla="*/ 0 w 59"/>
                <a:gd name="T45" fmla="*/ 2 h 31"/>
                <a:gd name="T46" fmla="*/ 0 w 59"/>
                <a:gd name="T47" fmla="*/ 87 h 31"/>
                <a:gd name="T48" fmla="*/ 0 w 59"/>
                <a:gd name="T49" fmla="*/ 11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27" name="Freeform 1110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3614" y="1803"/>
              <a:ext cx="119" cy="171"/>
            </a:xfrm>
            <a:custGeom>
              <a:avLst/>
              <a:gdLst>
                <a:gd name="T0" fmla="*/ 0 w 399"/>
                <a:gd name="T1" fmla="*/ 0 h 518"/>
                <a:gd name="T2" fmla="*/ 0 w 399"/>
                <a:gd name="T3" fmla="*/ 0 h 518"/>
                <a:gd name="T4" fmla="*/ 0 w 399"/>
                <a:gd name="T5" fmla="*/ 0 h 518"/>
                <a:gd name="T6" fmla="*/ 0 w 399"/>
                <a:gd name="T7" fmla="*/ 0 h 518"/>
                <a:gd name="T8" fmla="*/ 0 w 399"/>
                <a:gd name="T9" fmla="*/ 0 h 518"/>
                <a:gd name="T10" fmla="*/ 0 w 399"/>
                <a:gd name="T11" fmla="*/ 0 h 518"/>
                <a:gd name="T12" fmla="*/ 0 w 399"/>
                <a:gd name="T13" fmla="*/ 0 h 518"/>
                <a:gd name="T14" fmla="*/ 0 w 399"/>
                <a:gd name="T15" fmla="*/ 0 h 518"/>
                <a:gd name="T16" fmla="*/ 0 w 399"/>
                <a:gd name="T17" fmla="*/ 0 h 518"/>
                <a:gd name="T18" fmla="*/ 0 w 399"/>
                <a:gd name="T19" fmla="*/ 0 h 518"/>
                <a:gd name="T20" fmla="*/ 0 w 399"/>
                <a:gd name="T21" fmla="*/ 0 h 518"/>
                <a:gd name="T22" fmla="*/ 0 w 399"/>
                <a:gd name="T23" fmla="*/ 0 h 518"/>
                <a:gd name="T24" fmla="*/ 0 w 399"/>
                <a:gd name="T25" fmla="*/ 0 h 518"/>
                <a:gd name="T26" fmla="*/ 0 w 399"/>
                <a:gd name="T27" fmla="*/ 0 h 518"/>
                <a:gd name="T28" fmla="*/ 0 w 399"/>
                <a:gd name="T29" fmla="*/ 0 h 518"/>
                <a:gd name="T30" fmla="*/ 0 w 399"/>
                <a:gd name="T31" fmla="*/ 0 h 518"/>
                <a:gd name="T32" fmla="*/ 0 w 399"/>
                <a:gd name="T33" fmla="*/ 0 h 518"/>
                <a:gd name="T34" fmla="*/ 0 w 399"/>
                <a:gd name="T35" fmla="*/ 0 h 518"/>
                <a:gd name="T36" fmla="*/ 0 w 399"/>
                <a:gd name="T37" fmla="*/ 0 h 518"/>
                <a:gd name="T38" fmla="*/ 0 w 399"/>
                <a:gd name="T39" fmla="*/ 0 h 518"/>
                <a:gd name="T40" fmla="*/ 0 w 399"/>
                <a:gd name="T41" fmla="*/ 0 h 518"/>
                <a:gd name="T42" fmla="*/ 0 w 399"/>
                <a:gd name="T43" fmla="*/ 0 h 518"/>
                <a:gd name="T44" fmla="*/ 0 w 399"/>
                <a:gd name="T45" fmla="*/ 0 h 518"/>
                <a:gd name="T46" fmla="*/ 0 w 399"/>
                <a:gd name="T47" fmla="*/ 0 h 518"/>
                <a:gd name="T48" fmla="*/ 0 w 399"/>
                <a:gd name="T49" fmla="*/ 0 h 518"/>
                <a:gd name="T50" fmla="*/ 0 w 399"/>
                <a:gd name="T51" fmla="*/ 0 h 518"/>
                <a:gd name="T52" fmla="*/ 0 w 399"/>
                <a:gd name="T53" fmla="*/ 0 h 518"/>
                <a:gd name="T54" fmla="*/ 0 w 399"/>
                <a:gd name="T55" fmla="*/ 0 h 518"/>
                <a:gd name="T56" fmla="*/ 0 w 399"/>
                <a:gd name="T57" fmla="*/ 0 h 518"/>
                <a:gd name="T58" fmla="*/ 0 w 399"/>
                <a:gd name="T59" fmla="*/ 0 h 518"/>
                <a:gd name="T60" fmla="*/ 0 w 399"/>
                <a:gd name="T61" fmla="*/ 0 h 518"/>
                <a:gd name="T62" fmla="*/ 0 w 399"/>
                <a:gd name="T63" fmla="*/ 0 h 518"/>
                <a:gd name="T64" fmla="*/ 0 w 399"/>
                <a:gd name="T65" fmla="*/ 0 h 518"/>
                <a:gd name="T66" fmla="*/ 0 w 399"/>
                <a:gd name="T67" fmla="*/ 0 h 518"/>
                <a:gd name="T68" fmla="*/ 0 w 399"/>
                <a:gd name="T69" fmla="*/ 0 h 518"/>
                <a:gd name="T70" fmla="*/ 0 w 399"/>
                <a:gd name="T71" fmla="*/ 0 h 518"/>
                <a:gd name="T72" fmla="*/ 0 w 399"/>
                <a:gd name="T73" fmla="*/ 0 h 518"/>
                <a:gd name="T74" fmla="*/ 0 w 399"/>
                <a:gd name="T75" fmla="*/ 0 h 518"/>
                <a:gd name="T76" fmla="*/ 0 w 399"/>
                <a:gd name="T77" fmla="*/ 0 h 518"/>
                <a:gd name="T78" fmla="*/ 0 w 399"/>
                <a:gd name="T79" fmla="*/ 0 h 518"/>
                <a:gd name="T80" fmla="*/ 0 w 399"/>
                <a:gd name="T81" fmla="*/ 0 h 518"/>
                <a:gd name="T82" fmla="*/ 0 w 399"/>
                <a:gd name="T83" fmla="*/ 0 h 518"/>
                <a:gd name="T84" fmla="*/ 0 w 399"/>
                <a:gd name="T85" fmla="*/ 0 h 518"/>
                <a:gd name="T86" fmla="*/ 0 w 399"/>
                <a:gd name="T87" fmla="*/ 0 h 518"/>
                <a:gd name="T88" fmla="*/ 0 w 399"/>
                <a:gd name="T89" fmla="*/ 0 h 518"/>
                <a:gd name="T90" fmla="*/ 0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99"/>
                <a:gd name="T139" fmla="*/ 0 h 518"/>
                <a:gd name="T140" fmla="*/ 399 w 399"/>
                <a:gd name="T141" fmla="*/ 518 h 51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28" name="Freeform 1111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2745" y="1837"/>
              <a:ext cx="257" cy="243"/>
            </a:xfrm>
            <a:custGeom>
              <a:avLst/>
              <a:gdLst>
                <a:gd name="T0" fmla="*/ 0 w 866"/>
                <a:gd name="T1" fmla="*/ 0 h 740"/>
                <a:gd name="T2" fmla="*/ 0 w 866"/>
                <a:gd name="T3" fmla="*/ 0 h 740"/>
                <a:gd name="T4" fmla="*/ 0 w 866"/>
                <a:gd name="T5" fmla="*/ 0 h 740"/>
                <a:gd name="T6" fmla="*/ 0 w 866"/>
                <a:gd name="T7" fmla="*/ 0 h 740"/>
                <a:gd name="T8" fmla="*/ 0 w 866"/>
                <a:gd name="T9" fmla="*/ 0 h 740"/>
                <a:gd name="T10" fmla="*/ 0 w 866"/>
                <a:gd name="T11" fmla="*/ 0 h 740"/>
                <a:gd name="T12" fmla="*/ 0 w 866"/>
                <a:gd name="T13" fmla="*/ 0 h 740"/>
                <a:gd name="T14" fmla="*/ 0 w 866"/>
                <a:gd name="T15" fmla="*/ 0 h 740"/>
                <a:gd name="T16" fmla="*/ 0 w 866"/>
                <a:gd name="T17" fmla="*/ 0 h 740"/>
                <a:gd name="T18" fmla="*/ 0 w 866"/>
                <a:gd name="T19" fmla="*/ 0 h 740"/>
                <a:gd name="T20" fmla="*/ 0 w 866"/>
                <a:gd name="T21" fmla="*/ 0 h 740"/>
                <a:gd name="T22" fmla="*/ 0 w 866"/>
                <a:gd name="T23" fmla="*/ 0 h 740"/>
                <a:gd name="T24" fmla="*/ 0 w 866"/>
                <a:gd name="T25" fmla="*/ 0 h 740"/>
                <a:gd name="T26" fmla="*/ 0 w 866"/>
                <a:gd name="T27" fmla="*/ 0 h 740"/>
                <a:gd name="T28" fmla="*/ 0 w 866"/>
                <a:gd name="T29" fmla="*/ 0 h 740"/>
                <a:gd name="T30" fmla="*/ 0 w 866"/>
                <a:gd name="T31" fmla="*/ 0 h 740"/>
                <a:gd name="T32" fmla="*/ 0 w 866"/>
                <a:gd name="T33" fmla="*/ 0 h 740"/>
                <a:gd name="T34" fmla="*/ 0 w 866"/>
                <a:gd name="T35" fmla="*/ 0 h 740"/>
                <a:gd name="T36" fmla="*/ 0 w 866"/>
                <a:gd name="T37" fmla="*/ 0 h 740"/>
                <a:gd name="T38" fmla="*/ 0 w 866"/>
                <a:gd name="T39" fmla="*/ 0 h 740"/>
                <a:gd name="T40" fmla="*/ 0 w 866"/>
                <a:gd name="T41" fmla="*/ 0 h 740"/>
                <a:gd name="T42" fmla="*/ 0 w 866"/>
                <a:gd name="T43" fmla="*/ 0 h 740"/>
                <a:gd name="T44" fmla="*/ 0 w 866"/>
                <a:gd name="T45" fmla="*/ 0 h 740"/>
                <a:gd name="T46" fmla="*/ 0 w 866"/>
                <a:gd name="T47" fmla="*/ 0 h 740"/>
                <a:gd name="T48" fmla="*/ 0 w 866"/>
                <a:gd name="T49" fmla="*/ 0 h 740"/>
                <a:gd name="T50" fmla="*/ 0 w 866"/>
                <a:gd name="T51" fmla="*/ 0 h 740"/>
                <a:gd name="T52" fmla="*/ 0 w 866"/>
                <a:gd name="T53" fmla="*/ 0 h 740"/>
                <a:gd name="T54" fmla="*/ 0 w 866"/>
                <a:gd name="T55" fmla="*/ 0 h 740"/>
                <a:gd name="T56" fmla="*/ 0 w 866"/>
                <a:gd name="T57" fmla="*/ 0 h 740"/>
                <a:gd name="T58" fmla="*/ 0 w 866"/>
                <a:gd name="T59" fmla="*/ 0 h 740"/>
                <a:gd name="T60" fmla="*/ 0 w 866"/>
                <a:gd name="T61" fmla="*/ 0 h 740"/>
                <a:gd name="T62" fmla="*/ 0 w 866"/>
                <a:gd name="T63" fmla="*/ 0 h 740"/>
                <a:gd name="T64" fmla="*/ 0 w 866"/>
                <a:gd name="T65" fmla="*/ 0 h 740"/>
                <a:gd name="T66" fmla="*/ 0 w 866"/>
                <a:gd name="T67" fmla="*/ 0 h 740"/>
                <a:gd name="T68" fmla="*/ 0 w 866"/>
                <a:gd name="T69" fmla="*/ 0 h 740"/>
                <a:gd name="T70" fmla="*/ 0 w 866"/>
                <a:gd name="T71" fmla="*/ 0 h 740"/>
                <a:gd name="T72" fmla="*/ 0 w 866"/>
                <a:gd name="T73" fmla="*/ 0 h 740"/>
                <a:gd name="T74" fmla="*/ 0 w 866"/>
                <a:gd name="T75" fmla="*/ 0 h 740"/>
                <a:gd name="T76" fmla="*/ 0 w 866"/>
                <a:gd name="T77" fmla="*/ 0 h 740"/>
                <a:gd name="T78" fmla="*/ 0 w 866"/>
                <a:gd name="T79" fmla="*/ 0 h 740"/>
                <a:gd name="T80" fmla="*/ 0 w 866"/>
                <a:gd name="T81" fmla="*/ 0 h 740"/>
                <a:gd name="T82" fmla="*/ 0 w 866"/>
                <a:gd name="T83" fmla="*/ 0 h 740"/>
                <a:gd name="T84" fmla="*/ 0 w 866"/>
                <a:gd name="T85" fmla="*/ 0 h 740"/>
                <a:gd name="T86" fmla="*/ 0 w 866"/>
                <a:gd name="T87" fmla="*/ 0 h 740"/>
                <a:gd name="T88" fmla="*/ 0 w 866"/>
                <a:gd name="T89" fmla="*/ 0 h 740"/>
                <a:gd name="T90" fmla="*/ 0 w 866"/>
                <a:gd name="T91" fmla="*/ 0 h 740"/>
                <a:gd name="T92" fmla="*/ 0 w 866"/>
                <a:gd name="T93" fmla="*/ 0 h 740"/>
                <a:gd name="T94" fmla="*/ 0 w 866"/>
                <a:gd name="T95" fmla="*/ 0 h 740"/>
                <a:gd name="T96" fmla="*/ 0 w 866"/>
                <a:gd name="T97" fmla="*/ 0 h 740"/>
                <a:gd name="T98" fmla="*/ 0 w 866"/>
                <a:gd name="T99" fmla="*/ 0 h 740"/>
                <a:gd name="T100" fmla="*/ 0 w 866"/>
                <a:gd name="T101" fmla="*/ 0 h 740"/>
                <a:gd name="T102" fmla="*/ 0 w 866"/>
                <a:gd name="T103" fmla="*/ 0 h 740"/>
                <a:gd name="T104" fmla="*/ 0 w 866"/>
                <a:gd name="T105" fmla="*/ 0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66"/>
                <a:gd name="T160" fmla="*/ 0 h 740"/>
                <a:gd name="T161" fmla="*/ 866 w 866"/>
                <a:gd name="T162" fmla="*/ 740 h 7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29" name="Freeform 1112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2520" y="1596"/>
              <a:ext cx="205" cy="164"/>
            </a:xfrm>
            <a:custGeom>
              <a:avLst/>
              <a:gdLst>
                <a:gd name="T0" fmla="*/ 0 w 697"/>
                <a:gd name="T1" fmla="*/ 0 h 500"/>
                <a:gd name="T2" fmla="*/ 0 w 697"/>
                <a:gd name="T3" fmla="*/ 0 h 500"/>
                <a:gd name="T4" fmla="*/ 0 w 697"/>
                <a:gd name="T5" fmla="*/ 0 h 500"/>
                <a:gd name="T6" fmla="*/ 0 w 697"/>
                <a:gd name="T7" fmla="*/ 0 h 500"/>
                <a:gd name="T8" fmla="*/ 0 w 697"/>
                <a:gd name="T9" fmla="*/ 0 h 500"/>
                <a:gd name="T10" fmla="*/ 0 w 697"/>
                <a:gd name="T11" fmla="*/ 0 h 500"/>
                <a:gd name="T12" fmla="*/ 0 w 697"/>
                <a:gd name="T13" fmla="*/ 0 h 500"/>
                <a:gd name="T14" fmla="*/ 0 w 697"/>
                <a:gd name="T15" fmla="*/ 0 h 500"/>
                <a:gd name="T16" fmla="*/ 0 w 697"/>
                <a:gd name="T17" fmla="*/ 0 h 500"/>
                <a:gd name="T18" fmla="*/ 0 w 697"/>
                <a:gd name="T19" fmla="*/ 0 h 500"/>
                <a:gd name="T20" fmla="*/ 0 w 697"/>
                <a:gd name="T21" fmla="*/ 0 h 500"/>
                <a:gd name="T22" fmla="*/ 0 w 697"/>
                <a:gd name="T23" fmla="*/ 0 h 500"/>
                <a:gd name="T24" fmla="*/ 0 w 697"/>
                <a:gd name="T25" fmla="*/ 0 h 500"/>
                <a:gd name="T26" fmla="*/ 0 w 697"/>
                <a:gd name="T27" fmla="*/ 0 h 500"/>
                <a:gd name="T28" fmla="*/ 0 w 697"/>
                <a:gd name="T29" fmla="*/ 0 h 500"/>
                <a:gd name="T30" fmla="*/ 0 w 697"/>
                <a:gd name="T31" fmla="*/ 0 h 500"/>
                <a:gd name="T32" fmla="*/ 0 w 697"/>
                <a:gd name="T33" fmla="*/ 0 h 500"/>
                <a:gd name="T34" fmla="*/ 0 w 697"/>
                <a:gd name="T35" fmla="*/ 0 h 500"/>
                <a:gd name="T36" fmla="*/ 0 w 697"/>
                <a:gd name="T37" fmla="*/ 0 h 500"/>
                <a:gd name="T38" fmla="*/ 0 w 697"/>
                <a:gd name="T39" fmla="*/ 0 h 500"/>
                <a:gd name="T40" fmla="*/ 0 w 697"/>
                <a:gd name="T41" fmla="*/ 0 h 500"/>
                <a:gd name="T42" fmla="*/ 0 w 697"/>
                <a:gd name="T43" fmla="*/ 0 h 500"/>
                <a:gd name="T44" fmla="*/ 0 w 697"/>
                <a:gd name="T45" fmla="*/ 0 h 500"/>
                <a:gd name="T46" fmla="*/ 0 w 697"/>
                <a:gd name="T47" fmla="*/ 0 h 500"/>
                <a:gd name="T48" fmla="*/ 0 w 697"/>
                <a:gd name="T49" fmla="*/ 0 h 500"/>
                <a:gd name="T50" fmla="*/ 0 w 697"/>
                <a:gd name="T51" fmla="*/ 0 h 500"/>
                <a:gd name="T52" fmla="*/ 0 w 697"/>
                <a:gd name="T53" fmla="*/ 0 h 500"/>
                <a:gd name="T54" fmla="*/ 0 w 697"/>
                <a:gd name="T55" fmla="*/ 0 h 500"/>
                <a:gd name="T56" fmla="*/ 0 w 697"/>
                <a:gd name="T57" fmla="*/ 0 h 500"/>
                <a:gd name="T58" fmla="*/ 0 w 697"/>
                <a:gd name="T59" fmla="*/ 0 h 500"/>
                <a:gd name="T60" fmla="*/ 0 w 697"/>
                <a:gd name="T61" fmla="*/ 0 h 500"/>
                <a:gd name="T62" fmla="*/ 0 w 697"/>
                <a:gd name="T63" fmla="*/ 0 h 500"/>
                <a:gd name="T64" fmla="*/ 0 w 697"/>
                <a:gd name="T65" fmla="*/ 0 h 500"/>
                <a:gd name="T66" fmla="*/ 0 w 697"/>
                <a:gd name="T67" fmla="*/ 0 h 500"/>
                <a:gd name="T68" fmla="*/ 0 w 697"/>
                <a:gd name="T69" fmla="*/ 0 h 500"/>
                <a:gd name="T70" fmla="*/ 0 w 697"/>
                <a:gd name="T71" fmla="*/ 0 h 500"/>
                <a:gd name="T72" fmla="*/ 0 w 697"/>
                <a:gd name="T73" fmla="*/ 0 h 500"/>
                <a:gd name="T74" fmla="*/ 0 w 697"/>
                <a:gd name="T75" fmla="*/ 0 h 500"/>
                <a:gd name="T76" fmla="*/ 0 w 697"/>
                <a:gd name="T77" fmla="*/ 0 h 500"/>
                <a:gd name="T78" fmla="*/ 0 w 697"/>
                <a:gd name="T79" fmla="*/ 0 h 500"/>
                <a:gd name="T80" fmla="*/ 0 w 697"/>
                <a:gd name="T81" fmla="*/ 0 h 500"/>
                <a:gd name="T82" fmla="*/ 0 w 697"/>
                <a:gd name="T83" fmla="*/ 0 h 500"/>
                <a:gd name="T84" fmla="*/ 0 w 697"/>
                <a:gd name="T85" fmla="*/ 0 h 500"/>
                <a:gd name="T86" fmla="*/ 0 w 697"/>
                <a:gd name="T87" fmla="*/ 0 h 500"/>
                <a:gd name="T88" fmla="*/ 0 w 697"/>
                <a:gd name="T89" fmla="*/ 0 h 500"/>
                <a:gd name="T90" fmla="*/ 0 w 697"/>
                <a:gd name="T91" fmla="*/ 0 h 500"/>
                <a:gd name="T92" fmla="*/ 0 w 697"/>
                <a:gd name="T93" fmla="*/ 0 h 500"/>
                <a:gd name="T94" fmla="*/ 0 w 697"/>
                <a:gd name="T95" fmla="*/ 0 h 500"/>
                <a:gd name="T96" fmla="*/ 0 w 697"/>
                <a:gd name="T97" fmla="*/ 0 h 500"/>
                <a:gd name="T98" fmla="*/ 0 w 697"/>
                <a:gd name="T99" fmla="*/ 0 h 500"/>
                <a:gd name="T100" fmla="*/ 0 w 697"/>
                <a:gd name="T101" fmla="*/ 0 h 500"/>
                <a:gd name="T102" fmla="*/ 0 w 697"/>
                <a:gd name="T103" fmla="*/ 0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97"/>
                <a:gd name="T157" fmla="*/ 0 h 500"/>
                <a:gd name="T158" fmla="*/ 697 w 697"/>
                <a:gd name="T159" fmla="*/ 500 h 5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30" name="Freeform 1113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2998" y="922"/>
              <a:ext cx="161" cy="58"/>
            </a:xfrm>
            <a:custGeom>
              <a:avLst/>
              <a:gdLst>
                <a:gd name="T0" fmla="*/ 0 w 546"/>
                <a:gd name="T1" fmla="*/ 0 h 173"/>
                <a:gd name="T2" fmla="*/ 0 w 546"/>
                <a:gd name="T3" fmla="*/ 0 h 173"/>
                <a:gd name="T4" fmla="*/ 0 w 546"/>
                <a:gd name="T5" fmla="*/ 0 h 173"/>
                <a:gd name="T6" fmla="*/ 0 w 546"/>
                <a:gd name="T7" fmla="*/ 0 h 173"/>
                <a:gd name="T8" fmla="*/ 0 w 546"/>
                <a:gd name="T9" fmla="*/ 0 h 173"/>
                <a:gd name="T10" fmla="*/ 0 w 546"/>
                <a:gd name="T11" fmla="*/ 0 h 173"/>
                <a:gd name="T12" fmla="*/ 0 w 546"/>
                <a:gd name="T13" fmla="*/ 0 h 173"/>
                <a:gd name="T14" fmla="*/ 0 w 546"/>
                <a:gd name="T15" fmla="*/ 0 h 173"/>
                <a:gd name="T16" fmla="*/ 0 w 546"/>
                <a:gd name="T17" fmla="*/ 0 h 173"/>
                <a:gd name="T18" fmla="*/ 0 w 546"/>
                <a:gd name="T19" fmla="*/ 0 h 173"/>
                <a:gd name="T20" fmla="*/ 0 w 546"/>
                <a:gd name="T21" fmla="*/ 0 h 173"/>
                <a:gd name="T22" fmla="*/ 0 w 546"/>
                <a:gd name="T23" fmla="*/ 0 h 173"/>
                <a:gd name="T24" fmla="*/ 0 w 546"/>
                <a:gd name="T25" fmla="*/ 0 h 173"/>
                <a:gd name="T26" fmla="*/ 0 w 546"/>
                <a:gd name="T27" fmla="*/ 0 h 173"/>
                <a:gd name="T28" fmla="*/ 0 w 546"/>
                <a:gd name="T29" fmla="*/ 0 h 173"/>
                <a:gd name="T30" fmla="*/ 0 w 546"/>
                <a:gd name="T31" fmla="*/ 0 h 173"/>
                <a:gd name="T32" fmla="*/ 0 w 546"/>
                <a:gd name="T33" fmla="*/ 0 h 173"/>
                <a:gd name="T34" fmla="*/ 0 w 546"/>
                <a:gd name="T35" fmla="*/ 0 h 173"/>
                <a:gd name="T36" fmla="*/ 0 w 546"/>
                <a:gd name="T37" fmla="*/ 0 h 173"/>
                <a:gd name="T38" fmla="*/ 0 w 546"/>
                <a:gd name="T39" fmla="*/ 0 h 173"/>
                <a:gd name="T40" fmla="*/ 0 w 546"/>
                <a:gd name="T41" fmla="*/ 0 h 173"/>
                <a:gd name="T42" fmla="*/ 0 w 546"/>
                <a:gd name="T43" fmla="*/ 0 h 173"/>
                <a:gd name="T44" fmla="*/ 0 w 546"/>
                <a:gd name="T45" fmla="*/ 0 h 173"/>
                <a:gd name="T46" fmla="*/ 0 w 546"/>
                <a:gd name="T47" fmla="*/ 0 h 173"/>
                <a:gd name="T48" fmla="*/ 0 w 546"/>
                <a:gd name="T49" fmla="*/ 0 h 173"/>
                <a:gd name="T50" fmla="*/ 0 w 546"/>
                <a:gd name="T51" fmla="*/ 0 h 173"/>
                <a:gd name="T52" fmla="*/ 0 w 546"/>
                <a:gd name="T53" fmla="*/ 0 h 173"/>
                <a:gd name="T54" fmla="*/ 0 w 546"/>
                <a:gd name="T55" fmla="*/ 0 h 173"/>
                <a:gd name="T56" fmla="*/ 0 w 546"/>
                <a:gd name="T57" fmla="*/ 0 h 173"/>
                <a:gd name="T58" fmla="*/ 0 w 546"/>
                <a:gd name="T59" fmla="*/ 0 h 173"/>
                <a:gd name="T60" fmla="*/ 0 w 546"/>
                <a:gd name="T61" fmla="*/ 0 h 173"/>
                <a:gd name="T62" fmla="*/ 0 w 546"/>
                <a:gd name="T63" fmla="*/ 0 h 173"/>
                <a:gd name="T64" fmla="*/ 0 w 546"/>
                <a:gd name="T65" fmla="*/ 0 h 173"/>
                <a:gd name="T66" fmla="*/ 0 w 546"/>
                <a:gd name="T67" fmla="*/ 0 h 173"/>
                <a:gd name="T68" fmla="*/ 0 w 546"/>
                <a:gd name="T69" fmla="*/ 0 h 173"/>
                <a:gd name="T70" fmla="*/ 0 w 546"/>
                <a:gd name="T71" fmla="*/ 0 h 173"/>
                <a:gd name="T72" fmla="*/ 0 w 546"/>
                <a:gd name="T73" fmla="*/ 0 h 173"/>
                <a:gd name="T74" fmla="*/ 0 w 546"/>
                <a:gd name="T75" fmla="*/ 0 h 173"/>
                <a:gd name="T76" fmla="*/ 0 w 546"/>
                <a:gd name="T77" fmla="*/ 0 h 173"/>
                <a:gd name="T78" fmla="*/ 0 w 546"/>
                <a:gd name="T79" fmla="*/ 0 h 173"/>
                <a:gd name="T80" fmla="*/ 0 w 546"/>
                <a:gd name="T81" fmla="*/ 0 h 173"/>
                <a:gd name="T82" fmla="*/ 0 w 546"/>
                <a:gd name="T83" fmla="*/ 0 h 173"/>
                <a:gd name="T84" fmla="*/ 0 w 546"/>
                <a:gd name="T85" fmla="*/ 0 h 173"/>
                <a:gd name="T86" fmla="*/ 0 w 546"/>
                <a:gd name="T87" fmla="*/ 0 h 173"/>
                <a:gd name="T88" fmla="*/ 0 w 546"/>
                <a:gd name="T89" fmla="*/ 0 h 173"/>
                <a:gd name="T90" fmla="*/ 0 w 546"/>
                <a:gd name="T91" fmla="*/ 0 h 173"/>
                <a:gd name="T92" fmla="*/ 0 w 546"/>
                <a:gd name="T93" fmla="*/ 0 h 173"/>
                <a:gd name="T94" fmla="*/ 0 w 546"/>
                <a:gd name="T95" fmla="*/ 0 h 173"/>
                <a:gd name="T96" fmla="*/ 0 w 546"/>
                <a:gd name="T97" fmla="*/ 0 h 173"/>
                <a:gd name="T98" fmla="*/ 0 w 546"/>
                <a:gd name="T99" fmla="*/ 0 h 173"/>
                <a:gd name="T100" fmla="*/ 0 w 546"/>
                <a:gd name="T101" fmla="*/ 0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46"/>
                <a:gd name="T154" fmla="*/ 0 h 173"/>
                <a:gd name="T155" fmla="*/ 546 w 546"/>
                <a:gd name="T156" fmla="*/ 173 h 1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31" name="Freeform 1114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3346" y="912"/>
              <a:ext cx="74" cy="38"/>
            </a:xfrm>
            <a:custGeom>
              <a:avLst/>
              <a:gdLst>
                <a:gd name="T0" fmla="*/ 0 w 246"/>
                <a:gd name="T1" fmla="*/ 5 h 42"/>
                <a:gd name="T2" fmla="*/ 0 w 246"/>
                <a:gd name="T3" fmla="*/ 5 h 42"/>
                <a:gd name="T4" fmla="*/ 0 w 246"/>
                <a:gd name="T5" fmla="*/ 5 h 42"/>
                <a:gd name="T6" fmla="*/ 0 w 246"/>
                <a:gd name="T7" fmla="*/ 5 h 42"/>
                <a:gd name="T8" fmla="*/ 0 w 246"/>
                <a:gd name="T9" fmla="*/ 5 h 42"/>
                <a:gd name="T10" fmla="*/ 0 w 246"/>
                <a:gd name="T11" fmla="*/ 5 h 42"/>
                <a:gd name="T12" fmla="*/ 0 w 246"/>
                <a:gd name="T13" fmla="*/ 5 h 42"/>
                <a:gd name="T14" fmla="*/ 0 w 246"/>
                <a:gd name="T15" fmla="*/ 5 h 42"/>
                <a:gd name="T16" fmla="*/ 0 w 246"/>
                <a:gd name="T17" fmla="*/ 5 h 42"/>
                <a:gd name="T18" fmla="*/ 0 w 246"/>
                <a:gd name="T19" fmla="*/ 5 h 42"/>
                <a:gd name="T20" fmla="*/ 0 w 246"/>
                <a:gd name="T21" fmla="*/ 5 h 42"/>
                <a:gd name="T22" fmla="*/ 0 w 246"/>
                <a:gd name="T23" fmla="*/ 5 h 42"/>
                <a:gd name="T24" fmla="*/ 0 w 246"/>
                <a:gd name="T25" fmla="*/ 5 h 42"/>
                <a:gd name="T26" fmla="*/ 0 w 246"/>
                <a:gd name="T27" fmla="*/ 5 h 42"/>
                <a:gd name="T28" fmla="*/ 0 w 246"/>
                <a:gd name="T29" fmla="*/ 5 h 42"/>
                <a:gd name="T30" fmla="*/ 0 w 246"/>
                <a:gd name="T31" fmla="*/ 5 h 42"/>
                <a:gd name="T32" fmla="*/ 0 w 246"/>
                <a:gd name="T33" fmla="*/ 5 h 42"/>
                <a:gd name="T34" fmla="*/ 0 w 246"/>
                <a:gd name="T35" fmla="*/ 5 h 42"/>
                <a:gd name="T36" fmla="*/ 0 w 246"/>
                <a:gd name="T37" fmla="*/ 5 h 42"/>
                <a:gd name="T38" fmla="*/ 0 w 246"/>
                <a:gd name="T39" fmla="*/ 5 h 42"/>
                <a:gd name="T40" fmla="*/ 0 w 246"/>
                <a:gd name="T41" fmla="*/ 5 h 42"/>
                <a:gd name="T42" fmla="*/ 0 w 246"/>
                <a:gd name="T43" fmla="*/ 5 h 42"/>
                <a:gd name="T44" fmla="*/ 0 w 246"/>
                <a:gd name="T45" fmla="*/ 5 h 42"/>
                <a:gd name="T46" fmla="*/ 0 w 246"/>
                <a:gd name="T47" fmla="*/ 5 h 42"/>
                <a:gd name="T48" fmla="*/ 0 w 246"/>
                <a:gd name="T49" fmla="*/ 5 h 42"/>
                <a:gd name="T50" fmla="*/ 0 w 246"/>
                <a:gd name="T51" fmla="*/ 5 h 42"/>
                <a:gd name="T52" fmla="*/ 0 w 246"/>
                <a:gd name="T53" fmla="*/ 5 h 42"/>
                <a:gd name="T54" fmla="*/ 0 w 246"/>
                <a:gd name="T55" fmla="*/ 5 h 42"/>
                <a:gd name="T56" fmla="*/ 0 w 246"/>
                <a:gd name="T57" fmla="*/ 5 h 42"/>
                <a:gd name="T58" fmla="*/ 0 w 246"/>
                <a:gd name="T59" fmla="*/ 5 h 42"/>
                <a:gd name="T60" fmla="*/ 0 w 246"/>
                <a:gd name="T61" fmla="*/ 5 h 42"/>
                <a:gd name="T62" fmla="*/ 0 w 246"/>
                <a:gd name="T63" fmla="*/ 5 h 42"/>
                <a:gd name="T64" fmla="*/ 0 w 246"/>
                <a:gd name="T65" fmla="*/ 0 h 42"/>
                <a:gd name="T66" fmla="*/ 0 w 246"/>
                <a:gd name="T67" fmla="*/ 2 h 42"/>
                <a:gd name="T68" fmla="*/ 0 w 246"/>
                <a:gd name="T69" fmla="*/ 4 h 42"/>
                <a:gd name="T70" fmla="*/ 0 w 246"/>
                <a:gd name="T71" fmla="*/ 5 h 42"/>
                <a:gd name="T72" fmla="*/ 0 w 246"/>
                <a:gd name="T73" fmla="*/ 5 h 42"/>
                <a:gd name="T74" fmla="*/ 0 w 246"/>
                <a:gd name="T75" fmla="*/ 5 h 42"/>
                <a:gd name="T76" fmla="*/ 0 w 246"/>
                <a:gd name="T77" fmla="*/ 5 h 42"/>
                <a:gd name="T78" fmla="*/ 0 w 246"/>
                <a:gd name="T79" fmla="*/ 5 h 42"/>
                <a:gd name="T80" fmla="*/ 0 w 246"/>
                <a:gd name="T81" fmla="*/ 5 h 42"/>
                <a:gd name="T82" fmla="*/ 0 w 246"/>
                <a:gd name="T83" fmla="*/ 5 h 42"/>
                <a:gd name="T84" fmla="*/ 0 w 246"/>
                <a:gd name="T85" fmla="*/ 5 h 42"/>
                <a:gd name="T86" fmla="*/ 0 w 246"/>
                <a:gd name="T87" fmla="*/ 5 h 42"/>
                <a:gd name="T88" fmla="*/ 0 w 246"/>
                <a:gd name="T89" fmla="*/ 5 h 42"/>
                <a:gd name="T90" fmla="*/ 0 w 246"/>
                <a:gd name="T91" fmla="*/ 5 h 42"/>
                <a:gd name="T92" fmla="*/ 0 w 246"/>
                <a:gd name="T93" fmla="*/ 5 h 42"/>
                <a:gd name="T94" fmla="*/ 0 w 246"/>
                <a:gd name="T95" fmla="*/ 5 h 42"/>
                <a:gd name="T96" fmla="*/ 0 w 246"/>
                <a:gd name="T97" fmla="*/ 5 h 42"/>
                <a:gd name="T98" fmla="*/ 0 w 246"/>
                <a:gd name="T99" fmla="*/ 5 h 42"/>
                <a:gd name="T100" fmla="*/ 0 w 246"/>
                <a:gd name="T101" fmla="*/ 5 h 42"/>
                <a:gd name="T102" fmla="*/ 0 w 246"/>
                <a:gd name="T103" fmla="*/ 5 h 42"/>
                <a:gd name="T104" fmla="*/ 0 w 246"/>
                <a:gd name="T105" fmla="*/ 5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42"/>
                <a:gd name="T161" fmla="*/ 246 w 246"/>
                <a:gd name="T162" fmla="*/ 42 h 4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32" name="Freeform 1115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3444" y="901"/>
              <a:ext cx="43" cy="36"/>
            </a:xfrm>
            <a:custGeom>
              <a:avLst/>
              <a:gdLst>
                <a:gd name="T0" fmla="*/ 0 w 149"/>
                <a:gd name="T1" fmla="*/ 0 h 61"/>
                <a:gd name="T2" fmla="*/ 0 w 149"/>
                <a:gd name="T3" fmla="*/ 1 h 61"/>
                <a:gd name="T4" fmla="*/ 0 w 149"/>
                <a:gd name="T5" fmla="*/ 1 h 61"/>
                <a:gd name="T6" fmla="*/ 0 w 149"/>
                <a:gd name="T7" fmla="*/ 1 h 61"/>
                <a:gd name="T8" fmla="*/ 0 w 149"/>
                <a:gd name="T9" fmla="*/ 1 h 61"/>
                <a:gd name="T10" fmla="*/ 0 w 149"/>
                <a:gd name="T11" fmla="*/ 1 h 61"/>
                <a:gd name="T12" fmla="*/ 0 w 149"/>
                <a:gd name="T13" fmla="*/ 1 h 61"/>
                <a:gd name="T14" fmla="*/ 0 w 149"/>
                <a:gd name="T15" fmla="*/ 1 h 61"/>
                <a:gd name="T16" fmla="*/ 0 w 149"/>
                <a:gd name="T17" fmla="*/ 1 h 61"/>
                <a:gd name="T18" fmla="*/ 0 w 149"/>
                <a:gd name="T19" fmla="*/ 1 h 61"/>
                <a:gd name="T20" fmla="*/ 0 w 149"/>
                <a:gd name="T21" fmla="*/ 1 h 61"/>
                <a:gd name="T22" fmla="*/ 0 w 149"/>
                <a:gd name="T23" fmla="*/ 1 h 61"/>
                <a:gd name="T24" fmla="*/ 0 w 149"/>
                <a:gd name="T25" fmla="*/ 1 h 61"/>
                <a:gd name="T26" fmla="*/ 0 w 149"/>
                <a:gd name="T27" fmla="*/ 1 h 61"/>
                <a:gd name="T28" fmla="*/ 0 w 149"/>
                <a:gd name="T29" fmla="*/ 1 h 61"/>
                <a:gd name="T30" fmla="*/ 0 w 149"/>
                <a:gd name="T31" fmla="*/ 1 h 61"/>
                <a:gd name="T32" fmla="*/ 0 w 149"/>
                <a:gd name="T33" fmla="*/ 1 h 61"/>
                <a:gd name="T34" fmla="*/ 0 w 149"/>
                <a:gd name="T35" fmla="*/ 1 h 61"/>
                <a:gd name="T36" fmla="*/ 0 w 149"/>
                <a:gd name="T37" fmla="*/ 1 h 61"/>
                <a:gd name="T38" fmla="*/ 0 w 149"/>
                <a:gd name="T39" fmla="*/ 1 h 61"/>
                <a:gd name="T40" fmla="*/ 0 w 149"/>
                <a:gd name="T41" fmla="*/ 1 h 61"/>
                <a:gd name="T42" fmla="*/ 0 w 149"/>
                <a:gd name="T43" fmla="*/ 1 h 61"/>
                <a:gd name="T44" fmla="*/ 0 w 149"/>
                <a:gd name="T45" fmla="*/ 1 h 61"/>
                <a:gd name="T46" fmla="*/ 0 w 149"/>
                <a:gd name="T47" fmla="*/ 1 h 61"/>
                <a:gd name="T48" fmla="*/ 0 w 149"/>
                <a:gd name="T49" fmla="*/ 1 h 61"/>
                <a:gd name="T50" fmla="*/ 0 w 149"/>
                <a:gd name="T51" fmla="*/ 1 h 61"/>
                <a:gd name="T52" fmla="*/ 0 w 149"/>
                <a:gd name="T53" fmla="*/ 1 h 61"/>
                <a:gd name="T54" fmla="*/ 0 w 149"/>
                <a:gd name="T55" fmla="*/ 1 h 61"/>
                <a:gd name="T56" fmla="*/ 0 w 149"/>
                <a:gd name="T57" fmla="*/ 1 h 61"/>
                <a:gd name="T58" fmla="*/ 0 w 149"/>
                <a:gd name="T59" fmla="*/ 1 h 61"/>
                <a:gd name="T60" fmla="*/ 0 w 149"/>
                <a:gd name="T61" fmla="*/ 1 h 61"/>
                <a:gd name="T62" fmla="*/ 0 w 149"/>
                <a:gd name="T63" fmla="*/ 1 h 61"/>
                <a:gd name="T64" fmla="*/ 0 w 149"/>
                <a:gd name="T65" fmla="*/ 1 h 61"/>
                <a:gd name="T66" fmla="*/ 0 w 149"/>
                <a:gd name="T67" fmla="*/ 1 h 61"/>
                <a:gd name="T68" fmla="*/ 0 w 149"/>
                <a:gd name="T69" fmla="*/ 1 h 61"/>
                <a:gd name="T70" fmla="*/ 0 w 149"/>
                <a:gd name="T71" fmla="*/ 1 h 61"/>
                <a:gd name="T72" fmla="*/ 0 w 149"/>
                <a:gd name="T73" fmla="*/ 1 h 61"/>
                <a:gd name="T74" fmla="*/ 0 w 149"/>
                <a:gd name="T75" fmla="*/ 1 h 61"/>
                <a:gd name="T76" fmla="*/ 0 w 149"/>
                <a:gd name="T77" fmla="*/ 1 h 61"/>
                <a:gd name="T78" fmla="*/ 0 w 149"/>
                <a:gd name="T79" fmla="*/ 1 h 61"/>
                <a:gd name="T80" fmla="*/ 0 w 149"/>
                <a:gd name="T81" fmla="*/ 1 h 61"/>
                <a:gd name="T82" fmla="*/ 0 w 149"/>
                <a:gd name="T83" fmla="*/ 1 h 61"/>
                <a:gd name="T84" fmla="*/ 0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9"/>
                <a:gd name="T130" fmla="*/ 0 h 61"/>
                <a:gd name="T131" fmla="*/ 149 w 149"/>
                <a:gd name="T132" fmla="*/ 61 h 6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  <p:sp>
          <p:nvSpPr>
            <p:cNvPr id="18833" name="Freeform 1116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3469" y="906"/>
              <a:ext cx="89" cy="36"/>
            </a:xfrm>
            <a:custGeom>
              <a:avLst/>
              <a:gdLst>
                <a:gd name="T0" fmla="*/ 0 w 299"/>
                <a:gd name="T1" fmla="*/ 0 h 74"/>
                <a:gd name="T2" fmla="*/ 0 w 299"/>
                <a:gd name="T3" fmla="*/ 0 h 74"/>
                <a:gd name="T4" fmla="*/ 0 w 299"/>
                <a:gd name="T5" fmla="*/ 0 h 74"/>
                <a:gd name="T6" fmla="*/ 0 w 299"/>
                <a:gd name="T7" fmla="*/ 0 h 74"/>
                <a:gd name="T8" fmla="*/ 0 w 299"/>
                <a:gd name="T9" fmla="*/ 0 h 74"/>
                <a:gd name="T10" fmla="*/ 0 w 299"/>
                <a:gd name="T11" fmla="*/ 0 h 74"/>
                <a:gd name="T12" fmla="*/ 0 w 299"/>
                <a:gd name="T13" fmla="*/ 0 h 74"/>
                <a:gd name="T14" fmla="*/ 0 w 299"/>
                <a:gd name="T15" fmla="*/ 0 h 74"/>
                <a:gd name="T16" fmla="*/ 0 w 299"/>
                <a:gd name="T17" fmla="*/ 0 h 74"/>
                <a:gd name="T18" fmla="*/ 0 w 299"/>
                <a:gd name="T19" fmla="*/ 0 h 74"/>
                <a:gd name="T20" fmla="*/ 0 w 299"/>
                <a:gd name="T21" fmla="*/ 0 h 74"/>
                <a:gd name="T22" fmla="*/ 0 w 299"/>
                <a:gd name="T23" fmla="*/ 0 h 74"/>
                <a:gd name="T24" fmla="*/ 0 w 299"/>
                <a:gd name="T25" fmla="*/ 0 h 74"/>
                <a:gd name="T26" fmla="*/ 0 w 299"/>
                <a:gd name="T27" fmla="*/ 0 h 74"/>
                <a:gd name="T28" fmla="*/ 0 w 299"/>
                <a:gd name="T29" fmla="*/ 0 h 74"/>
                <a:gd name="T30" fmla="*/ 0 w 299"/>
                <a:gd name="T31" fmla="*/ 0 h 74"/>
                <a:gd name="T32" fmla="*/ 0 w 299"/>
                <a:gd name="T33" fmla="*/ 0 h 74"/>
                <a:gd name="T34" fmla="*/ 0 w 299"/>
                <a:gd name="T35" fmla="*/ 0 h 74"/>
                <a:gd name="T36" fmla="*/ 0 w 299"/>
                <a:gd name="T37" fmla="*/ 0 h 74"/>
                <a:gd name="T38" fmla="*/ 0 w 299"/>
                <a:gd name="T39" fmla="*/ 0 h 74"/>
                <a:gd name="T40" fmla="*/ 0 w 299"/>
                <a:gd name="T41" fmla="*/ 0 h 74"/>
                <a:gd name="T42" fmla="*/ 0 w 299"/>
                <a:gd name="T43" fmla="*/ 0 h 74"/>
                <a:gd name="T44" fmla="*/ 0 w 299"/>
                <a:gd name="T45" fmla="*/ 0 h 74"/>
                <a:gd name="T46" fmla="*/ 0 w 299"/>
                <a:gd name="T47" fmla="*/ 0 h 74"/>
                <a:gd name="T48" fmla="*/ 0 w 299"/>
                <a:gd name="T49" fmla="*/ 0 h 74"/>
                <a:gd name="T50" fmla="*/ 0 w 299"/>
                <a:gd name="T51" fmla="*/ 0 h 74"/>
                <a:gd name="T52" fmla="*/ 0 w 299"/>
                <a:gd name="T53" fmla="*/ 0 h 74"/>
                <a:gd name="T54" fmla="*/ 0 w 299"/>
                <a:gd name="T55" fmla="*/ 0 h 74"/>
                <a:gd name="T56" fmla="*/ 0 w 299"/>
                <a:gd name="T57" fmla="*/ 0 h 74"/>
                <a:gd name="T58" fmla="*/ 0 w 299"/>
                <a:gd name="T59" fmla="*/ 0 h 74"/>
                <a:gd name="T60" fmla="*/ 0 w 299"/>
                <a:gd name="T61" fmla="*/ 0 h 74"/>
                <a:gd name="T62" fmla="*/ 0 w 299"/>
                <a:gd name="T63" fmla="*/ 0 h 74"/>
                <a:gd name="T64" fmla="*/ 0 w 299"/>
                <a:gd name="T65" fmla="*/ 0 h 74"/>
                <a:gd name="T66" fmla="*/ 0 w 299"/>
                <a:gd name="T67" fmla="*/ 0 h 74"/>
                <a:gd name="T68" fmla="*/ 0 w 299"/>
                <a:gd name="T69" fmla="*/ 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9"/>
                <a:gd name="T106" fmla="*/ 0 h 74"/>
                <a:gd name="T107" fmla="*/ 299 w 299"/>
                <a:gd name="T108" fmla="*/ 74 h 7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800" b="0" dirty="0">
                <a:solidFill>
                  <a:prstClr val="white">
                    <a:lumMod val="85000"/>
                  </a:prstClr>
                </a:solidFill>
                <a:latin typeface="Arial"/>
              </a:endParaRPr>
            </a:p>
          </p:txBody>
        </p:sp>
      </p:grpSp>
      <p:sp>
        <p:nvSpPr>
          <p:cNvPr id="1843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TOXX sales contacts</a:t>
            </a:r>
          </a:p>
        </p:txBody>
      </p:sp>
      <p:sp>
        <p:nvSpPr>
          <p:cNvPr id="18437" name="Rectangle 258"/>
          <p:cNvSpPr>
            <a:spLocks noChangeArrowheads="1"/>
          </p:cNvSpPr>
          <p:nvPr/>
        </p:nvSpPr>
        <p:spPr bwMode="auto">
          <a:xfrm>
            <a:off x="5511800" y="4037014"/>
            <a:ext cx="0" cy="158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9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endParaRPr lang="en-US" sz="2400" b="0" dirty="0">
              <a:solidFill>
                <a:srgbClr val="000066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18450" name="Rectangle 489"/>
          <p:cNvSpPr>
            <a:spLocks noChangeArrowheads="1"/>
          </p:cNvSpPr>
          <p:nvPr/>
        </p:nvSpPr>
        <p:spPr bwMode="auto">
          <a:xfrm>
            <a:off x="1907382" y="4270378"/>
            <a:ext cx="0" cy="158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9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endParaRPr lang="en-US" sz="2400" b="0" dirty="0">
              <a:solidFill>
                <a:srgbClr val="000066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18452" name="Rectangle 569"/>
          <p:cNvSpPr>
            <a:spLocks noChangeArrowheads="1"/>
          </p:cNvSpPr>
          <p:nvPr/>
        </p:nvSpPr>
        <p:spPr bwMode="auto">
          <a:xfrm>
            <a:off x="368300" y="3535223"/>
            <a:ext cx="2880360" cy="10772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24000" tIns="0" rIns="0" bIns="0" anchor="t" anchorCtr="0">
            <a:spAutoFit/>
          </a:bodyPr>
          <a:lstStyle/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Rod Jones</a:t>
            </a:r>
          </a:p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Head of North America</a:t>
            </a:r>
          </a:p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+1 212 669 6426</a:t>
            </a:r>
          </a:p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+1 917 916 6027 (mobile)</a:t>
            </a:r>
          </a:p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rod.jones@stoxx.com</a:t>
            </a:r>
          </a:p>
        </p:txBody>
      </p:sp>
      <p:sp>
        <p:nvSpPr>
          <p:cNvPr id="18444" name="Rectangle 489"/>
          <p:cNvSpPr>
            <a:spLocks noChangeArrowheads="1"/>
          </p:cNvSpPr>
          <p:nvPr/>
        </p:nvSpPr>
        <p:spPr bwMode="auto">
          <a:xfrm>
            <a:off x="6973888" y="2876550"/>
            <a:ext cx="0" cy="158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9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endParaRPr lang="en-US" sz="2400" b="0" dirty="0">
              <a:solidFill>
                <a:srgbClr val="000066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18446" name="Rectangle 569"/>
          <p:cNvSpPr>
            <a:spLocks noChangeArrowheads="1"/>
          </p:cNvSpPr>
          <p:nvPr/>
        </p:nvSpPr>
        <p:spPr bwMode="auto">
          <a:xfrm>
            <a:off x="3511477" y="3535223"/>
            <a:ext cx="2879999" cy="10772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24000" tIns="0" rIns="0" bIns="0" anchor="t" anchorCtr="0">
            <a:spAutoFit/>
          </a:bodyPr>
          <a:lstStyle/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Shaun Baskett</a:t>
            </a:r>
          </a:p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Head of Northern Europe</a:t>
            </a:r>
          </a:p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+44 207 862 7680</a:t>
            </a:r>
          </a:p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+44 785 430 7525 (mobile)</a:t>
            </a:r>
          </a:p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shaun.baskett@stoxx.com</a:t>
            </a:r>
            <a:endParaRPr lang="en-US" sz="1400" b="0" dirty="0">
              <a:solidFill>
                <a:srgbClr val="000000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18447" name="Rectangle 489"/>
          <p:cNvSpPr>
            <a:spLocks noChangeArrowheads="1"/>
          </p:cNvSpPr>
          <p:nvPr/>
        </p:nvSpPr>
        <p:spPr bwMode="auto">
          <a:xfrm>
            <a:off x="7245350" y="4643442"/>
            <a:ext cx="0" cy="158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95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endParaRPr lang="en-US" sz="2400" b="0" dirty="0">
              <a:solidFill>
                <a:srgbClr val="000066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570" name="Rectangle 2"/>
          <p:cNvSpPr>
            <a:spLocks noChangeArrowheads="1"/>
          </p:cNvSpPr>
          <p:nvPr/>
        </p:nvSpPr>
        <p:spPr bwMode="auto">
          <a:xfrm>
            <a:off x="368300" y="3117710"/>
            <a:ext cx="2880000" cy="284162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0" rIns="0" bIns="0" anchor="ctr"/>
          <a:lstStyle/>
          <a:p>
            <a:pPr algn="l" fontAlgn="auto">
              <a:spcBef>
                <a:spcPct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Americas</a:t>
            </a:r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571" name="Rectangle 2"/>
          <p:cNvSpPr>
            <a:spLocks noChangeArrowheads="1"/>
          </p:cNvSpPr>
          <p:nvPr/>
        </p:nvSpPr>
        <p:spPr bwMode="auto">
          <a:xfrm>
            <a:off x="3511477" y="3117710"/>
            <a:ext cx="2879999" cy="284162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0" rIns="0" bIns="0" anchor="ctr"/>
          <a:lstStyle/>
          <a:p>
            <a:pPr algn="l" fontAlgn="auto">
              <a:spcBef>
                <a:spcPct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EMEA</a:t>
            </a:r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572" name="Rectangle 2"/>
          <p:cNvSpPr>
            <a:spLocks noChangeArrowheads="1"/>
          </p:cNvSpPr>
          <p:nvPr/>
        </p:nvSpPr>
        <p:spPr bwMode="auto">
          <a:xfrm>
            <a:off x="6643827" y="3117710"/>
            <a:ext cx="2880000" cy="284162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0" rIns="0" bIns="0" anchor="ctr"/>
          <a:lstStyle/>
          <a:p>
            <a:pPr algn="l" fontAlgn="auto">
              <a:spcBef>
                <a:spcPct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Asia/Pacific </a:t>
            </a:r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576" name="Rectangle 569"/>
          <p:cNvSpPr>
            <a:spLocks noChangeArrowheads="1"/>
          </p:cNvSpPr>
          <p:nvPr/>
        </p:nvSpPr>
        <p:spPr bwMode="auto">
          <a:xfrm>
            <a:off x="6626533" y="3535223"/>
            <a:ext cx="3000066" cy="10772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24000" tIns="0" rIns="0" bIns="0" anchor="t" anchorCtr="0">
            <a:spAutoFit/>
          </a:bodyPr>
          <a:lstStyle/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Shirley Low, </a:t>
            </a:r>
            <a:r>
              <a:rPr lang="ja-JP" altLang="en-US" sz="1400" dirty="0" smtClean="0">
                <a:solidFill>
                  <a:srgbClr val="000000"/>
                </a:solidFill>
                <a:latin typeface="Arial"/>
              </a:rPr>
              <a:t>刘</a:t>
            </a:r>
            <a:r>
              <a:rPr lang="ja-JP" altLang="en-US" sz="1400" dirty="0">
                <a:solidFill>
                  <a:srgbClr val="000000"/>
                </a:solidFill>
                <a:latin typeface="Arial"/>
              </a:rPr>
              <a:t>洧琁</a:t>
            </a:r>
            <a:r>
              <a:rPr lang="en-US" altLang="ja-JP" sz="1400" dirty="0" smtClean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1400" dirty="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CFA, CAIA </a:t>
            </a:r>
          </a:p>
          <a:p>
            <a:pPr algn="l" defTabSz="623888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 smtClean="0">
                <a:solidFill>
                  <a:prstClr val="black"/>
                </a:solidFill>
                <a:latin typeface="Arial"/>
              </a:rPr>
              <a:t>Head</a:t>
            </a:r>
            <a:r>
              <a:rPr lang="en-GB" sz="1400" b="0" dirty="0" smtClean="0">
                <a:solidFill>
                  <a:prstClr val="black"/>
                </a:solidFill>
                <a:latin typeface="Arial"/>
              </a:rPr>
              <a:t> </a:t>
            </a:r>
            <a:r>
              <a:rPr lang="en-US" sz="1400" b="0" dirty="0" smtClean="0">
                <a:solidFill>
                  <a:prstClr val="black"/>
                </a:solidFill>
                <a:latin typeface="Arial"/>
              </a:rPr>
              <a:t>of Asia/Pacific</a:t>
            </a:r>
          </a:p>
          <a:p>
            <a:pPr algn="l" defTabSz="623888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 smtClean="0">
                <a:solidFill>
                  <a:prstClr val="black"/>
                </a:solidFill>
                <a:latin typeface="Arial"/>
              </a:rPr>
              <a:t>+</a:t>
            </a:r>
            <a:r>
              <a:rPr lang="en-US" sz="1400" b="0" dirty="0">
                <a:solidFill>
                  <a:prstClr val="black"/>
                </a:solidFill>
                <a:latin typeface="Arial"/>
              </a:rPr>
              <a:t>41 58 399 4938</a:t>
            </a:r>
          </a:p>
          <a:p>
            <a:pPr algn="l" defTabSz="623888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>
                <a:solidFill>
                  <a:prstClr val="black"/>
                </a:solidFill>
                <a:latin typeface="Arial"/>
              </a:rPr>
              <a:t>+41 79 746 9519 (mobile)</a:t>
            </a:r>
            <a:endParaRPr lang="en-GB" sz="1400" b="0" dirty="0">
              <a:solidFill>
                <a:prstClr val="black"/>
              </a:solidFill>
              <a:latin typeface="Arial"/>
            </a:endParaRPr>
          </a:p>
          <a:p>
            <a:pPr algn="l" defTabSz="623888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 smtClean="0">
                <a:solidFill>
                  <a:prstClr val="black"/>
                </a:solidFill>
                <a:latin typeface="Arial"/>
              </a:rPr>
              <a:t>shirley.low@stoxx.com</a:t>
            </a:r>
            <a:endParaRPr lang="en-US" sz="1400" b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66" name="Rectangle 569"/>
          <p:cNvSpPr>
            <a:spLocks noChangeArrowheads="1"/>
          </p:cNvSpPr>
          <p:nvPr/>
        </p:nvSpPr>
        <p:spPr bwMode="auto">
          <a:xfrm>
            <a:off x="3511477" y="4900708"/>
            <a:ext cx="2879999" cy="10772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24000" tIns="0" rIns="0" bIns="0" anchor="t" anchorCtr="0">
            <a:spAutoFit/>
          </a:bodyPr>
          <a:lstStyle/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Rocco D'Urso </a:t>
            </a:r>
          </a:p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Head </a:t>
            </a:r>
            <a:r>
              <a:rPr lang="en-US" sz="1400" b="0" dirty="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of Southern Europe</a:t>
            </a:r>
            <a:endParaRPr lang="en-US" sz="1400" b="0" dirty="0">
              <a:solidFill>
                <a:srgbClr val="000000"/>
              </a:solidFill>
              <a:latin typeface="Arial"/>
              <a:ea typeface="ＭＳ Ｐゴシック" pitchFamily="34" charset="-128"/>
            </a:endParaRPr>
          </a:p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+</a:t>
            </a:r>
            <a:r>
              <a:rPr lang="en-US" sz="1400" b="0" dirty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41 58 399 3898</a:t>
            </a:r>
          </a:p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+41 79 538 6017 (mobile)</a:t>
            </a:r>
          </a:p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rocco.durso@stoxx.com</a:t>
            </a:r>
          </a:p>
        </p:txBody>
      </p:sp>
      <p:sp>
        <p:nvSpPr>
          <p:cNvPr id="562" name="Rectangle 2"/>
          <p:cNvSpPr>
            <a:spLocks noChangeArrowheads="1"/>
          </p:cNvSpPr>
          <p:nvPr/>
        </p:nvSpPr>
        <p:spPr bwMode="auto">
          <a:xfrm>
            <a:off x="3512808" y="1266458"/>
            <a:ext cx="2879999" cy="284162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0" rIns="0" bIns="0" anchor="ctr"/>
          <a:lstStyle/>
          <a:p>
            <a:pPr algn="l" fontAlgn="auto">
              <a:spcBef>
                <a:spcPct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Global</a:t>
            </a:r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563" name="Rectangle 569"/>
          <p:cNvSpPr>
            <a:spLocks noChangeArrowheads="1"/>
          </p:cNvSpPr>
          <p:nvPr/>
        </p:nvSpPr>
        <p:spPr bwMode="auto">
          <a:xfrm>
            <a:off x="3496906" y="1691922"/>
            <a:ext cx="2879999" cy="10772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24000" tIns="0" rIns="0" bIns="0" anchor="t" anchorCtr="0">
            <a:spAutoFit/>
          </a:bodyPr>
          <a:lstStyle/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de-CH" sz="1400" dirty="0">
                <a:solidFill>
                  <a:prstClr val="black"/>
                </a:solidFill>
                <a:latin typeface="Arial"/>
              </a:rPr>
              <a:t>Matteo Andreetto </a:t>
            </a:r>
            <a:endParaRPr lang="de-CH" sz="1400" dirty="0" smtClean="0">
              <a:solidFill>
                <a:prstClr val="black"/>
              </a:solidFill>
              <a:latin typeface="Arial"/>
            </a:endParaRPr>
          </a:p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de-CH" sz="1400" b="0" dirty="0" smtClean="0">
                <a:solidFill>
                  <a:prstClr val="black"/>
                </a:solidFill>
                <a:latin typeface="Arial"/>
                <a:ea typeface="ＭＳ Ｐゴシック" pitchFamily="34" charset="-128"/>
              </a:rPr>
              <a:t>Global </a:t>
            </a:r>
            <a:r>
              <a:rPr lang="en-US" sz="1400" b="0" dirty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h</a:t>
            </a:r>
            <a:r>
              <a:rPr lang="en-US" sz="1400" b="0" dirty="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ead of sales</a:t>
            </a:r>
          </a:p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+44 </a:t>
            </a:r>
            <a:r>
              <a:rPr lang="en-US" sz="1400" b="0" dirty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207 862 7676</a:t>
            </a:r>
            <a:endParaRPr lang="en-US" sz="1400" b="0" dirty="0" smtClean="0">
              <a:solidFill>
                <a:srgbClr val="000000"/>
              </a:solidFill>
              <a:latin typeface="Arial"/>
              <a:ea typeface="ＭＳ Ｐゴシック" pitchFamily="34" charset="-128"/>
            </a:endParaRPr>
          </a:p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+44 </a:t>
            </a:r>
            <a:r>
              <a:rPr lang="en-US" sz="1400" b="0" dirty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7843 065489 (mobile</a:t>
            </a:r>
            <a:r>
              <a:rPr lang="en-US" sz="1400" b="0" dirty="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)</a:t>
            </a:r>
          </a:p>
          <a:p>
            <a:pPr algn="l" eaLnBrk="0" fontAlgn="auto" hangingPunct="0">
              <a:spcBef>
                <a:spcPct val="0"/>
              </a:spcBef>
              <a:spcAft>
                <a:spcPts val="0"/>
              </a:spcAft>
            </a:pPr>
            <a:r>
              <a:rPr lang="en-US" sz="1400" b="0" dirty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m</a:t>
            </a:r>
            <a:r>
              <a:rPr lang="en-US" sz="1400" b="0" dirty="0" smtClean="0">
                <a:solidFill>
                  <a:srgbClr val="000000"/>
                </a:solidFill>
                <a:latin typeface="Arial"/>
                <a:ea typeface="ＭＳ Ｐゴシック" pitchFamily="34" charset="-128"/>
              </a:rPr>
              <a:t>atteo.andreetto@stoxx.com</a:t>
            </a:r>
            <a:endParaRPr lang="en-US" sz="1400" b="0" dirty="0">
              <a:solidFill>
                <a:srgbClr val="000000"/>
              </a:solidFill>
              <a:latin typeface="Arial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35213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Investment case	Page 3</a:t>
            </a:r>
          </a:p>
          <a:p>
            <a:r>
              <a:rPr lang="en-US" dirty="0" smtClean="0"/>
              <a:t>Methodology	Page 7</a:t>
            </a:r>
          </a:p>
          <a:p>
            <a:r>
              <a:rPr lang="en-US" dirty="0" smtClean="0"/>
              <a:t>Performance and key figures	Page 1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983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accent5"/>
                </a:solidFill>
              </a:rPr>
              <a:t>1.	</a:t>
            </a:r>
            <a:r>
              <a:rPr lang="en-US" dirty="0" smtClean="0">
                <a:solidFill>
                  <a:schemeClr val="accent5"/>
                </a:solidFill>
              </a:rPr>
              <a:t>INVESTMENT CASE</a:t>
            </a:r>
            <a:endParaRPr lang="en-US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660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2"/>
          </p:nvPr>
        </p:nvSpPr>
        <p:spPr>
          <a:xfrm>
            <a:off x="1704043" y="6310646"/>
            <a:ext cx="7410620" cy="1047084"/>
          </a:xfrm>
        </p:spPr>
        <p:txBody>
          <a:bodyPr/>
          <a:lstStyle/>
          <a:p>
            <a:pPr lvl="0"/>
            <a:r>
              <a:rPr lang="en-US" sz="900" dirty="0"/>
              <a:t>Source: Bloomberg GECU10YR Index. The Euro Generic </a:t>
            </a:r>
            <a:r>
              <a:rPr lang="en-US" sz="900" dirty="0" smtClean="0"/>
              <a:t>Government </a:t>
            </a:r>
            <a:r>
              <a:rPr lang="en-US" sz="900" dirty="0"/>
              <a:t>Bond </a:t>
            </a:r>
            <a:r>
              <a:rPr lang="en-US" sz="900" dirty="0" smtClean="0"/>
              <a:t>(10 years) </a:t>
            </a:r>
            <a:r>
              <a:rPr lang="en-GB" sz="900" dirty="0"/>
              <a:t>is based on German and French government bills and bonds and is determined by the lowest yield given for the </a:t>
            </a:r>
            <a:r>
              <a:rPr lang="en-GB" sz="900" dirty="0" smtClean="0"/>
              <a:t>10-year </a:t>
            </a:r>
            <a:r>
              <a:rPr lang="en-GB" sz="900" dirty="0"/>
              <a:t>term. Pricing source for the underlying bonds: BGN.</a:t>
            </a:r>
            <a:endParaRPr lang="en-US" sz="900" dirty="0"/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368300" y="1836738"/>
            <a:ext cx="9158288" cy="284162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0" rIns="0" bIns="0" anchor="ctr"/>
          <a:lstStyle/>
          <a:p>
            <a:pPr algn="l" fontAlgn="auto">
              <a:spcBef>
                <a:spcPct val="0"/>
              </a:spcBef>
              <a:spcAft>
                <a:spcPts val="0"/>
              </a:spcAft>
            </a:pPr>
            <a:r>
              <a:rPr lang="en-GB" dirty="0">
                <a:solidFill>
                  <a:prstClr val="white"/>
                </a:solidFill>
                <a:latin typeface="Arial"/>
              </a:rPr>
              <a:t>Euro </a:t>
            </a:r>
            <a:r>
              <a:rPr lang="en-GB" dirty="0" smtClean="0">
                <a:solidFill>
                  <a:prstClr val="white"/>
                </a:solidFill>
                <a:latin typeface="Arial"/>
              </a:rPr>
              <a:t>10-year </a:t>
            </a:r>
            <a:r>
              <a:rPr lang="en-GB" dirty="0">
                <a:solidFill>
                  <a:prstClr val="white"/>
                </a:solidFill>
                <a:latin typeface="Arial"/>
              </a:rPr>
              <a:t>g</a:t>
            </a:r>
            <a:r>
              <a:rPr lang="en-GB" dirty="0" smtClean="0">
                <a:solidFill>
                  <a:prstClr val="white"/>
                </a:solidFill>
                <a:latin typeface="Arial"/>
              </a:rPr>
              <a:t>overnment </a:t>
            </a:r>
            <a:r>
              <a:rPr lang="en-GB" dirty="0">
                <a:solidFill>
                  <a:prstClr val="white"/>
                </a:solidFill>
                <a:latin typeface="Arial"/>
              </a:rPr>
              <a:t>b</a:t>
            </a:r>
            <a:r>
              <a:rPr lang="en-GB" dirty="0" smtClean="0">
                <a:solidFill>
                  <a:prstClr val="white"/>
                </a:solidFill>
                <a:latin typeface="Arial"/>
              </a:rPr>
              <a:t>onds</a:t>
            </a:r>
            <a:r>
              <a:rPr lang="en-US" b="0" baseline="30000" dirty="0">
                <a:solidFill>
                  <a:prstClr val="white"/>
                </a:solidFill>
                <a:latin typeface="Arial"/>
              </a:rPr>
              <a:t>1)</a:t>
            </a:r>
            <a:endParaRPr lang="en-US" b="0" dirty="0">
              <a:solidFill>
                <a:prstClr val="white"/>
              </a:solidFill>
              <a:latin typeface="Arial"/>
            </a:endParaRPr>
          </a:p>
        </p:txBody>
      </p:sp>
      <p:graphicFrame>
        <p:nvGraphicFramePr>
          <p:cNvPr id="27" name="Objec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0448876"/>
              </p:ext>
            </p:extLst>
          </p:nvPr>
        </p:nvGraphicFramePr>
        <p:xfrm>
          <a:off x="590455" y="2180989"/>
          <a:ext cx="8823420" cy="38376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>
          <a:xfrm>
            <a:off x="368300" y="392316"/>
            <a:ext cx="9158288" cy="771322"/>
          </a:xfrm>
        </p:spPr>
        <p:txBody>
          <a:bodyPr/>
          <a:lstStyle/>
          <a:p>
            <a:r>
              <a:rPr lang="en-US" dirty="0" smtClean="0"/>
              <a:t>A low-yield environment globally is creating the need for </a:t>
            </a:r>
            <a:r>
              <a:rPr lang="en-US" dirty="0"/>
              <a:t>attractive </a:t>
            </a:r>
            <a:r>
              <a:rPr lang="en-US" dirty="0" smtClean="0"/>
              <a:t>alternatives beyond </a:t>
            </a:r>
            <a:r>
              <a:rPr lang="en-US" dirty="0"/>
              <a:t>fixed </a:t>
            </a:r>
            <a:r>
              <a:rPr lang="en-US" dirty="0" smtClean="0"/>
              <a:t>incom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292388"/>
          </a:xfrm>
        </p:spPr>
        <p:txBody>
          <a:bodyPr/>
          <a:lstStyle/>
          <a:p>
            <a:r>
              <a:rPr lang="de-CH" dirty="0" smtClean="0"/>
              <a:t>Hunger for yie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820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om “Dogs of the Dow” theory to superior utilization of dividend yield </a:t>
            </a: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370543" y="1837381"/>
            <a:ext cx="2020232" cy="539496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36000" rIns="0" bIns="0"/>
          <a:lstStyle/>
          <a:p>
            <a:pPr algn="l" fontAlgn="auto">
              <a:spcBef>
                <a:spcPct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white"/>
                </a:solidFill>
                <a:latin typeface="Arial"/>
              </a:rPr>
              <a:t>“Dogs of the Dow” theory</a:t>
            </a:r>
            <a:endParaRPr lang="en-US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2630350" y="1837381"/>
            <a:ext cx="2743200" cy="539496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36000" rIns="0" bIns="0"/>
          <a:lstStyle/>
          <a:p>
            <a:pPr algn="l" fontAlgn="auto">
              <a:spcBef>
                <a:spcPct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white"/>
                </a:solidFill>
                <a:latin typeface="Arial"/>
              </a:rPr>
              <a:t>1</a:t>
            </a:r>
            <a:r>
              <a:rPr lang="en-US" baseline="30000" dirty="0" smtClean="0">
                <a:solidFill>
                  <a:prstClr val="white"/>
                </a:solidFill>
                <a:latin typeface="Arial"/>
              </a:rPr>
              <a:t>st</a:t>
            </a:r>
            <a:r>
              <a:rPr lang="en-US" dirty="0" smtClean="0">
                <a:solidFill>
                  <a:prstClr val="white"/>
                </a:solidFill>
                <a:latin typeface="Arial"/>
              </a:rPr>
              <a:t> generation dividend indices</a:t>
            </a:r>
            <a:endParaRPr lang="en-US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5795976" y="1836437"/>
            <a:ext cx="3725863" cy="539496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36000" rIns="0" bIns="0"/>
          <a:lstStyle/>
          <a:p>
            <a:pPr algn="l" fontAlgn="auto">
              <a:spcBef>
                <a:spcPct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white"/>
                </a:solidFill>
                <a:latin typeface="Arial"/>
              </a:rPr>
              <a:t>2</a:t>
            </a:r>
            <a:r>
              <a:rPr lang="en-US" baseline="30000" dirty="0" smtClean="0">
                <a:solidFill>
                  <a:prstClr val="white"/>
                </a:solidFill>
                <a:latin typeface="Arial"/>
              </a:rPr>
              <a:t>nd</a:t>
            </a:r>
            <a:r>
              <a:rPr lang="en-US" dirty="0" smtClean="0">
                <a:solidFill>
                  <a:prstClr val="white"/>
                </a:solidFill>
                <a:latin typeface="Arial"/>
              </a:rPr>
              <a:t> generation dividend indices</a:t>
            </a:r>
            <a:endParaRPr lang="en-US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" name="Rectangle 3"/>
          <p:cNvSpPr>
            <a:spLocks noChangeArrowheads="1"/>
          </p:cNvSpPr>
          <p:nvPr/>
        </p:nvSpPr>
        <p:spPr bwMode="auto">
          <a:xfrm>
            <a:off x="370543" y="2495538"/>
            <a:ext cx="2129901" cy="350865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 lIns="0" tIns="0" rIns="0" bIns="0">
            <a:spAutoFit/>
          </a:bodyPr>
          <a:lstStyle/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oposed by Michael B. O’Higgins in 1991</a:t>
            </a: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endParaRPr lang="en-US" b="0" dirty="0" smtClean="0">
              <a:solidFill>
                <a:srgbClr val="000000"/>
              </a:solidFill>
              <a:latin typeface="Arial"/>
            </a:endParaRP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Strategy focuses on investing in 10 companies with the highest dividend yield out of all companies in the DJIA</a:t>
            </a: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endParaRPr lang="en-US" b="0" dirty="0" smtClean="0">
              <a:solidFill>
                <a:srgbClr val="000000"/>
              </a:solidFill>
              <a:latin typeface="Arial"/>
            </a:endParaRP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Intuitively this was the first “smart-beta” index with an overweight toward the “value-risk factor”</a:t>
            </a:r>
            <a:endParaRPr lang="en-US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Rectangle 5"/>
          <p:cNvSpPr>
            <a:spLocks noChangeArrowheads="1"/>
          </p:cNvSpPr>
          <p:nvPr/>
        </p:nvSpPr>
        <p:spPr bwMode="auto">
          <a:xfrm>
            <a:off x="2630350" y="2495538"/>
            <a:ext cx="2743200" cy="2573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r>
              <a:rPr lang="en-US" dirty="0" smtClean="0">
                <a:solidFill>
                  <a:srgbClr val="000000"/>
                </a:solidFill>
                <a:latin typeface="Arial"/>
              </a:rPr>
              <a:t>Straight forward replication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of the initial </a:t>
            </a:r>
            <a:r>
              <a:rPr lang="en-US" dirty="0" smtClean="0">
                <a:solidFill>
                  <a:srgbClr val="000000"/>
                </a:solidFill>
                <a:latin typeface="Arial"/>
              </a:rPr>
              <a:t>“Dogs of the Dow”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 theory</a:t>
            </a: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endParaRPr lang="en-US" b="0" dirty="0" smtClean="0">
              <a:solidFill>
                <a:srgbClr val="000000"/>
              </a:solidFill>
              <a:latin typeface="Arial"/>
            </a:endParaRP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Selection of companies according to their current dividend yield</a:t>
            </a: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endParaRPr lang="en-US" b="0" dirty="0" smtClean="0">
              <a:solidFill>
                <a:srgbClr val="000000"/>
              </a:solidFill>
              <a:latin typeface="Arial"/>
            </a:endParaRP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r>
              <a:rPr lang="en-US" dirty="0" smtClean="0">
                <a:solidFill>
                  <a:srgbClr val="000000"/>
                </a:solidFill>
                <a:latin typeface="Arial"/>
              </a:rPr>
              <a:t>Weighting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and calculation of indices in </a:t>
            </a:r>
            <a:r>
              <a:rPr lang="en-US" dirty="0" smtClean="0">
                <a:solidFill>
                  <a:srgbClr val="000000"/>
                </a:solidFill>
                <a:latin typeface="Arial"/>
              </a:rPr>
              <a:t>standard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measure (e.g. market cap)</a:t>
            </a:r>
            <a:endParaRPr lang="en-US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Rectangle 5"/>
          <p:cNvSpPr>
            <a:spLocks noChangeArrowheads="1"/>
          </p:cNvSpPr>
          <p:nvPr/>
        </p:nvSpPr>
        <p:spPr bwMode="auto">
          <a:xfrm>
            <a:off x="5795976" y="2495538"/>
            <a:ext cx="3735692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Better utilization of dividend contributions - less focus on price movements</a:t>
            </a:r>
          </a:p>
        </p:txBody>
      </p:sp>
      <p:sp>
        <p:nvSpPr>
          <p:cNvPr id="21" name="Rectangle 5"/>
          <p:cNvSpPr>
            <a:spLocks noChangeArrowheads="1"/>
          </p:cNvSpPr>
          <p:nvPr/>
        </p:nvSpPr>
        <p:spPr bwMode="auto">
          <a:xfrm>
            <a:off x="5795976" y="3443178"/>
            <a:ext cx="1828800" cy="2105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/>
          <a:p>
            <a:pPr marL="1587" lvl="1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</a:pPr>
            <a:r>
              <a:rPr lang="en-US" u="sng" dirty="0" smtClean="0">
                <a:solidFill>
                  <a:srgbClr val="000000"/>
                </a:solidFill>
                <a:latin typeface="Arial"/>
              </a:rPr>
              <a:t>Select dividend indices</a:t>
            </a: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endParaRPr lang="en-US" b="0" dirty="0" smtClean="0">
              <a:solidFill>
                <a:srgbClr val="000000"/>
              </a:solidFill>
              <a:latin typeface="Arial"/>
            </a:endParaRP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Require </a:t>
            </a:r>
            <a:r>
              <a:rPr lang="en-US" dirty="0" smtClean="0">
                <a:solidFill>
                  <a:srgbClr val="000000"/>
                </a:solidFill>
                <a:latin typeface="Arial"/>
              </a:rPr>
              <a:t>consistent, long dividend focus</a:t>
            </a: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endParaRPr lang="en-US" dirty="0" smtClean="0">
              <a:solidFill>
                <a:srgbClr val="000000"/>
              </a:solidFill>
              <a:latin typeface="Arial"/>
            </a:endParaRP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Weighting linked to dividends</a:t>
            </a: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7702868" y="3443178"/>
            <a:ext cx="1828800" cy="2339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587" lvl="1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</a:pPr>
            <a:r>
              <a:rPr lang="en-US" dirty="0" smtClean="0">
                <a:solidFill>
                  <a:srgbClr val="000000"/>
                </a:solidFill>
                <a:latin typeface="Arial"/>
              </a:rPr>
              <a:t>Maximum dividend indices</a:t>
            </a: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endParaRPr lang="en-US" b="0" dirty="0" smtClean="0">
              <a:solidFill>
                <a:srgbClr val="000000"/>
              </a:solidFill>
              <a:latin typeface="Arial"/>
            </a:endParaRP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r>
              <a:rPr lang="en-US" dirty="0">
                <a:solidFill>
                  <a:srgbClr val="000000"/>
                </a:solidFill>
                <a:latin typeface="Arial"/>
              </a:rPr>
              <a:t>F</a:t>
            </a:r>
            <a:r>
              <a:rPr lang="en-US" dirty="0" smtClean="0">
                <a:solidFill>
                  <a:srgbClr val="000000"/>
                </a:solidFill>
                <a:latin typeface="Arial"/>
              </a:rPr>
              <a:t>orward looking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for dividend payments (3-month only)</a:t>
            </a: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endParaRPr lang="en-US" b="0" dirty="0" smtClean="0">
              <a:solidFill>
                <a:srgbClr val="000000"/>
              </a:solidFill>
              <a:latin typeface="Arial"/>
            </a:endParaRP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Clr>
                <a:srgbClr val="14044E"/>
              </a:buClr>
              <a:buFont typeface="Arial" charset="0"/>
              <a:buChar char="»"/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Maximize dividend payout</a:t>
            </a:r>
          </a:p>
        </p:txBody>
      </p:sp>
    </p:spTree>
    <p:extLst>
      <p:ext uri="{BB962C8B-B14F-4D97-AF65-F5344CB8AC3E}">
        <p14:creationId xmlns:p14="http://schemas.microsoft.com/office/powerpoint/2010/main" val="2756056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746082328"/>
              </p:ext>
            </p:extLst>
          </p:nvPr>
        </p:nvGraphicFramePr>
        <p:xfrm>
          <a:off x="704849" y="989541"/>
          <a:ext cx="8495537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42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XX Select Dividend Indices track companies with the highest dividend yield 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7625" y="3848100"/>
            <a:ext cx="2143125" cy="214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0229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2</a:t>
            </a:r>
            <a:r>
              <a:rPr lang="en-US" dirty="0" smtClean="0">
                <a:solidFill>
                  <a:schemeClr val="accent5"/>
                </a:solidFill>
              </a:rPr>
              <a:t>.</a:t>
            </a:r>
            <a:r>
              <a:rPr lang="en-US" dirty="0">
                <a:solidFill>
                  <a:schemeClr val="accent5"/>
                </a:solidFill>
              </a:rPr>
              <a:t>	</a:t>
            </a:r>
            <a:r>
              <a:rPr lang="en-US" dirty="0" smtClean="0">
                <a:solidFill>
                  <a:schemeClr val="accent5"/>
                </a:solidFill>
              </a:rPr>
              <a:t>METHODOLOGY</a:t>
            </a:r>
            <a:endParaRPr lang="en-US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656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Flowchart: Merge 89"/>
          <p:cNvSpPr/>
          <p:nvPr/>
        </p:nvSpPr>
        <p:spPr bwMode="auto">
          <a:xfrm>
            <a:off x="373062" y="1843500"/>
            <a:ext cx="3382509" cy="3520286"/>
          </a:xfrm>
          <a:prstGeom prst="flowChartMerge">
            <a:avLst/>
          </a:prstGeom>
          <a:gradFill flip="none" rotWithShape="1">
            <a:gsLst>
              <a:gs pos="0">
                <a:schemeClr val="accent2"/>
              </a:gs>
              <a:gs pos="65000">
                <a:schemeClr val="accent2">
                  <a:tint val="44500"/>
                  <a:satMod val="160000"/>
                </a:schemeClr>
              </a:gs>
              <a:gs pos="100000">
                <a:srgbClr val="92B602"/>
              </a:gs>
              <a:gs pos="100000">
                <a:schemeClr val="accent5"/>
              </a:gs>
            </a:gsLst>
            <a:lin ang="5400000" scaled="1"/>
            <a:tileRect/>
          </a:gradFill>
          <a:ln w="6350" algn="ctr">
            <a:noFill/>
            <a:miter lim="800000"/>
            <a:headEnd/>
            <a:tailEnd/>
          </a:ln>
        </p:spPr>
        <p:txBody>
          <a:bodyPr wrap="none" anchor="t"/>
          <a:lstStyle/>
          <a:p>
            <a:pPr>
              <a:spcBef>
                <a:spcPts val="0"/>
              </a:spcBef>
              <a:spcAft>
                <a:spcPts val="600"/>
              </a:spcAft>
            </a:pPr>
            <a:endParaRPr lang="en-US" sz="800" dirty="0" smtClean="0">
              <a:solidFill>
                <a:prstClr val="white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849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Methodology of STOXX Select Dividend Indices in a nutshell</a:t>
            </a:r>
          </a:p>
        </p:txBody>
      </p:sp>
      <p:sp>
        <p:nvSpPr>
          <p:cNvPr id="31" name="Rounded Rectangle 4"/>
          <p:cNvSpPr/>
          <p:nvPr/>
        </p:nvSpPr>
        <p:spPr>
          <a:xfrm>
            <a:off x="3856050" y="2647918"/>
            <a:ext cx="5688000" cy="648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72000" rIns="0" bIns="72000" numCol="1" spcCol="1270" anchor="t" anchorCtr="0">
            <a:noAutofit/>
          </a:bodyPr>
          <a:lstStyle/>
          <a:p>
            <a:pPr marL="285750" indent="-285750" algn="l" defTabSz="200025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»"/>
            </a:pPr>
            <a:r>
              <a:rPr lang="en-US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dividend-paying companies are </a:t>
            </a:r>
            <a:r>
              <a:rPr lang="en-US" sz="1400" b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gible; stocks </a:t>
            </a:r>
            <a:r>
              <a:rPr lang="en-US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t have a non-negative historical five-year dividend per share (DPS) growth </a:t>
            </a:r>
            <a:r>
              <a:rPr lang="en-US" sz="1400" b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te; dividend </a:t>
            </a:r>
            <a:r>
              <a:rPr lang="en-US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1400" b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S ratio ≤ 60</a:t>
            </a:r>
            <a:r>
              <a:rPr lang="en-US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39" name="Rounded Rectangle 4"/>
          <p:cNvSpPr/>
          <p:nvPr/>
        </p:nvSpPr>
        <p:spPr>
          <a:xfrm>
            <a:off x="3856050" y="1843500"/>
            <a:ext cx="5688000" cy="648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72000" rIns="0" bIns="72000" numCol="1" spcCol="1270" anchor="t" anchorCtr="0">
            <a:noAutofit/>
          </a:bodyPr>
          <a:lstStyle/>
          <a:p>
            <a:pPr marL="285750" indent="-285750" algn="l" defTabSz="200025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»"/>
            </a:pPr>
            <a:r>
              <a:rPr lang="en-US" sz="1400" b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fic </a:t>
            </a:r>
            <a:r>
              <a:rPr lang="en-US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index – for example, the STOXX Europe 600 for the STOXX Europe Select Dividend </a:t>
            </a:r>
            <a:r>
              <a:rPr lang="en-US" sz="1400" b="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endParaRPr lang="en-US" sz="1400" b="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ounded Rectangle 4"/>
          <p:cNvSpPr/>
          <p:nvPr/>
        </p:nvSpPr>
        <p:spPr>
          <a:xfrm>
            <a:off x="3856050" y="4380359"/>
            <a:ext cx="5688000" cy="648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72000" rIns="0" bIns="72000" numCol="1" spcCol="1270" anchor="t" anchorCtr="0">
            <a:noAutofit/>
          </a:bodyPr>
          <a:lstStyle/>
          <a:p>
            <a:pPr marL="285750" lvl="1" indent="-285750" algn="l" defTabSz="200025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»"/>
            </a:pPr>
            <a:r>
              <a:rPr lang="en-GB" sz="1400" b="0" dirty="0"/>
              <a:t>Weight of each component </a:t>
            </a:r>
            <a:r>
              <a:rPr lang="en-GB" sz="1400" b="0" dirty="0" smtClean="0"/>
              <a:t>is based </a:t>
            </a:r>
            <a:r>
              <a:rPr lang="en-GB" sz="1400" b="0" dirty="0"/>
              <a:t>on annual net dividend </a:t>
            </a:r>
            <a:r>
              <a:rPr lang="en-GB" sz="1400" b="0" dirty="0" smtClean="0"/>
              <a:t>yield with a component weight cap of 15% (10</a:t>
            </a:r>
            <a:r>
              <a:rPr lang="en-GB" sz="1400" b="0" dirty="0"/>
              <a:t>% for the STOXX Global Select Dividend 100 Index</a:t>
            </a:r>
            <a:r>
              <a:rPr lang="en-GB" sz="1400" b="0" dirty="0" smtClean="0"/>
              <a:t>)</a:t>
            </a:r>
            <a:endParaRPr lang="en-US" b="0" dirty="0">
              <a:solidFill>
                <a:prstClr val="black"/>
              </a:solidFill>
            </a:endParaRPr>
          </a:p>
        </p:txBody>
      </p:sp>
      <p:sp>
        <p:nvSpPr>
          <p:cNvPr id="20" name="Textplatzhalter 15"/>
          <p:cNvSpPr txBox="1">
            <a:spLocks/>
          </p:cNvSpPr>
          <p:nvPr/>
        </p:nvSpPr>
        <p:spPr>
          <a:xfrm>
            <a:off x="1704043" y="6444503"/>
            <a:ext cx="7410620" cy="171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68275" indent="-168275" algn="l" defTabSz="914400" eaLnBrk="1" latinLnBrk="0" hangingPunct="1">
              <a:lnSpc>
                <a:spcPct val="95000"/>
              </a:lnSpc>
              <a:spcBef>
                <a:spcPts val="0"/>
              </a:spcBef>
              <a:buFont typeface="+mj-lt"/>
              <a:buAutoNum type="arabicParenR"/>
              <a:defRPr lang="en-US" sz="1000" b="0">
                <a:solidFill>
                  <a:schemeClr val="tx2"/>
                </a:solidFill>
                <a:latin typeface="+mn-lt"/>
              </a:defRPr>
            </a:lvl1pPr>
            <a:lvl2pPr marL="228600" indent="-228600" algn="l" defTabSz="914400" eaLnBrk="1" latinLnBrk="0" hangingPunct="1">
              <a:lnSpc>
                <a:spcPct val="95000"/>
              </a:lnSpc>
              <a:spcBef>
                <a:spcPts val="0"/>
              </a:spcBef>
              <a:buFont typeface="+mj-lt"/>
              <a:buAutoNum type="arabicPeriod"/>
              <a:defRPr lang="en-US" sz="1000" b="0">
                <a:latin typeface="+mn-lt"/>
              </a:defRPr>
            </a:lvl2pPr>
            <a:lvl3pPr marL="457200" indent="-228600" algn="l" defTabSz="914400" eaLnBrk="1" latinLnBrk="0" hangingPunct="1">
              <a:lnSpc>
                <a:spcPct val="95000"/>
              </a:lnSpc>
              <a:spcBef>
                <a:spcPts val="0"/>
              </a:spcBef>
              <a:buFont typeface="+mj-lt"/>
              <a:buAutoNum type="arabicPeriod"/>
              <a:defRPr lang="en-US" sz="1000" b="0">
                <a:latin typeface="+mn-lt"/>
              </a:defRPr>
            </a:lvl3pPr>
            <a:lvl4pPr marL="685800" indent="-228600" algn="l" defTabSz="914400" eaLnBrk="1" latinLnBrk="0" hangingPunct="1">
              <a:lnSpc>
                <a:spcPct val="95000"/>
              </a:lnSpc>
              <a:spcBef>
                <a:spcPts val="0"/>
              </a:spcBef>
              <a:buFont typeface="+mj-lt"/>
              <a:buAutoNum type="arabicPeriod"/>
              <a:defRPr lang="en-US" sz="1000" b="0">
                <a:latin typeface="+mn-lt"/>
              </a:defRPr>
            </a:lvl4pPr>
            <a:lvl5pPr marL="914400" indent="-228600" algn="l" defTabSz="914400" eaLnBrk="1" latinLnBrk="0" hangingPunct="1">
              <a:lnSpc>
                <a:spcPct val="95000"/>
              </a:lnSpc>
              <a:spcBef>
                <a:spcPts val="0"/>
              </a:spcBef>
              <a:buFont typeface="+mj-lt"/>
              <a:buAutoNum type="arabicPeriod"/>
              <a:defRPr lang="en-US" sz="1000" b="0">
                <a:latin typeface="+mn-lt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>
              <a:lnSpc>
                <a:spcPct val="80000"/>
              </a:lnSpc>
            </a:pPr>
            <a:r>
              <a:rPr lang="en-US" dirty="0" smtClean="0">
                <a:solidFill>
                  <a:srgbClr val="AFAFAF"/>
                </a:solidFill>
              </a:rPr>
              <a:t>Outperformance factor is the net </a:t>
            </a:r>
            <a:r>
              <a:rPr lang="en-US" dirty="0">
                <a:solidFill>
                  <a:srgbClr val="AFAFAF"/>
                </a:solidFill>
              </a:rPr>
              <a:t>dividend yield of the company divided by the net dividend yield of the  home market (the STOXX country TMI or STOXX Europe TMI, whichever is higher) </a:t>
            </a:r>
          </a:p>
          <a:p>
            <a:pPr>
              <a:lnSpc>
                <a:spcPct val="80000"/>
              </a:lnSpc>
            </a:pPr>
            <a:endParaRPr dirty="0">
              <a:solidFill>
                <a:srgbClr val="AFAFAF"/>
              </a:solidFill>
            </a:endParaRPr>
          </a:p>
          <a:p>
            <a:pPr>
              <a:lnSpc>
                <a:spcPct val="80000"/>
              </a:lnSpc>
            </a:pPr>
            <a:endParaRPr dirty="0">
              <a:solidFill>
                <a:srgbClr val="AFAFAF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307298" y="6487889"/>
            <a:ext cx="527957" cy="1754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5000"/>
              </a:lnSpc>
            </a:pPr>
            <a:r>
              <a:rPr lang="en-US" sz="1200" b="0" dirty="0" smtClean="0">
                <a:solidFill>
                  <a:prstClr val="black"/>
                </a:solidFill>
              </a:rPr>
              <a:t>  </a:t>
            </a:r>
            <a:fld id="{9713B8C3-2C6E-429C-B53D-6800F49006AC}" type="slidenum">
              <a:rPr lang="en-US" sz="1200" b="0" smtClean="0">
                <a:solidFill>
                  <a:prstClr val="black"/>
                </a:solidFill>
              </a:rPr>
              <a:pPr algn="l">
                <a:lnSpc>
                  <a:spcPct val="95000"/>
                </a:lnSpc>
              </a:pPr>
              <a:t>8</a:t>
            </a:fld>
            <a:endParaRPr lang="en-US" sz="1200" b="0" dirty="0" smtClean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16399" y="1843500"/>
            <a:ext cx="1495834" cy="277375"/>
          </a:xfrm>
          <a:prstGeom prst="rect">
            <a:avLst/>
          </a:prstGeom>
          <a:noFill/>
        </p:spPr>
        <p:txBody>
          <a:bodyPr wrap="square" lIns="0" tIns="7200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1400" dirty="0" smtClean="0">
                <a:solidFill>
                  <a:prstClr val="white"/>
                </a:solidFill>
              </a:rPr>
              <a:t>UNIVERS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316399" y="2647918"/>
            <a:ext cx="1495834" cy="277375"/>
          </a:xfrm>
          <a:prstGeom prst="rect">
            <a:avLst/>
          </a:prstGeom>
          <a:noFill/>
        </p:spPr>
        <p:txBody>
          <a:bodyPr wrap="square" lIns="0" tIns="7200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1400" dirty="0" smtClean="0">
                <a:solidFill>
                  <a:prstClr val="white"/>
                </a:solidFill>
              </a:rPr>
              <a:t>FILTER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316399" y="3496281"/>
            <a:ext cx="1495834" cy="277375"/>
          </a:xfrm>
          <a:prstGeom prst="rect">
            <a:avLst/>
          </a:prstGeom>
          <a:noFill/>
        </p:spPr>
        <p:txBody>
          <a:bodyPr wrap="square" lIns="0" tIns="7200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1400" dirty="0" smtClean="0">
                <a:solidFill>
                  <a:prstClr val="white"/>
                </a:solidFill>
              </a:rPr>
              <a:t>SELECT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316399" y="4380359"/>
            <a:ext cx="1495834" cy="277375"/>
          </a:xfrm>
          <a:prstGeom prst="rect">
            <a:avLst/>
          </a:prstGeom>
          <a:noFill/>
        </p:spPr>
        <p:txBody>
          <a:bodyPr wrap="square" lIns="0" tIns="7200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1400" dirty="0" smtClean="0">
                <a:solidFill>
                  <a:prstClr val="white"/>
                </a:solidFill>
              </a:rPr>
              <a:t>WEIGHT</a:t>
            </a:r>
          </a:p>
        </p:txBody>
      </p:sp>
      <p:sp>
        <p:nvSpPr>
          <p:cNvPr id="18" name="Rounded Rectangle 4"/>
          <p:cNvSpPr/>
          <p:nvPr/>
        </p:nvSpPr>
        <p:spPr>
          <a:xfrm>
            <a:off x="3856050" y="3496281"/>
            <a:ext cx="5688000" cy="648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72000" rIns="0" bIns="72000" numCol="1" spcCol="1270" anchor="t" anchorCtr="0">
            <a:noAutofit/>
          </a:bodyPr>
          <a:lstStyle/>
          <a:p>
            <a:pPr marL="285750" lvl="1" indent="-285750" algn="l" defTabSz="200025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»"/>
            </a:pPr>
            <a:r>
              <a:rPr lang="en-US" sz="1400" b="0" dirty="0"/>
              <a:t>Components are sorted by an outperformance factor1); all current components ranked from 1 to 60 in the selection list remain in the index; if the number of stocks falls below 30, the highest ranked non-components are added until there are enough stocks</a:t>
            </a:r>
          </a:p>
        </p:txBody>
      </p:sp>
      <p:sp>
        <p:nvSpPr>
          <p:cNvPr id="19" name="Rectangle 14"/>
          <p:cNvSpPr>
            <a:spLocks noChangeArrowheads="1"/>
          </p:cNvSpPr>
          <p:nvPr/>
        </p:nvSpPr>
        <p:spPr bwMode="auto">
          <a:xfrm>
            <a:off x="373064" y="5593278"/>
            <a:ext cx="9153524" cy="523041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D9D9D9"/>
            </a:solidFill>
            <a:round/>
            <a:headEnd/>
            <a:tailEnd/>
          </a:ln>
        </p:spPr>
        <p:txBody>
          <a:bodyPr wrap="square" lIns="0" tIns="0" rIns="0" bIns="0" anchor="ctr"/>
          <a:lstStyle/>
          <a:p>
            <a:pPr marL="719138" algn="l">
              <a:spcBef>
                <a:spcPct val="0"/>
              </a:spcBef>
            </a:pPr>
            <a:r>
              <a:rPr lang="en-US" b="0" dirty="0"/>
              <a:t>About 11 ETFs are based on STOXX Select Dividend indices </a:t>
            </a:r>
            <a:r>
              <a:rPr lang="en-US" b="0" dirty="0" smtClean="0"/>
              <a:t>with more than EUR1.7 bn </a:t>
            </a:r>
            <a:r>
              <a:rPr lang="en-US" b="0" dirty="0" err="1" smtClean="0"/>
              <a:t>AuM</a:t>
            </a:r>
            <a:endParaRPr lang="en-US" b="0" dirty="0"/>
          </a:p>
        </p:txBody>
      </p:sp>
      <p:grpSp>
        <p:nvGrpSpPr>
          <p:cNvPr id="23" name="Group 9"/>
          <p:cNvGrpSpPr>
            <a:grpSpLocks/>
          </p:cNvGrpSpPr>
          <p:nvPr/>
        </p:nvGrpSpPr>
        <p:grpSpPr bwMode="auto">
          <a:xfrm>
            <a:off x="485607" y="5700943"/>
            <a:ext cx="339725" cy="307975"/>
            <a:chOff x="1603" y="2418"/>
            <a:chExt cx="198" cy="194"/>
          </a:xfrm>
        </p:grpSpPr>
        <p:sp>
          <p:nvSpPr>
            <p:cNvPr id="27" name="Freeform 10"/>
            <p:cNvSpPr>
              <a:spLocks/>
            </p:cNvSpPr>
            <p:nvPr/>
          </p:nvSpPr>
          <p:spPr bwMode="auto">
            <a:xfrm>
              <a:off x="1603" y="2418"/>
              <a:ext cx="108" cy="194"/>
            </a:xfrm>
            <a:custGeom>
              <a:avLst/>
              <a:gdLst>
                <a:gd name="T0" fmla="*/ 0 w 80"/>
                <a:gd name="T1" fmla="*/ 0 h 162"/>
                <a:gd name="T2" fmla="*/ 1265 w 80"/>
                <a:gd name="T3" fmla="*/ 0 h 162"/>
                <a:gd name="T4" fmla="*/ 3964 w 80"/>
                <a:gd name="T5" fmla="*/ 832 h 162"/>
                <a:gd name="T6" fmla="*/ 1328 w 80"/>
                <a:gd name="T7" fmla="*/ 1686 h 162"/>
                <a:gd name="T8" fmla="*/ 0 w 80"/>
                <a:gd name="T9" fmla="*/ 1686 h 162"/>
                <a:gd name="T10" fmla="*/ 2399 w 80"/>
                <a:gd name="T11" fmla="*/ 851 h 162"/>
                <a:gd name="T12" fmla="*/ 0 w 80"/>
                <a:gd name="T13" fmla="*/ 0 h 16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0"/>
                <a:gd name="T22" fmla="*/ 0 h 162"/>
                <a:gd name="T23" fmla="*/ 80 w 80"/>
                <a:gd name="T24" fmla="*/ 162 h 16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0" h="162">
                  <a:moveTo>
                    <a:pt x="0" y="0"/>
                  </a:moveTo>
                  <a:lnTo>
                    <a:pt x="26" y="0"/>
                  </a:lnTo>
                  <a:lnTo>
                    <a:pt x="80" y="79"/>
                  </a:lnTo>
                  <a:lnTo>
                    <a:pt x="27" y="162"/>
                  </a:lnTo>
                  <a:lnTo>
                    <a:pt x="0" y="162"/>
                  </a:lnTo>
                  <a:lnTo>
                    <a:pt x="48" y="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B602"/>
            </a:solidFill>
            <a:ln w="3175">
              <a:solidFill>
                <a:srgbClr val="92B60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 dirty="0"/>
            </a:p>
          </p:txBody>
        </p:sp>
        <p:sp>
          <p:nvSpPr>
            <p:cNvPr id="28" name="Freeform 11"/>
            <p:cNvSpPr>
              <a:spLocks/>
            </p:cNvSpPr>
            <p:nvPr/>
          </p:nvSpPr>
          <p:spPr bwMode="auto">
            <a:xfrm>
              <a:off x="1693" y="2418"/>
              <a:ext cx="108" cy="194"/>
            </a:xfrm>
            <a:custGeom>
              <a:avLst/>
              <a:gdLst>
                <a:gd name="T0" fmla="*/ 0 w 80"/>
                <a:gd name="T1" fmla="*/ 0 h 162"/>
                <a:gd name="T2" fmla="*/ 1265 w 80"/>
                <a:gd name="T3" fmla="*/ 0 h 162"/>
                <a:gd name="T4" fmla="*/ 3964 w 80"/>
                <a:gd name="T5" fmla="*/ 832 h 162"/>
                <a:gd name="T6" fmla="*/ 1328 w 80"/>
                <a:gd name="T7" fmla="*/ 1686 h 162"/>
                <a:gd name="T8" fmla="*/ 0 w 80"/>
                <a:gd name="T9" fmla="*/ 1686 h 162"/>
                <a:gd name="T10" fmla="*/ 2399 w 80"/>
                <a:gd name="T11" fmla="*/ 851 h 162"/>
                <a:gd name="T12" fmla="*/ 0 w 80"/>
                <a:gd name="T13" fmla="*/ 0 h 16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0"/>
                <a:gd name="T22" fmla="*/ 0 h 162"/>
                <a:gd name="T23" fmla="*/ 80 w 80"/>
                <a:gd name="T24" fmla="*/ 162 h 16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0" h="162">
                  <a:moveTo>
                    <a:pt x="0" y="0"/>
                  </a:moveTo>
                  <a:lnTo>
                    <a:pt x="26" y="0"/>
                  </a:lnTo>
                  <a:lnTo>
                    <a:pt x="80" y="79"/>
                  </a:lnTo>
                  <a:lnTo>
                    <a:pt x="27" y="162"/>
                  </a:lnTo>
                  <a:lnTo>
                    <a:pt x="0" y="162"/>
                  </a:lnTo>
                  <a:lnTo>
                    <a:pt x="48" y="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B602"/>
            </a:solidFill>
            <a:ln w="3175">
              <a:solidFill>
                <a:srgbClr val="92B60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403673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OXX Select Dividend </a:t>
            </a:r>
            <a:r>
              <a:rPr lang="de-DE" dirty="0" err="1"/>
              <a:t>Indices</a:t>
            </a:r>
            <a:r>
              <a:rPr lang="de-DE" dirty="0"/>
              <a:t> cover all global </a:t>
            </a:r>
            <a:r>
              <a:rPr lang="de-DE" dirty="0" err="1"/>
              <a:t>regions</a:t>
            </a:r>
            <a:endParaRPr lang="en-US" dirty="0" smtClean="0"/>
          </a:p>
        </p:txBody>
      </p:sp>
      <p:sp>
        <p:nvSpPr>
          <p:cNvPr id="46085" name="Rectangle 2"/>
          <p:cNvSpPr>
            <a:spLocks noChangeArrowheads="1"/>
          </p:cNvSpPr>
          <p:nvPr/>
        </p:nvSpPr>
        <p:spPr bwMode="auto">
          <a:xfrm>
            <a:off x="368300" y="1836738"/>
            <a:ext cx="2122315" cy="284162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0" rIns="0" bIns="0" anchor="ctr"/>
          <a:lstStyle/>
          <a:p>
            <a:pPr algn="l">
              <a:spcBef>
                <a:spcPct val="0"/>
              </a:spcBef>
            </a:pPr>
            <a:r>
              <a:rPr lang="de-DE" sz="1400" dirty="0">
                <a:solidFill>
                  <a:schemeClr val="bg1"/>
                </a:solidFill>
              </a:rPr>
              <a:t>Global </a:t>
            </a:r>
          </a:p>
        </p:txBody>
      </p:sp>
      <p:sp>
        <p:nvSpPr>
          <p:cNvPr id="46086" name="Rectangle 2"/>
          <p:cNvSpPr>
            <a:spLocks noChangeArrowheads="1"/>
          </p:cNvSpPr>
          <p:nvPr/>
        </p:nvSpPr>
        <p:spPr bwMode="auto">
          <a:xfrm>
            <a:off x="2712478" y="1836738"/>
            <a:ext cx="2122315" cy="284162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0" rIns="0" bIns="0" anchor="ctr"/>
          <a:lstStyle/>
          <a:p>
            <a:pPr algn="l">
              <a:spcBef>
                <a:spcPct val="0"/>
              </a:spcBef>
            </a:pPr>
            <a:r>
              <a:rPr lang="de-DE" sz="1400" dirty="0" err="1">
                <a:solidFill>
                  <a:schemeClr val="bg1"/>
                </a:solidFill>
              </a:rPr>
              <a:t>America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6087" name="Rectangle 2"/>
          <p:cNvSpPr>
            <a:spLocks noChangeArrowheads="1"/>
          </p:cNvSpPr>
          <p:nvPr/>
        </p:nvSpPr>
        <p:spPr bwMode="auto">
          <a:xfrm>
            <a:off x="5058375" y="1836738"/>
            <a:ext cx="2122315" cy="284162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0" rIns="0" bIns="0" anchor="ctr"/>
          <a:lstStyle/>
          <a:p>
            <a:pPr algn="l">
              <a:spcBef>
                <a:spcPct val="0"/>
              </a:spcBef>
            </a:pPr>
            <a:r>
              <a:rPr lang="de-DE" sz="1400" dirty="0" err="1">
                <a:solidFill>
                  <a:schemeClr val="bg1"/>
                </a:solidFill>
              </a:rPr>
              <a:t>Asia</a:t>
            </a:r>
            <a:r>
              <a:rPr lang="de-DE" sz="1400" dirty="0">
                <a:solidFill>
                  <a:schemeClr val="bg1"/>
                </a:solidFill>
              </a:rPr>
              <a:t>/Pacific</a:t>
            </a:r>
          </a:p>
        </p:txBody>
      </p:sp>
      <p:sp>
        <p:nvSpPr>
          <p:cNvPr id="46088" name="Rectangle 2"/>
          <p:cNvSpPr>
            <a:spLocks noChangeArrowheads="1"/>
          </p:cNvSpPr>
          <p:nvPr/>
        </p:nvSpPr>
        <p:spPr bwMode="auto">
          <a:xfrm>
            <a:off x="7404273" y="1836738"/>
            <a:ext cx="2122315" cy="284162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0" rIns="0" bIns="0" anchor="ctr"/>
          <a:lstStyle/>
          <a:p>
            <a:pPr algn="l">
              <a:spcBef>
                <a:spcPct val="0"/>
              </a:spcBef>
            </a:pPr>
            <a:r>
              <a:rPr lang="de-DE" sz="1400" dirty="0" smtClean="0">
                <a:solidFill>
                  <a:schemeClr val="bg1"/>
                </a:solidFill>
              </a:rPr>
              <a:t>Europe/Eastern </a:t>
            </a:r>
            <a:r>
              <a:rPr lang="de-DE" sz="1400" dirty="0">
                <a:solidFill>
                  <a:schemeClr val="bg1"/>
                </a:solidFill>
              </a:rPr>
              <a:t>Europe</a:t>
            </a:r>
          </a:p>
        </p:txBody>
      </p:sp>
      <p:sp>
        <p:nvSpPr>
          <p:cNvPr id="46089" name="Rectangle 8"/>
          <p:cNvSpPr>
            <a:spLocks noChangeArrowheads="1"/>
          </p:cNvSpPr>
          <p:nvPr/>
        </p:nvSpPr>
        <p:spPr bwMode="auto">
          <a:xfrm>
            <a:off x="368300" y="2217738"/>
            <a:ext cx="2122315" cy="1228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Font typeface="Arial" charset="0"/>
              <a:buChar char="»"/>
            </a:pPr>
            <a:r>
              <a:rPr lang="de-DE" sz="1400" b="0" dirty="0"/>
              <a:t>STOXX Global Select Dividend 100 (</a:t>
            </a:r>
            <a:r>
              <a:rPr lang="de-DE" sz="1400" b="0" dirty="0" err="1"/>
              <a:t>combination</a:t>
            </a:r>
            <a:r>
              <a:rPr lang="de-DE" sz="1400" b="0" dirty="0"/>
              <a:t> </a:t>
            </a:r>
            <a:r>
              <a:rPr lang="de-DE" sz="1400" b="0" dirty="0" err="1"/>
              <a:t>of</a:t>
            </a:r>
            <a:r>
              <a:rPr lang="de-DE" sz="1400" b="0" dirty="0"/>
              <a:t> </a:t>
            </a:r>
            <a:r>
              <a:rPr lang="de-DE" sz="1400" b="0" dirty="0" err="1"/>
              <a:t>the</a:t>
            </a:r>
            <a:r>
              <a:rPr lang="de-DE" sz="1400" b="0" dirty="0"/>
              <a:t>  </a:t>
            </a:r>
            <a:r>
              <a:rPr lang="de-DE" sz="1400" b="0" dirty="0" err="1"/>
              <a:t>Americas</a:t>
            </a:r>
            <a:r>
              <a:rPr lang="de-DE" sz="1400" b="0" dirty="0"/>
              <a:t>, </a:t>
            </a:r>
            <a:r>
              <a:rPr lang="de-DE" sz="1400" b="0" dirty="0" err="1"/>
              <a:t>Asia</a:t>
            </a:r>
            <a:r>
              <a:rPr lang="de-DE" sz="1400" b="0" dirty="0"/>
              <a:t>/Pacific </a:t>
            </a:r>
            <a:r>
              <a:rPr lang="de-DE" sz="1400" b="0" dirty="0" err="1"/>
              <a:t>and</a:t>
            </a:r>
            <a:r>
              <a:rPr lang="de-DE" sz="1400" b="0" dirty="0"/>
              <a:t> Europe </a:t>
            </a:r>
            <a:r>
              <a:rPr lang="de-DE" sz="1400" b="0" dirty="0" err="1"/>
              <a:t>indices</a:t>
            </a:r>
            <a:r>
              <a:rPr lang="de-DE" sz="1400" b="0" dirty="0"/>
              <a:t>)</a:t>
            </a:r>
          </a:p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Font typeface="Arial" charset="0"/>
              <a:buChar char="»"/>
            </a:pPr>
            <a:endParaRPr lang="de-DE" sz="1400" b="0" dirty="0"/>
          </a:p>
        </p:txBody>
      </p:sp>
      <p:sp>
        <p:nvSpPr>
          <p:cNvPr id="46090" name="Rectangle 9"/>
          <p:cNvSpPr>
            <a:spLocks noChangeArrowheads="1"/>
          </p:cNvSpPr>
          <p:nvPr/>
        </p:nvSpPr>
        <p:spPr bwMode="auto">
          <a:xfrm>
            <a:off x="2712478" y="2217738"/>
            <a:ext cx="2122315" cy="409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Font typeface="Arial" charset="0"/>
              <a:buChar char="»"/>
            </a:pPr>
            <a:r>
              <a:rPr lang="de-DE" sz="1400" b="0" dirty="0"/>
              <a:t>STOXX </a:t>
            </a:r>
            <a:r>
              <a:rPr lang="de-DE" sz="1400" b="0" dirty="0" err="1"/>
              <a:t>Americas</a:t>
            </a:r>
            <a:r>
              <a:rPr lang="de-DE" sz="1400" b="0" dirty="0"/>
              <a:t> Select Dividend 40</a:t>
            </a:r>
          </a:p>
        </p:txBody>
      </p:sp>
      <p:sp>
        <p:nvSpPr>
          <p:cNvPr id="46091" name="Rectangle 10"/>
          <p:cNvSpPr>
            <a:spLocks noChangeArrowheads="1"/>
          </p:cNvSpPr>
          <p:nvPr/>
        </p:nvSpPr>
        <p:spPr bwMode="auto">
          <a:xfrm>
            <a:off x="5058375" y="2217738"/>
            <a:ext cx="2122315" cy="409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90500" lvl="1" indent="-188913" algn="l">
              <a:lnSpc>
                <a:spcPct val="95000"/>
              </a:lnSpc>
              <a:spcBef>
                <a:spcPct val="0"/>
              </a:spcBef>
              <a:buFont typeface="Arial" charset="0"/>
              <a:buChar char="»"/>
            </a:pPr>
            <a:r>
              <a:rPr lang="de-DE" sz="1400" b="0" dirty="0" smtClean="0"/>
              <a:t>STOXX</a:t>
            </a:r>
            <a:r>
              <a:rPr lang="de-DE" sz="1400" b="0" baseline="30000" dirty="0"/>
              <a:t> </a:t>
            </a:r>
            <a:r>
              <a:rPr lang="de-DE" sz="1400" b="0" dirty="0" err="1" smtClean="0"/>
              <a:t>Asia</a:t>
            </a:r>
            <a:r>
              <a:rPr lang="de-DE" sz="1400" b="0" dirty="0" smtClean="0"/>
              <a:t>/Pacific </a:t>
            </a:r>
            <a:r>
              <a:rPr lang="de-DE" sz="1400" b="0" dirty="0"/>
              <a:t>Select Dividend 30 </a:t>
            </a:r>
          </a:p>
        </p:txBody>
      </p:sp>
      <p:sp>
        <p:nvSpPr>
          <p:cNvPr id="46092" name="Rectangle 11"/>
          <p:cNvSpPr>
            <a:spLocks noChangeArrowheads="1"/>
          </p:cNvSpPr>
          <p:nvPr/>
        </p:nvSpPr>
        <p:spPr bwMode="auto">
          <a:xfrm>
            <a:off x="7404273" y="2217738"/>
            <a:ext cx="2122315" cy="1637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90500" lvl="1" indent="-188913" algn="l" fontAlgn="auto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Char char="»"/>
            </a:pPr>
            <a:r>
              <a:rPr lang="en-US" sz="1400" b="0" dirty="0" smtClean="0">
                <a:solidFill>
                  <a:prstClr val="black"/>
                </a:solidFill>
                <a:latin typeface="Arial"/>
              </a:rPr>
              <a:t>STOXX Europe </a:t>
            </a:r>
            <a:r>
              <a:rPr lang="en-US" sz="1400" b="0" dirty="0">
                <a:solidFill>
                  <a:prstClr val="black"/>
                </a:solidFill>
                <a:latin typeface="Arial"/>
              </a:rPr>
              <a:t>Select Dividend 30 </a:t>
            </a:r>
          </a:p>
          <a:p>
            <a:pPr marL="190500" lvl="1" indent="-188913" algn="l" fontAlgn="auto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Char char="»"/>
            </a:pPr>
            <a:r>
              <a:rPr lang="en-US" sz="1400" b="0" dirty="0">
                <a:solidFill>
                  <a:prstClr val="black"/>
                </a:solidFill>
                <a:latin typeface="Arial"/>
              </a:rPr>
              <a:t>EURO </a:t>
            </a:r>
            <a:r>
              <a:rPr lang="en-US" sz="1400" b="0" dirty="0" smtClean="0">
                <a:solidFill>
                  <a:prstClr val="black"/>
                </a:solidFill>
                <a:latin typeface="Arial"/>
              </a:rPr>
              <a:t>STOXX Select </a:t>
            </a:r>
            <a:r>
              <a:rPr lang="en-US" sz="1400" b="0" dirty="0">
                <a:solidFill>
                  <a:prstClr val="black"/>
                </a:solidFill>
                <a:latin typeface="Arial"/>
              </a:rPr>
              <a:t>Dividend 30 </a:t>
            </a:r>
          </a:p>
          <a:p>
            <a:pPr marL="190500" lvl="1" indent="-188913" algn="l" fontAlgn="auto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Char char="»"/>
            </a:pPr>
            <a:r>
              <a:rPr lang="en-US" sz="1400" b="0" dirty="0" smtClean="0">
                <a:solidFill>
                  <a:prstClr val="black"/>
                </a:solidFill>
                <a:latin typeface="Arial"/>
              </a:rPr>
              <a:t>STOXX Nordic </a:t>
            </a:r>
            <a:r>
              <a:rPr lang="en-US" sz="1400" b="0" dirty="0">
                <a:solidFill>
                  <a:prstClr val="black"/>
                </a:solidFill>
                <a:latin typeface="Arial"/>
              </a:rPr>
              <a:t>Select Dividend 20</a:t>
            </a:r>
          </a:p>
          <a:p>
            <a:pPr marL="190500" lvl="1" indent="-188913" algn="l" fontAlgn="auto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Char char="»"/>
            </a:pPr>
            <a:r>
              <a:rPr lang="en-US" sz="1400" b="0" dirty="0" smtClean="0">
                <a:solidFill>
                  <a:prstClr val="black"/>
                </a:solidFill>
                <a:latin typeface="Arial"/>
              </a:rPr>
              <a:t>STOXX EU </a:t>
            </a:r>
            <a:r>
              <a:rPr lang="en-US" sz="1400" b="0" dirty="0">
                <a:solidFill>
                  <a:prstClr val="black"/>
                </a:solidFill>
                <a:latin typeface="Arial"/>
              </a:rPr>
              <a:t>Enlarged Select Dividend 15 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373064" y="5593278"/>
            <a:ext cx="9153524" cy="523041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D9D9D9"/>
            </a:solidFill>
            <a:round/>
            <a:headEnd/>
            <a:tailEnd/>
          </a:ln>
        </p:spPr>
        <p:txBody>
          <a:bodyPr wrap="square" lIns="0" tIns="0" rIns="0" bIns="0" anchor="ctr"/>
          <a:lstStyle/>
          <a:p>
            <a:pPr marL="719138" algn="l">
              <a:spcBef>
                <a:spcPct val="0"/>
              </a:spcBef>
            </a:pPr>
            <a:r>
              <a:rPr lang="en-US" b="0" dirty="0"/>
              <a:t>About 11 ETFs are based on STOXX Select Dividend </a:t>
            </a:r>
            <a:r>
              <a:rPr lang="en-US" b="0" dirty="0" smtClean="0"/>
              <a:t>Indices with more than EUR1.7 bn </a:t>
            </a:r>
            <a:r>
              <a:rPr lang="en-US" b="0" dirty="0" err="1" smtClean="0"/>
              <a:t>AuM</a:t>
            </a:r>
            <a:endParaRPr lang="en-US" b="0" dirty="0"/>
          </a:p>
        </p:txBody>
      </p:sp>
      <p:grpSp>
        <p:nvGrpSpPr>
          <p:cNvPr id="16" name="Group 9"/>
          <p:cNvGrpSpPr>
            <a:grpSpLocks/>
          </p:cNvGrpSpPr>
          <p:nvPr/>
        </p:nvGrpSpPr>
        <p:grpSpPr bwMode="auto">
          <a:xfrm>
            <a:off x="485607" y="5700943"/>
            <a:ext cx="339725" cy="307975"/>
            <a:chOff x="1603" y="2418"/>
            <a:chExt cx="198" cy="194"/>
          </a:xfrm>
        </p:grpSpPr>
        <p:sp>
          <p:nvSpPr>
            <p:cNvPr id="17" name="Freeform 10"/>
            <p:cNvSpPr>
              <a:spLocks/>
            </p:cNvSpPr>
            <p:nvPr/>
          </p:nvSpPr>
          <p:spPr bwMode="auto">
            <a:xfrm>
              <a:off x="1603" y="2418"/>
              <a:ext cx="108" cy="194"/>
            </a:xfrm>
            <a:custGeom>
              <a:avLst/>
              <a:gdLst>
                <a:gd name="T0" fmla="*/ 0 w 80"/>
                <a:gd name="T1" fmla="*/ 0 h 162"/>
                <a:gd name="T2" fmla="*/ 1265 w 80"/>
                <a:gd name="T3" fmla="*/ 0 h 162"/>
                <a:gd name="T4" fmla="*/ 3964 w 80"/>
                <a:gd name="T5" fmla="*/ 832 h 162"/>
                <a:gd name="T6" fmla="*/ 1328 w 80"/>
                <a:gd name="T7" fmla="*/ 1686 h 162"/>
                <a:gd name="T8" fmla="*/ 0 w 80"/>
                <a:gd name="T9" fmla="*/ 1686 h 162"/>
                <a:gd name="T10" fmla="*/ 2399 w 80"/>
                <a:gd name="T11" fmla="*/ 851 h 162"/>
                <a:gd name="T12" fmla="*/ 0 w 80"/>
                <a:gd name="T13" fmla="*/ 0 h 16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0"/>
                <a:gd name="T22" fmla="*/ 0 h 162"/>
                <a:gd name="T23" fmla="*/ 80 w 80"/>
                <a:gd name="T24" fmla="*/ 162 h 16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0" h="162">
                  <a:moveTo>
                    <a:pt x="0" y="0"/>
                  </a:moveTo>
                  <a:lnTo>
                    <a:pt x="26" y="0"/>
                  </a:lnTo>
                  <a:lnTo>
                    <a:pt x="80" y="79"/>
                  </a:lnTo>
                  <a:lnTo>
                    <a:pt x="27" y="162"/>
                  </a:lnTo>
                  <a:lnTo>
                    <a:pt x="0" y="162"/>
                  </a:lnTo>
                  <a:lnTo>
                    <a:pt x="48" y="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B602"/>
            </a:solidFill>
            <a:ln w="3175">
              <a:solidFill>
                <a:srgbClr val="92B60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 dirty="0"/>
            </a:p>
          </p:txBody>
        </p:sp>
        <p:sp>
          <p:nvSpPr>
            <p:cNvPr id="18" name="Freeform 11"/>
            <p:cNvSpPr>
              <a:spLocks/>
            </p:cNvSpPr>
            <p:nvPr/>
          </p:nvSpPr>
          <p:spPr bwMode="auto">
            <a:xfrm>
              <a:off x="1693" y="2418"/>
              <a:ext cx="108" cy="194"/>
            </a:xfrm>
            <a:custGeom>
              <a:avLst/>
              <a:gdLst>
                <a:gd name="T0" fmla="*/ 0 w 80"/>
                <a:gd name="T1" fmla="*/ 0 h 162"/>
                <a:gd name="T2" fmla="*/ 1265 w 80"/>
                <a:gd name="T3" fmla="*/ 0 h 162"/>
                <a:gd name="T4" fmla="*/ 3964 w 80"/>
                <a:gd name="T5" fmla="*/ 832 h 162"/>
                <a:gd name="T6" fmla="*/ 1328 w 80"/>
                <a:gd name="T7" fmla="*/ 1686 h 162"/>
                <a:gd name="T8" fmla="*/ 0 w 80"/>
                <a:gd name="T9" fmla="*/ 1686 h 162"/>
                <a:gd name="T10" fmla="*/ 2399 w 80"/>
                <a:gd name="T11" fmla="*/ 851 h 162"/>
                <a:gd name="T12" fmla="*/ 0 w 80"/>
                <a:gd name="T13" fmla="*/ 0 h 16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0"/>
                <a:gd name="T22" fmla="*/ 0 h 162"/>
                <a:gd name="T23" fmla="*/ 80 w 80"/>
                <a:gd name="T24" fmla="*/ 162 h 16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0" h="162">
                  <a:moveTo>
                    <a:pt x="0" y="0"/>
                  </a:moveTo>
                  <a:lnTo>
                    <a:pt x="26" y="0"/>
                  </a:lnTo>
                  <a:lnTo>
                    <a:pt x="80" y="79"/>
                  </a:lnTo>
                  <a:lnTo>
                    <a:pt x="27" y="162"/>
                  </a:lnTo>
                  <a:lnTo>
                    <a:pt x="0" y="162"/>
                  </a:lnTo>
                  <a:lnTo>
                    <a:pt x="48" y="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B602"/>
            </a:solidFill>
            <a:ln w="3175">
              <a:solidFill>
                <a:srgbClr val="92B60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773862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Standarddesign">
  <a:themeElements>
    <a:clrScheme name="Standarddesign 5">
      <a:dk1>
        <a:srgbClr val="000000"/>
      </a:dk1>
      <a:lt1>
        <a:srgbClr val="FFFFFF"/>
      </a:lt1>
      <a:dk2>
        <a:srgbClr val="000000"/>
      </a:dk2>
      <a:lt2>
        <a:srgbClr val="D80F5F"/>
      </a:lt2>
      <a:accent1>
        <a:srgbClr val="14044E"/>
      </a:accent1>
      <a:accent2>
        <a:srgbClr val="99D8F3"/>
      </a:accent2>
      <a:accent3>
        <a:srgbClr val="FFFFFF"/>
      </a:accent3>
      <a:accent4>
        <a:srgbClr val="000000"/>
      </a:accent4>
      <a:accent5>
        <a:srgbClr val="AAAAB2"/>
      </a:accent5>
      <a:accent6>
        <a:srgbClr val="8AC4DC"/>
      </a:accent6>
      <a:hlink>
        <a:srgbClr val="AFAFAF"/>
      </a:hlink>
      <a:folHlink>
        <a:srgbClr val="D9D9D9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A8A8A"/>
        </a:lt2>
        <a:accent1>
          <a:srgbClr val="14044E"/>
        </a:accent1>
        <a:accent2>
          <a:srgbClr val="92B614"/>
        </a:accent2>
        <a:accent3>
          <a:srgbClr val="FFFFFF"/>
        </a:accent3>
        <a:accent4>
          <a:srgbClr val="000000"/>
        </a:accent4>
        <a:accent5>
          <a:srgbClr val="AAAAB2"/>
        </a:accent5>
        <a:accent6>
          <a:srgbClr val="84A511"/>
        </a:accent6>
        <a:hlink>
          <a:srgbClr val="C9C9C9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8A8A8A"/>
        </a:lt2>
        <a:accent1>
          <a:srgbClr val="14044E"/>
        </a:accent1>
        <a:accent2>
          <a:srgbClr val="009EE0"/>
        </a:accent2>
        <a:accent3>
          <a:srgbClr val="FFFFFF"/>
        </a:accent3>
        <a:accent4>
          <a:srgbClr val="000000"/>
        </a:accent4>
        <a:accent5>
          <a:srgbClr val="AAAAB2"/>
        </a:accent5>
        <a:accent6>
          <a:srgbClr val="008FCB"/>
        </a:accent6>
        <a:hlink>
          <a:srgbClr val="C9C9C9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A8A8A"/>
        </a:lt2>
        <a:accent1>
          <a:srgbClr val="14044E"/>
        </a:accent1>
        <a:accent2>
          <a:srgbClr val="F99E00"/>
        </a:accent2>
        <a:accent3>
          <a:srgbClr val="FFFFFF"/>
        </a:accent3>
        <a:accent4>
          <a:srgbClr val="000000"/>
        </a:accent4>
        <a:accent5>
          <a:srgbClr val="AAAAB2"/>
        </a:accent5>
        <a:accent6>
          <a:srgbClr val="E28F00"/>
        </a:accent6>
        <a:hlink>
          <a:srgbClr val="C9C9C9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FFFFFF"/>
        </a:lt1>
        <a:dk2>
          <a:srgbClr val="000000"/>
        </a:dk2>
        <a:lt2>
          <a:srgbClr val="8A8A8A"/>
        </a:lt2>
        <a:accent1>
          <a:srgbClr val="14044E"/>
        </a:accent1>
        <a:accent2>
          <a:srgbClr val="D80F5F"/>
        </a:accent2>
        <a:accent3>
          <a:srgbClr val="FFFFFF"/>
        </a:accent3>
        <a:accent4>
          <a:srgbClr val="000000"/>
        </a:accent4>
        <a:accent5>
          <a:srgbClr val="AAAAB2"/>
        </a:accent5>
        <a:accent6>
          <a:srgbClr val="C40C55"/>
        </a:accent6>
        <a:hlink>
          <a:srgbClr val="C9C9C9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FF"/>
        </a:lt1>
        <a:dk2>
          <a:srgbClr val="000000"/>
        </a:dk2>
        <a:lt2>
          <a:srgbClr val="D80F5F"/>
        </a:lt2>
        <a:accent1>
          <a:srgbClr val="14044E"/>
        </a:accent1>
        <a:accent2>
          <a:srgbClr val="99D8F3"/>
        </a:accent2>
        <a:accent3>
          <a:srgbClr val="FFFFFF"/>
        </a:accent3>
        <a:accent4>
          <a:srgbClr val="000000"/>
        </a:accent4>
        <a:accent5>
          <a:srgbClr val="AAAAB2"/>
        </a:accent5>
        <a:accent6>
          <a:srgbClr val="8AC4DC"/>
        </a:accent6>
        <a:hlink>
          <a:srgbClr val="AFAFAF"/>
        </a:hlink>
        <a:folHlink>
          <a:srgbClr val="D9D9D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plate STOXX Presentations 2.0">
  <a:themeElements>
    <a:clrScheme name="Custom 2">
      <a:dk1>
        <a:sysClr val="windowText" lastClr="000000"/>
      </a:dk1>
      <a:lt1>
        <a:sysClr val="window" lastClr="FFFFFF"/>
      </a:lt1>
      <a:dk2>
        <a:srgbClr val="AFAFAF"/>
      </a:dk2>
      <a:lt2>
        <a:srgbClr val="D9D9D9"/>
      </a:lt2>
      <a:accent1>
        <a:srgbClr val="D80F5F"/>
      </a:accent1>
      <a:accent2>
        <a:srgbClr val="14044E"/>
      </a:accent2>
      <a:accent3>
        <a:srgbClr val="665C8C"/>
      </a:accent3>
      <a:accent4>
        <a:srgbClr val="A19BB8"/>
      </a:accent4>
      <a:accent5>
        <a:srgbClr val="009EE0"/>
      </a:accent5>
      <a:accent6>
        <a:srgbClr val="59C0EB"/>
      </a:accent6>
      <a:hlink>
        <a:srgbClr val="14044E"/>
      </a:hlink>
      <a:folHlink>
        <a:srgbClr val="D80F5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lnSpc>
            <a:spcPct val="95000"/>
          </a:lnSpc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5000"/>
          </a:lnSpc>
          <a:defRPr sz="1600" dirty="0" err="1" smtClean="0"/>
        </a:defPPr>
      </a:lstStyle>
    </a:txDef>
  </a:objectDefaults>
  <a:extraClrSchemeLst/>
  <a:custClrLst>
    <a:custClr name="Custom Color 1">
      <a:srgbClr val="99D8F3"/>
    </a:custClr>
    <a:custClr name="Custom Color 2">
      <a:srgbClr val="92B602"/>
    </a:custClr>
    <a:custClr name="Custom Color 3">
      <a:srgbClr val="B8D266"/>
    </a:custClr>
    <a:custClr name="Custom Color 4">
      <a:srgbClr val="D3E3A1"/>
    </a:custClr>
    <a:custClr name="Custom Color 5">
      <a:srgbClr val="F99E00"/>
    </a:custClr>
    <a:custClr name="Custom Color 6">
      <a:srgbClr val="FBBB4C"/>
    </a:custClr>
    <a:custClr name="Custom Color 7">
      <a:srgbClr val="FDE4B7"/>
    </a:custClr>
    <a:custClr name="Custom Color 8">
      <a:srgbClr val="D80F5F"/>
    </a:custClr>
    <a:custClr name="Custom Color 9">
      <a:srgbClr val="F4629C"/>
    </a:custClr>
    <a:custClr name="Custom Color 10">
      <a:srgbClr val="F897BD"/>
    </a:custClr>
  </a:custClrLst>
</a:theme>
</file>

<file path=ppt/theme/theme3.xml><?xml version="1.0" encoding="utf-8"?>
<a:theme xmlns:a="http://schemas.openxmlformats.org/drawingml/2006/main" name="1_Template STOXX Presentations 2.0">
  <a:themeElements>
    <a:clrScheme name="Custom 2">
      <a:dk1>
        <a:sysClr val="windowText" lastClr="000000"/>
      </a:dk1>
      <a:lt1>
        <a:sysClr val="window" lastClr="FFFFFF"/>
      </a:lt1>
      <a:dk2>
        <a:srgbClr val="AFAFAF"/>
      </a:dk2>
      <a:lt2>
        <a:srgbClr val="D9D9D9"/>
      </a:lt2>
      <a:accent1>
        <a:srgbClr val="D80F5F"/>
      </a:accent1>
      <a:accent2>
        <a:srgbClr val="14044E"/>
      </a:accent2>
      <a:accent3>
        <a:srgbClr val="665C8C"/>
      </a:accent3>
      <a:accent4>
        <a:srgbClr val="A19BB8"/>
      </a:accent4>
      <a:accent5>
        <a:srgbClr val="009EE0"/>
      </a:accent5>
      <a:accent6>
        <a:srgbClr val="59C0EB"/>
      </a:accent6>
      <a:hlink>
        <a:srgbClr val="14044E"/>
      </a:hlink>
      <a:folHlink>
        <a:srgbClr val="D80F5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lnSpc>
            <a:spcPct val="95000"/>
          </a:lnSpc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5000"/>
          </a:lnSpc>
          <a:defRPr sz="1600" dirty="0" err="1" smtClean="0"/>
        </a:defPPr>
      </a:lstStyle>
    </a:txDef>
  </a:objectDefaults>
  <a:extraClrSchemeLst/>
  <a:custClrLst>
    <a:custClr name="Custom Color 1">
      <a:srgbClr val="99D8F3"/>
    </a:custClr>
    <a:custClr name="Custom Color 2">
      <a:srgbClr val="92B602"/>
    </a:custClr>
    <a:custClr name="Custom Color 3">
      <a:srgbClr val="B8D266"/>
    </a:custClr>
    <a:custClr name="Custom Color 4">
      <a:srgbClr val="D3E3A1"/>
    </a:custClr>
    <a:custClr name="Custom Color 5">
      <a:srgbClr val="F99E00"/>
    </a:custClr>
    <a:custClr name="Custom Color 6">
      <a:srgbClr val="FBBB4C"/>
    </a:custClr>
    <a:custClr name="Custom Color 7">
      <a:srgbClr val="FDE4B7"/>
    </a:custClr>
    <a:custClr name="Custom Color 8">
      <a:srgbClr val="D80F5F"/>
    </a:custClr>
    <a:custClr name="Custom Color 9">
      <a:srgbClr val="F4629C"/>
    </a:custClr>
    <a:custClr name="Custom Color 10">
      <a:srgbClr val="F897BD"/>
    </a:custClr>
  </a:custClrLst>
</a:theme>
</file>

<file path=ppt/theme/theme4.xml><?xml version="1.0" encoding="utf-8"?>
<a:theme xmlns:a="http://schemas.openxmlformats.org/drawingml/2006/main" name="2_Template STOXX Presentations 2.0">
  <a:themeElements>
    <a:clrScheme name="Custom 2">
      <a:dk1>
        <a:sysClr val="windowText" lastClr="000000"/>
      </a:dk1>
      <a:lt1>
        <a:sysClr val="window" lastClr="FFFFFF"/>
      </a:lt1>
      <a:dk2>
        <a:srgbClr val="AFAFAF"/>
      </a:dk2>
      <a:lt2>
        <a:srgbClr val="D9D9D9"/>
      </a:lt2>
      <a:accent1>
        <a:srgbClr val="D80F5F"/>
      </a:accent1>
      <a:accent2>
        <a:srgbClr val="14044E"/>
      </a:accent2>
      <a:accent3>
        <a:srgbClr val="665C8C"/>
      </a:accent3>
      <a:accent4>
        <a:srgbClr val="A19BB8"/>
      </a:accent4>
      <a:accent5>
        <a:srgbClr val="009EE0"/>
      </a:accent5>
      <a:accent6>
        <a:srgbClr val="59C0EB"/>
      </a:accent6>
      <a:hlink>
        <a:srgbClr val="14044E"/>
      </a:hlink>
      <a:folHlink>
        <a:srgbClr val="D80F5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lnSpc>
            <a:spcPct val="95000"/>
          </a:lnSpc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5000"/>
          </a:lnSpc>
          <a:defRPr sz="1600" dirty="0" err="1" smtClean="0"/>
        </a:defPPr>
      </a:lstStyle>
    </a:txDef>
  </a:objectDefaults>
  <a:extraClrSchemeLst/>
  <a:custClrLst>
    <a:custClr name="Custom Color 1">
      <a:srgbClr val="99D8F3"/>
    </a:custClr>
    <a:custClr name="Custom Color 2">
      <a:srgbClr val="92B602"/>
    </a:custClr>
    <a:custClr name="Custom Color 3">
      <a:srgbClr val="B8D266"/>
    </a:custClr>
    <a:custClr name="Custom Color 4">
      <a:srgbClr val="D3E3A1"/>
    </a:custClr>
    <a:custClr name="Custom Color 5">
      <a:srgbClr val="F99E00"/>
    </a:custClr>
    <a:custClr name="Custom Color 6">
      <a:srgbClr val="FBBB4C"/>
    </a:custClr>
    <a:custClr name="Custom Color 7">
      <a:srgbClr val="FDE4B7"/>
    </a:custClr>
    <a:custClr name="Custom Color 8">
      <a:srgbClr val="D80F5F"/>
    </a:custClr>
    <a:custClr name="Custom Color 9">
      <a:srgbClr val="F4629C"/>
    </a:custClr>
    <a:custClr name="Custom Color 10">
      <a:srgbClr val="F897BD"/>
    </a:custClr>
  </a:custClrLst>
</a:theme>
</file>

<file path=ppt/theme/theme5.xml><?xml version="1.0" encoding="utf-8"?>
<a:theme xmlns:a="http://schemas.openxmlformats.org/drawingml/2006/main" name="3_Template STOXX Presentations 2.0">
  <a:themeElements>
    <a:clrScheme name="Custom 2">
      <a:dk1>
        <a:sysClr val="windowText" lastClr="000000"/>
      </a:dk1>
      <a:lt1>
        <a:sysClr val="window" lastClr="FFFFFF"/>
      </a:lt1>
      <a:dk2>
        <a:srgbClr val="AFAFAF"/>
      </a:dk2>
      <a:lt2>
        <a:srgbClr val="D9D9D9"/>
      </a:lt2>
      <a:accent1>
        <a:srgbClr val="D80F5F"/>
      </a:accent1>
      <a:accent2>
        <a:srgbClr val="14044E"/>
      </a:accent2>
      <a:accent3>
        <a:srgbClr val="665C8C"/>
      </a:accent3>
      <a:accent4>
        <a:srgbClr val="A19BB8"/>
      </a:accent4>
      <a:accent5>
        <a:srgbClr val="009EE0"/>
      </a:accent5>
      <a:accent6>
        <a:srgbClr val="59C0EB"/>
      </a:accent6>
      <a:hlink>
        <a:srgbClr val="14044E"/>
      </a:hlink>
      <a:folHlink>
        <a:srgbClr val="D80F5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lnSpc>
            <a:spcPct val="95000"/>
          </a:lnSpc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5000"/>
          </a:lnSpc>
          <a:defRPr sz="1600" dirty="0" err="1" smtClean="0"/>
        </a:defPPr>
      </a:lstStyle>
    </a:txDef>
  </a:objectDefaults>
  <a:extraClrSchemeLst/>
  <a:custClrLst>
    <a:custClr name="Custom Color 1">
      <a:srgbClr val="99D8F3"/>
    </a:custClr>
    <a:custClr name="Custom Color 2">
      <a:srgbClr val="92B602"/>
    </a:custClr>
    <a:custClr name="Custom Color 3">
      <a:srgbClr val="B8D266"/>
    </a:custClr>
    <a:custClr name="Custom Color 4">
      <a:srgbClr val="D3E3A1"/>
    </a:custClr>
    <a:custClr name="Custom Color 5">
      <a:srgbClr val="F99E00"/>
    </a:custClr>
    <a:custClr name="Custom Color 6">
      <a:srgbClr val="FBBB4C"/>
    </a:custClr>
    <a:custClr name="Custom Color 7">
      <a:srgbClr val="FDE4B7"/>
    </a:custClr>
    <a:custClr name="Custom Color 8">
      <a:srgbClr val="D80F5F"/>
    </a:custClr>
    <a:custClr name="Custom Color 9">
      <a:srgbClr val="F4629C"/>
    </a:custClr>
    <a:custClr name="Custom Color 10">
      <a:srgbClr val="F897BD"/>
    </a:custClr>
  </a:custClrLst>
</a:theme>
</file>

<file path=ppt/theme/theme6.xml><?xml version="1.0" encoding="utf-8"?>
<a:theme xmlns:a="http://schemas.openxmlformats.org/drawingml/2006/main" name="4_Template STOXX Presentations 2.0">
  <a:themeElements>
    <a:clrScheme name="Custom 2">
      <a:dk1>
        <a:sysClr val="windowText" lastClr="000000"/>
      </a:dk1>
      <a:lt1>
        <a:sysClr val="window" lastClr="FFFFFF"/>
      </a:lt1>
      <a:dk2>
        <a:srgbClr val="AFAFAF"/>
      </a:dk2>
      <a:lt2>
        <a:srgbClr val="D9D9D9"/>
      </a:lt2>
      <a:accent1>
        <a:srgbClr val="D80F5F"/>
      </a:accent1>
      <a:accent2>
        <a:srgbClr val="14044E"/>
      </a:accent2>
      <a:accent3>
        <a:srgbClr val="665C8C"/>
      </a:accent3>
      <a:accent4>
        <a:srgbClr val="A19BB8"/>
      </a:accent4>
      <a:accent5>
        <a:srgbClr val="009EE0"/>
      </a:accent5>
      <a:accent6>
        <a:srgbClr val="59C0EB"/>
      </a:accent6>
      <a:hlink>
        <a:srgbClr val="14044E"/>
      </a:hlink>
      <a:folHlink>
        <a:srgbClr val="D80F5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lnSpc>
            <a:spcPct val="95000"/>
          </a:lnSpc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5000"/>
          </a:lnSpc>
          <a:defRPr sz="1600" dirty="0" err="1" smtClean="0"/>
        </a:defPPr>
      </a:lstStyle>
    </a:txDef>
  </a:objectDefaults>
  <a:extraClrSchemeLst/>
  <a:custClrLst>
    <a:custClr name="Custom Color 1">
      <a:srgbClr val="99D8F3"/>
    </a:custClr>
    <a:custClr name="Custom Color 2">
      <a:srgbClr val="92B602"/>
    </a:custClr>
    <a:custClr name="Custom Color 3">
      <a:srgbClr val="B8D266"/>
    </a:custClr>
    <a:custClr name="Custom Color 4">
      <a:srgbClr val="D3E3A1"/>
    </a:custClr>
    <a:custClr name="Custom Color 5">
      <a:srgbClr val="F99E00"/>
    </a:custClr>
    <a:custClr name="Custom Color 6">
      <a:srgbClr val="FBBB4C"/>
    </a:custClr>
    <a:custClr name="Custom Color 7">
      <a:srgbClr val="FDE4B7"/>
    </a:custClr>
    <a:custClr name="Custom Color 8">
      <a:srgbClr val="D80F5F"/>
    </a:custClr>
    <a:custClr name="Custom Color 9">
      <a:srgbClr val="F4629C"/>
    </a:custClr>
    <a:custClr name="Custom Color 10">
      <a:srgbClr val="F897BD"/>
    </a:custClr>
  </a:custClrLst>
</a:theme>
</file>

<file path=ppt/theme/theme7.xml><?xml version="1.0" encoding="utf-8"?>
<a:theme xmlns:a="http://schemas.openxmlformats.org/drawingml/2006/main" name="5_Template STOXX Presentations 2.0">
  <a:themeElements>
    <a:clrScheme name="Custom 2">
      <a:dk1>
        <a:sysClr val="windowText" lastClr="000000"/>
      </a:dk1>
      <a:lt1>
        <a:sysClr val="window" lastClr="FFFFFF"/>
      </a:lt1>
      <a:dk2>
        <a:srgbClr val="AFAFAF"/>
      </a:dk2>
      <a:lt2>
        <a:srgbClr val="D9D9D9"/>
      </a:lt2>
      <a:accent1>
        <a:srgbClr val="D80F5F"/>
      </a:accent1>
      <a:accent2>
        <a:srgbClr val="14044E"/>
      </a:accent2>
      <a:accent3>
        <a:srgbClr val="665C8C"/>
      </a:accent3>
      <a:accent4>
        <a:srgbClr val="A19BB8"/>
      </a:accent4>
      <a:accent5>
        <a:srgbClr val="009EE0"/>
      </a:accent5>
      <a:accent6>
        <a:srgbClr val="59C0EB"/>
      </a:accent6>
      <a:hlink>
        <a:srgbClr val="14044E"/>
      </a:hlink>
      <a:folHlink>
        <a:srgbClr val="D80F5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lnSpc>
            <a:spcPct val="95000"/>
          </a:lnSpc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5000"/>
          </a:lnSpc>
          <a:defRPr sz="1600" dirty="0" err="1" smtClean="0"/>
        </a:defPPr>
      </a:lstStyle>
    </a:txDef>
  </a:objectDefaults>
  <a:extraClrSchemeLst/>
  <a:custClrLst>
    <a:custClr name="Custom Color 1">
      <a:srgbClr val="99D8F3"/>
    </a:custClr>
    <a:custClr name="Custom Color 2">
      <a:srgbClr val="92B602"/>
    </a:custClr>
    <a:custClr name="Custom Color 3">
      <a:srgbClr val="B8D266"/>
    </a:custClr>
    <a:custClr name="Custom Color 4">
      <a:srgbClr val="D3E3A1"/>
    </a:custClr>
    <a:custClr name="Custom Color 5">
      <a:srgbClr val="F99E00"/>
    </a:custClr>
    <a:custClr name="Custom Color 6">
      <a:srgbClr val="FBBB4C"/>
    </a:custClr>
    <a:custClr name="Custom Color 7">
      <a:srgbClr val="FDE4B7"/>
    </a:custClr>
    <a:custClr name="Custom Color 8">
      <a:srgbClr val="D80F5F"/>
    </a:custClr>
    <a:custClr name="Custom Color 9">
      <a:srgbClr val="F4629C"/>
    </a:custClr>
    <a:custClr name="Custom Color 10">
      <a:srgbClr val="F897BD"/>
    </a:custClr>
  </a:custClrLst>
</a:theme>
</file>

<file path=ppt/theme/theme8.xml><?xml version="1.0" encoding="utf-8"?>
<a:theme xmlns:a="http://schemas.openxmlformats.org/drawingml/2006/main" name="6_Template STOXX Presentations 2.0">
  <a:themeElements>
    <a:clrScheme name="Custom 2">
      <a:dk1>
        <a:sysClr val="windowText" lastClr="000000"/>
      </a:dk1>
      <a:lt1>
        <a:sysClr val="window" lastClr="FFFFFF"/>
      </a:lt1>
      <a:dk2>
        <a:srgbClr val="AFAFAF"/>
      </a:dk2>
      <a:lt2>
        <a:srgbClr val="D9D9D9"/>
      </a:lt2>
      <a:accent1>
        <a:srgbClr val="D80F5F"/>
      </a:accent1>
      <a:accent2>
        <a:srgbClr val="14044E"/>
      </a:accent2>
      <a:accent3>
        <a:srgbClr val="665C8C"/>
      </a:accent3>
      <a:accent4>
        <a:srgbClr val="A19BB8"/>
      </a:accent4>
      <a:accent5>
        <a:srgbClr val="009EE0"/>
      </a:accent5>
      <a:accent6>
        <a:srgbClr val="59C0EB"/>
      </a:accent6>
      <a:hlink>
        <a:srgbClr val="14044E"/>
      </a:hlink>
      <a:folHlink>
        <a:srgbClr val="D80F5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lnSpc>
            <a:spcPct val="95000"/>
          </a:lnSpc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5000"/>
          </a:lnSpc>
          <a:defRPr sz="1600" dirty="0" err="1" smtClean="0"/>
        </a:defPPr>
      </a:lstStyle>
    </a:txDef>
  </a:objectDefaults>
  <a:extraClrSchemeLst/>
  <a:custClrLst>
    <a:custClr name="Custom Color 1">
      <a:srgbClr val="99D8F3"/>
    </a:custClr>
    <a:custClr name="Custom Color 2">
      <a:srgbClr val="92B602"/>
    </a:custClr>
    <a:custClr name="Custom Color 3">
      <a:srgbClr val="B8D266"/>
    </a:custClr>
    <a:custClr name="Custom Color 4">
      <a:srgbClr val="D3E3A1"/>
    </a:custClr>
    <a:custClr name="Custom Color 5">
      <a:srgbClr val="F99E00"/>
    </a:custClr>
    <a:custClr name="Custom Color 6">
      <a:srgbClr val="FBBB4C"/>
    </a:custClr>
    <a:custClr name="Custom Color 7">
      <a:srgbClr val="FDE4B7"/>
    </a:custClr>
    <a:custClr name="Custom Color 8">
      <a:srgbClr val="D80F5F"/>
    </a:custClr>
    <a:custClr name="Custom Color 9">
      <a:srgbClr val="F4629C"/>
    </a:custClr>
    <a:custClr name="Custom Color 10">
      <a:srgbClr val="F897BD"/>
    </a:custClr>
  </a:custClrLst>
</a:theme>
</file>

<file path=ppt/theme/theme9.xml><?xml version="1.0" encoding="utf-8"?>
<a:theme xmlns:a="http://schemas.openxmlformats.org/drawingml/2006/main" name="Template STOXX Presentations 2.0.">
  <a:themeElements>
    <a:clrScheme name="Custom 2">
      <a:dk1>
        <a:sysClr val="windowText" lastClr="000000"/>
      </a:dk1>
      <a:lt1>
        <a:sysClr val="window" lastClr="FFFFFF"/>
      </a:lt1>
      <a:dk2>
        <a:srgbClr val="AFAFAF"/>
      </a:dk2>
      <a:lt2>
        <a:srgbClr val="D9D9D9"/>
      </a:lt2>
      <a:accent1>
        <a:srgbClr val="D80F5F"/>
      </a:accent1>
      <a:accent2>
        <a:srgbClr val="14044E"/>
      </a:accent2>
      <a:accent3>
        <a:srgbClr val="665C8C"/>
      </a:accent3>
      <a:accent4>
        <a:srgbClr val="A19BB8"/>
      </a:accent4>
      <a:accent5>
        <a:srgbClr val="009EE0"/>
      </a:accent5>
      <a:accent6>
        <a:srgbClr val="59C0EB"/>
      </a:accent6>
      <a:hlink>
        <a:srgbClr val="14044E"/>
      </a:hlink>
      <a:folHlink>
        <a:srgbClr val="D80F5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lnSpc>
            <a:spcPct val="95000"/>
          </a:lnSpc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5000"/>
          </a:lnSpc>
          <a:defRPr sz="1600" dirty="0" err="1" smtClean="0"/>
        </a:defPPr>
      </a:lstStyle>
    </a:txDef>
  </a:objectDefaults>
  <a:extraClrSchemeLst/>
  <a:custClrLst>
    <a:custClr name="Custom Color 1">
      <a:srgbClr val="99D8F3"/>
    </a:custClr>
    <a:custClr name="Custom Color 2">
      <a:srgbClr val="92B602"/>
    </a:custClr>
    <a:custClr name="Custom Color 3">
      <a:srgbClr val="B8D266"/>
    </a:custClr>
    <a:custClr name="Custom Color 4">
      <a:srgbClr val="D3E3A1"/>
    </a:custClr>
    <a:custClr name="Custom Color 5">
      <a:srgbClr val="F99E00"/>
    </a:custClr>
    <a:custClr name="Custom Color 6">
      <a:srgbClr val="FBBB4C"/>
    </a:custClr>
    <a:custClr name="Custom Color 7">
      <a:srgbClr val="FDE4B7"/>
    </a:custClr>
    <a:custClr name="Custom Color 8">
      <a:srgbClr val="D80F5F"/>
    </a:custClr>
    <a:custClr name="Custom Color 9">
      <a:srgbClr val="F4629C"/>
    </a:custClr>
    <a:custClr name="Custom Color 10">
      <a:srgbClr val="F897BD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9FA374B5EA294992F10F5C99299EDE" ma:contentTypeVersion="10" ma:contentTypeDescription="Create a new document." ma:contentTypeScope="" ma:versionID="2e752d3eda2957bdfa3dd4fd594b18b9">
  <xsd:schema xmlns:xsd="http://www.w3.org/2001/XMLSchema" xmlns:xs="http://www.w3.org/2001/XMLSchema" xmlns:p="http://schemas.microsoft.com/office/2006/metadata/properties" xmlns:ns2="9b4f3d91-490c-48c0-8b9d-8c1d30e23c71" xmlns:ns3="6dc1145f-2d82-4836-ac1f-806e4087b940" targetNamespace="http://schemas.microsoft.com/office/2006/metadata/properties" ma:root="true" ma:fieldsID="7cb906f2d1fce7da25df757e39c22130" ns2:_="" ns3:_="">
    <xsd:import namespace="9b4f3d91-490c-48c0-8b9d-8c1d30e23c71"/>
    <xsd:import namespace="6dc1145f-2d82-4836-ac1f-806e4087b94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4f3d91-490c-48c0-8b9d-8c1d30e23c7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6137c6fb-76d8-4766-a84f-7e98b86fa9e3}" ma:internalName="TaxCatchAll" ma:showField="CatchAllData" ma:web="9b4f3d91-490c-48c0-8b9d-8c1d30e23c7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1145f-2d82-4836-ac1f-806e4087b9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49ac77e2-9ba5-44c9-8641-963c09a092d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c1145f-2d82-4836-ac1f-806e4087b940">
      <Terms xmlns="http://schemas.microsoft.com/office/infopath/2007/PartnerControls"/>
    </lcf76f155ced4ddcb4097134ff3c332f>
    <TaxCatchAll xmlns="9b4f3d91-490c-48c0-8b9d-8c1d30e23c71" xsi:nil="true"/>
  </documentManagement>
</p:properties>
</file>

<file path=customXml/itemProps1.xml><?xml version="1.0" encoding="utf-8"?>
<ds:datastoreItem xmlns:ds="http://schemas.openxmlformats.org/officeDocument/2006/customXml" ds:itemID="{F2B0F35C-04EB-421A-80C6-A719975BD5C0}"/>
</file>

<file path=customXml/itemProps2.xml><?xml version="1.0" encoding="utf-8"?>
<ds:datastoreItem xmlns:ds="http://schemas.openxmlformats.org/officeDocument/2006/customXml" ds:itemID="{4A51ED14-B028-482C-9F13-302F4CBFEB49}"/>
</file>

<file path=customXml/itemProps3.xml><?xml version="1.0" encoding="utf-8"?>
<ds:datastoreItem xmlns:ds="http://schemas.openxmlformats.org/officeDocument/2006/customXml" ds:itemID="{EE28C103-2429-49B5-8ED0-265A47513CE5}"/>
</file>

<file path=docProps/app.xml><?xml version="1.0" encoding="utf-8"?>
<Properties xmlns="http://schemas.openxmlformats.org/officeDocument/2006/extended-properties" xmlns:vt="http://schemas.openxmlformats.org/officeDocument/2006/docPropsVTypes">
  <Template>Template-2011-Feb</Template>
  <TotalTime>0</TotalTime>
  <Words>980</Words>
  <Application>Microsoft Office PowerPoint</Application>
  <PresentationFormat>A4 Paper (210x297 mm)</PresentationFormat>
  <Paragraphs>145</Paragraphs>
  <Slides>13</Slides>
  <Notes>8</Notes>
  <HiddenSlides>0</HiddenSlides>
  <MMClips>0</MMClips>
  <ScaleCrop>false</ScaleCrop>
  <HeadingPairs>
    <vt:vector size="4" baseType="variant">
      <vt:variant>
        <vt:lpstr>Theme</vt:lpstr>
      </vt:variant>
      <vt:variant>
        <vt:i4>9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Standarddesign</vt:lpstr>
      <vt:lpstr>Template STOXX Presentations 2.0</vt:lpstr>
      <vt:lpstr>1_Template STOXX Presentations 2.0</vt:lpstr>
      <vt:lpstr>2_Template STOXX Presentations 2.0</vt:lpstr>
      <vt:lpstr>3_Template STOXX Presentations 2.0</vt:lpstr>
      <vt:lpstr>4_Template STOXX Presentations 2.0</vt:lpstr>
      <vt:lpstr>5_Template STOXX Presentations 2.0</vt:lpstr>
      <vt:lpstr>6_Template STOXX Presentations 2.0</vt:lpstr>
      <vt:lpstr>Template STOXX Presentations 2.0.</vt:lpstr>
      <vt:lpstr>STOXX®  SELECT DIVIDEND INDICES</vt:lpstr>
      <vt:lpstr>Agenda</vt:lpstr>
      <vt:lpstr>1. INVESTMENT CASE</vt:lpstr>
      <vt:lpstr>A low-yield environment globally is creating the need for attractive alternatives beyond fixed income</vt:lpstr>
      <vt:lpstr>From “Dogs of the Dow” theory to superior utilization of dividend yield </vt:lpstr>
      <vt:lpstr>STOXX Select Dividend Indices track companies with the highest dividend yield </vt:lpstr>
      <vt:lpstr>2. METHODOLOGY</vt:lpstr>
      <vt:lpstr>Methodology of STOXX Select Dividend Indices in a nutshell</vt:lpstr>
      <vt:lpstr>STOXX Select Dividend Indices cover all global regions</vt:lpstr>
      <vt:lpstr>3. PERFORMANCE AND KEY FIGURES</vt:lpstr>
      <vt:lpstr>STOXX® Europe Select Dividend 30 significantly outperforms STOXX benchmark, MSCI Europe</vt:lpstr>
      <vt:lpstr>PowerPoint Presentation</vt:lpstr>
      <vt:lpstr>STOXX sales contacts</vt:lpstr>
    </vt:vector>
  </TitlesOfParts>
  <Company>XAC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wei Textfelder waagerecht</dc:title>
  <dc:creator>XACT</dc:creator>
  <cp:lastModifiedBy>Low, Wan Boen</cp:lastModifiedBy>
  <cp:revision>249</cp:revision>
  <dcterms:created xsi:type="dcterms:W3CDTF">2011-02-17T10:02:04Z</dcterms:created>
  <dcterms:modified xsi:type="dcterms:W3CDTF">2014-10-23T14:21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9FA374B5EA294992F10F5C99299EDE</vt:lpwstr>
  </property>
</Properties>
</file>